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heme/theme2.xml" ContentType="application/vnd.openxmlformats-officedocument.theme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notesSlides/notesSlide3.xml" ContentType="application/vnd.openxmlformats-officedocument.presentationml.notesSlide+xml"/>
  <Override PartName="/ppt/tags/tag3.xml" ContentType="application/vnd.openxmlformats-officedocument.presentationml.tags+xml"/>
  <Override PartName="/ppt/notesSlides/notesSlide4.xml" ContentType="application/vnd.openxmlformats-officedocument.presentationml.notesSlide+xml"/>
  <Override PartName="/ppt/tags/tag4.xml" ContentType="application/vnd.openxmlformats-officedocument.presentationml.tags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6.xml" ContentType="application/vnd.openxmlformats-officedocument.presentationml.tags+xml"/>
  <Override PartName="/ppt/notesSlides/notesSlide7.xml" ContentType="application/vnd.openxmlformats-officedocument.presentationml.notesSlide+xml"/>
  <Override PartName="/ppt/tags/tag7.xml" ContentType="application/vnd.openxmlformats-officedocument.presentationml.tags+xml"/>
  <Override PartName="/ppt/notesSlides/notesSlide8.xml" ContentType="application/vnd.openxmlformats-officedocument.presentationml.notesSlide+xml"/>
  <Override PartName="/ppt/tags/tag8.xml" ContentType="application/vnd.openxmlformats-officedocument.presentationml.tags+xml"/>
  <Override PartName="/ppt/notesSlides/notesSlide9.xml" ContentType="application/vnd.openxmlformats-officedocument.presentationml.notesSlide+xml"/>
  <Override PartName="/ppt/tags/tag9.xml" ContentType="application/vnd.openxmlformats-officedocument.presentationml.tags+xml"/>
  <Override PartName="/ppt/notesSlides/notesSlide10.xml" ContentType="application/vnd.openxmlformats-officedocument.presentationml.notesSlide+xml"/>
  <Override PartName="/ppt/tags/tag10.xml" ContentType="application/vnd.openxmlformats-officedocument.presentationml.tags+xml"/>
  <Override PartName="/ppt/notesSlides/notesSlide11.xml" ContentType="application/vnd.openxmlformats-officedocument.presentationml.notesSlide+xml"/>
  <Override PartName="/ppt/tags/tag11.xml" ContentType="application/vnd.openxmlformats-officedocument.presentationml.tags+xml"/>
  <Override PartName="/ppt/notesSlides/notesSlide12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710" r:id="rId5"/>
    <p:sldMasterId id="2147483722" r:id="rId6"/>
  </p:sldMasterIdLst>
  <p:notesMasterIdLst>
    <p:notesMasterId r:id="rId22"/>
  </p:notesMasterIdLst>
  <p:handoutMasterIdLst>
    <p:handoutMasterId r:id="rId23"/>
  </p:handoutMasterIdLst>
  <p:sldIdLst>
    <p:sldId id="256" r:id="rId7"/>
    <p:sldId id="2325" r:id="rId8"/>
    <p:sldId id="2305" r:id="rId9"/>
    <p:sldId id="2290" r:id="rId10"/>
    <p:sldId id="2306" r:id="rId11"/>
    <p:sldId id="2335" r:id="rId12"/>
    <p:sldId id="2338" r:id="rId13"/>
    <p:sldId id="2337" r:id="rId14"/>
    <p:sldId id="2339" r:id="rId15"/>
    <p:sldId id="2269" r:id="rId16"/>
    <p:sldId id="2270" r:id="rId17"/>
    <p:sldId id="2271" r:id="rId18"/>
    <p:sldId id="2340" r:id="rId19"/>
    <p:sldId id="2268" r:id="rId20"/>
    <p:sldId id="279" r:id="rId2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Renee Olende" initials="RO" lastIdx="3" clrIdx="0">
    <p:extLst>
      <p:ext uri="{19B8F6BF-5375-455C-9EA6-DF929625EA0E}">
        <p15:presenceInfo xmlns:p15="http://schemas.microsoft.com/office/powerpoint/2012/main" userId="Renee Olende" providerId="None"/>
      </p:ext>
    </p:extLst>
  </p:cmAuthor>
  <p:cmAuthor id="2" name="Faustina Fynn-Nyame" initials="FF" lastIdx="1" clrIdx="1">
    <p:extLst>
      <p:ext uri="{19B8F6BF-5375-455C-9EA6-DF929625EA0E}">
        <p15:presenceInfo xmlns:p15="http://schemas.microsoft.com/office/powerpoint/2012/main" userId="S-1-5-21-1525112709-1473474206-3494663615-8131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D1267"/>
    <a:srgbClr val="9D9D9C"/>
    <a:srgbClr val="E44763"/>
    <a:srgbClr val="7DC142"/>
    <a:srgbClr val="48A1B1"/>
    <a:srgbClr val="FDC407"/>
    <a:srgbClr val="555454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D89D7FB-D7A2-48A2-8A8A-8D2E1FF44479}" v="200" dt="2021-04-06T11:16:18.39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3" autoAdjust="0"/>
    <p:restoredTop sz="94660"/>
  </p:normalViewPr>
  <p:slideViewPr>
    <p:cSldViewPr snapToGrid="0">
      <p:cViewPr>
        <p:scale>
          <a:sx n="53" d="100"/>
          <a:sy n="53" d="100"/>
        </p:scale>
        <p:origin x="1032" y="6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125" d="100"/>
          <a:sy n="125" d="100"/>
        </p:scale>
        <p:origin x="4928" y="6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24" Type="http://schemas.openxmlformats.org/officeDocument/2006/relationships/commentAuthors" Target="comment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23" Type="http://schemas.openxmlformats.org/officeDocument/2006/relationships/handoutMaster" Target="handoutMasters/handoutMaster1.xml"/><Relationship Id="rId28" Type="http://schemas.openxmlformats.org/officeDocument/2006/relationships/tableStyles" Target="tableStyles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notesMaster" Target="notesMasters/notesMaster1.xml"/><Relationship Id="rId27" Type="http://schemas.openxmlformats.org/officeDocument/2006/relationships/theme" Target="theme/theme1.xml"/><Relationship Id="rId30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Janice Njoroge" userId="d216bd57-3a6a-4eaf-af78-fb7f32f94385" providerId="ADAL" clId="{4D89D7FB-D7A2-48A2-8A8A-8D2E1FF44479}"/>
    <pc:docChg chg="undo custSel addSld delSld modSld sldOrd">
      <pc:chgData name="Janice Njoroge" userId="d216bd57-3a6a-4eaf-af78-fb7f32f94385" providerId="ADAL" clId="{4D89D7FB-D7A2-48A2-8A8A-8D2E1FF44479}" dt="2021-04-06T11:16:18.394" v="198" actId="1038"/>
      <pc:docMkLst>
        <pc:docMk/>
      </pc:docMkLst>
      <pc:sldChg chg="addSp delSp modSp del">
        <pc:chgData name="Janice Njoroge" userId="d216bd57-3a6a-4eaf-af78-fb7f32f94385" providerId="ADAL" clId="{4D89D7FB-D7A2-48A2-8A8A-8D2E1FF44479}" dt="2021-04-06T11:10:54.471" v="132" actId="2696"/>
        <pc:sldMkLst>
          <pc:docMk/>
          <pc:sldMk cId="2045358340" sldId="263"/>
        </pc:sldMkLst>
        <pc:spChg chg="del">
          <ac:chgData name="Janice Njoroge" userId="d216bd57-3a6a-4eaf-af78-fb7f32f94385" providerId="ADAL" clId="{4D89D7FB-D7A2-48A2-8A8A-8D2E1FF44479}" dt="2021-04-06T11:09:33.417" v="114"/>
          <ac:spMkLst>
            <pc:docMk/>
            <pc:sldMk cId="2045358340" sldId="263"/>
            <ac:spMk id="4" creationId="{6B66CD26-ED56-4405-9769-3D1F9AB4E284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5" creationId="{E3D21CA4-5AEF-45D9-BA27-0059CF2F6BBD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6" creationId="{33DA5FF3-5885-4030-B78C-CD03E4D41373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7" creationId="{8E6BEB07-0E35-479C-BA4D-025037679CB0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8" creationId="{4353E097-58BD-4770-BEB6-8C5AB0365C73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17" creationId="{75C13D4F-FE25-477D-A5A6-54D000036A76}"/>
          </ac:spMkLst>
        </pc:spChg>
        <pc:spChg chg="del">
          <ac:chgData name="Janice Njoroge" userId="d216bd57-3a6a-4eaf-af78-fb7f32f94385" providerId="ADAL" clId="{4D89D7FB-D7A2-48A2-8A8A-8D2E1FF44479}" dt="2021-04-06T11:10:12.896" v="122" actId="478"/>
          <ac:spMkLst>
            <pc:docMk/>
            <pc:sldMk cId="2045358340" sldId="263"/>
            <ac:spMk id="21" creationId="{960CACA5-4FE5-441C-9970-191169A98AFB}"/>
          </ac:spMkLst>
        </pc:spChg>
        <pc:spChg chg="mod">
          <ac:chgData name="Janice Njoroge" userId="d216bd57-3a6a-4eaf-af78-fb7f32f94385" providerId="ADAL" clId="{4D89D7FB-D7A2-48A2-8A8A-8D2E1FF44479}" dt="2021-04-06T11:10:34.848" v="128" actId="164"/>
          <ac:spMkLst>
            <pc:docMk/>
            <pc:sldMk cId="2045358340" sldId="263"/>
            <ac:spMk id="23" creationId="{BCFCC988-D89A-44FD-86F7-9B81A3B37F50}"/>
          </ac:spMkLst>
        </pc:spChg>
        <pc:spChg chg="del mod">
          <ac:chgData name="Janice Njoroge" userId="d216bd57-3a6a-4eaf-af78-fb7f32f94385" providerId="ADAL" clId="{4D89D7FB-D7A2-48A2-8A8A-8D2E1FF44479}" dt="2021-04-06T11:10:24.800" v="127" actId="478"/>
          <ac:spMkLst>
            <pc:docMk/>
            <pc:sldMk cId="2045358340" sldId="263"/>
            <ac:spMk id="24" creationId="{31432B56-4131-43FD-8EC9-B55BDE9122D0}"/>
          </ac:spMkLst>
        </pc:spChg>
        <pc:grpChg chg="add del mod">
          <ac:chgData name="Janice Njoroge" userId="d216bd57-3a6a-4eaf-af78-fb7f32f94385" providerId="ADAL" clId="{4D89D7FB-D7A2-48A2-8A8A-8D2E1FF44479}" dt="2021-04-06T11:10:39.343" v="129"/>
          <ac:grpSpMkLst>
            <pc:docMk/>
            <pc:sldMk cId="2045358340" sldId="263"/>
            <ac:grpSpMk id="2" creationId="{5B59E066-D16E-4F3C-86A8-EB2BEF2632BD}"/>
          </ac:grpSpMkLst>
        </pc:grp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3" creationId="{2118F488-FC4A-4DBC-A9F8-782FC5932C78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2" creationId="{91CEB091-6829-48AD-B538-4389CBE4A3DB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4" creationId="{DF46004E-DF7E-4BBC-96A9-61DD5C40F6FE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5" creationId="{1F355F7E-78BF-453E-966D-9F2D10CD67A7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6" creationId="{DC8C96D0-1FC0-45F0-9F39-D025D663B538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8" creationId="{706B3A1C-8037-45B0-9589-8E41888022A1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19" creationId="{C8AA8973-4F17-4F84-A08E-E1CE99863178}"/>
          </ac:picMkLst>
        </pc:picChg>
        <pc:picChg chg="mod">
          <ac:chgData name="Janice Njoroge" userId="d216bd57-3a6a-4eaf-af78-fb7f32f94385" providerId="ADAL" clId="{4D89D7FB-D7A2-48A2-8A8A-8D2E1FF44479}" dt="2021-04-06T11:10:34.848" v="128" actId="164"/>
          <ac:picMkLst>
            <pc:docMk/>
            <pc:sldMk cId="2045358340" sldId="263"/>
            <ac:picMk id="20" creationId="{2081A3E4-3FA9-4E06-B148-E84547C9FA83}"/>
          </ac:picMkLst>
        </pc:picChg>
        <pc:cxnChg chg="del mod">
          <ac:chgData name="Janice Njoroge" userId="d216bd57-3a6a-4eaf-af78-fb7f32f94385" providerId="ADAL" clId="{4D89D7FB-D7A2-48A2-8A8A-8D2E1FF44479}" dt="2021-04-06T11:10:20.738" v="125" actId="478"/>
          <ac:cxnSpMkLst>
            <pc:docMk/>
            <pc:sldMk cId="2045358340" sldId="263"/>
            <ac:cxnSpMk id="25" creationId="{189C96A6-C9C3-4C66-B447-FC4CEF3B4527}"/>
          </ac:cxnSpMkLst>
        </pc:cxnChg>
      </pc:sldChg>
      <pc:sldChg chg="addSp delSp modSp del">
        <pc:chgData name="Janice Njoroge" userId="d216bd57-3a6a-4eaf-af78-fb7f32f94385" providerId="ADAL" clId="{4D89D7FB-D7A2-48A2-8A8A-8D2E1FF44479}" dt="2021-04-06T11:08:28.468" v="85" actId="2696"/>
        <pc:sldMkLst>
          <pc:docMk/>
          <pc:sldMk cId="1204624048" sldId="289"/>
        </pc:sldMkLst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2" creationId="{DD3A47C7-5420-4F6F-87F7-E74DF69B3834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4" creationId="{C81FB1B2-AEEA-4014-B6FD-73CE31D9774B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6" creationId="{E93CA9EA-D1D2-48D4-B68B-DE62987DE941}"/>
          </ac:spMkLst>
        </pc:spChg>
        <pc:spChg chg="del mod">
          <ac:chgData name="Janice Njoroge" userId="d216bd57-3a6a-4eaf-af78-fb7f32f94385" providerId="ADAL" clId="{4D89D7FB-D7A2-48A2-8A8A-8D2E1FF44479}" dt="2021-04-06T11:06:20.418" v="64"/>
          <ac:spMkLst>
            <pc:docMk/>
            <pc:sldMk cId="1204624048" sldId="289"/>
            <ac:spMk id="7" creationId="{9AEA5CC0-FD41-4323-B9C0-DECB8F2D77D2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8" creationId="{9E889A18-F35D-41AA-B045-A871D1E55B60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1" creationId="{086A06CE-2D42-421A-826E-381045C05EC8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2" creationId="{98A024D6-75C3-447D-83B9-9C484C64C81A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3" creationId="{3CAAAFE7-4803-49F4-BC0A-5238079964A6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4" creationId="{640C8FFA-6F16-4D68-9D8A-898F66215726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5" creationId="{7CFE8FDC-6965-4CE2-A706-724E09F437C2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6" creationId="{D167E691-678C-4D84-B2EC-F88275C2E591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18" creationId="{5C7490A9-CCE6-43FE-99EB-AA681F1EAA8B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22" creationId="{3EA8A201-0BCE-42E1-A4B4-B018BBDC74E8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25" creationId="{53F0A9BD-5B08-41D9-8825-B1E1B3B2E8B8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26" creationId="{A43DE3AC-E318-41C7-98EE-5B55AF61DD58}"/>
          </ac:spMkLst>
        </pc:spChg>
        <pc:spChg chg="mod">
          <ac:chgData name="Janice Njoroge" userId="d216bd57-3a6a-4eaf-af78-fb7f32f94385" providerId="ADAL" clId="{4D89D7FB-D7A2-48A2-8A8A-8D2E1FF44479}" dt="2021-04-06T11:07:01.370" v="72" actId="164"/>
          <ac:spMkLst>
            <pc:docMk/>
            <pc:sldMk cId="1204624048" sldId="289"/>
            <ac:spMk id="27" creationId="{34614967-B698-4C0B-88CF-2B1EE91B796B}"/>
          </ac:spMkLst>
        </pc:spChg>
        <pc:grpChg chg="add del mod">
          <ac:chgData name="Janice Njoroge" userId="d216bd57-3a6a-4eaf-af78-fb7f32f94385" providerId="ADAL" clId="{4D89D7FB-D7A2-48A2-8A8A-8D2E1FF44479}" dt="2021-04-06T11:07:07.804" v="73"/>
          <ac:grpSpMkLst>
            <pc:docMk/>
            <pc:sldMk cId="1204624048" sldId="289"/>
            <ac:grpSpMk id="9" creationId="{C038226F-ACA2-473E-BF7B-ED2CD8B5E83D}"/>
          </ac:grpSpMkLst>
        </pc:grpChg>
        <pc:grpChg chg="mod">
          <ac:chgData name="Janice Njoroge" userId="d216bd57-3a6a-4eaf-af78-fb7f32f94385" providerId="ADAL" clId="{4D89D7FB-D7A2-48A2-8A8A-8D2E1FF44479}" dt="2021-04-06T11:07:01.370" v="72" actId="164"/>
          <ac:grpSpMkLst>
            <pc:docMk/>
            <pc:sldMk cId="1204624048" sldId="289"/>
            <ac:grpSpMk id="42" creationId="{445CDBEA-72D1-4E31-A753-09C1426063E6}"/>
          </ac:grpSpMkLst>
        </pc:grpChg>
        <pc:grpChg chg="mod">
          <ac:chgData name="Janice Njoroge" userId="d216bd57-3a6a-4eaf-af78-fb7f32f94385" providerId="ADAL" clId="{4D89D7FB-D7A2-48A2-8A8A-8D2E1FF44479}" dt="2021-04-06T11:07:01.370" v="72" actId="164"/>
          <ac:grpSpMkLst>
            <pc:docMk/>
            <pc:sldMk cId="1204624048" sldId="289"/>
            <ac:grpSpMk id="43" creationId="{C9C850C4-5C7C-4F7C-B060-EB10BE350EC3}"/>
          </ac:grpSpMkLst>
        </pc:grpChg>
        <pc:picChg chg="mod">
          <ac:chgData name="Janice Njoroge" userId="d216bd57-3a6a-4eaf-af78-fb7f32f94385" providerId="ADAL" clId="{4D89D7FB-D7A2-48A2-8A8A-8D2E1FF44479}" dt="2021-04-06T11:07:01.370" v="72" actId="164"/>
          <ac:picMkLst>
            <pc:docMk/>
            <pc:sldMk cId="1204624048" sldId="289"/>
            <ac:picMk id="3" creationId="{84A9FADA-899B-4A17-8202-C778B5412113}"/>
          </ac:picMkLst>
        </pc:picChg>
        <pc:picChg chg="mod">
          <ac:chgData name="Janice Njoroge" userId="d216bd57-3a6a-4eaf-af78-fb7f32f94385" providerId="ADAL" clId="{4D89D7FB-D7A2-48A2-8A8A-8D2E1FF44479}" dt="2021-04-06T11:07:01.370" v="72" actId="164"/>
          <ac:picMkLst>
            <pc:docMk/>
            <pc:sldMk cId="1204624048" sldId="289"/>
            <ac:picMk id="10" creationId="{A2B08AB8-4D07-476E-85A1-D83F7FCB024C}"/>
          </ac:picMkLst>
        </pc:picChg>
        <pc:picChg chg="mod">
          <ac:chgData name="Janice Njoroge" userId="d216bd57-3a6a-4eaf-af78-fb7f32f94385" providerId="ADAL" clId="{4D89D7FB-D7A2-48A2-8A8A-8D2E1FF44479}" dt="2021-04-06T11:07:01.370" v="72" actId="164"/>
          <ac:picMkLst>
            <pc:docMk/>
            <pc:sldMk cId="1204624048" sldId="289"/>
            <ac:picMk id="23" creationId="{441D9778-DC52-4953-B89C-BEC53F9D879B}"/>
          </ac:picMkLst>
        </pc:picChg>
        <pc:picChg chg="mod">
          <ac:chgData name="Janice Njoroge" userId="d216bd57-3a6a-4eaf-af78-fb7f32f94385" providerId="ADAL" clId="{4D89D7FB-D7A2-48A2-8A8A-8D2E1FF44479}" dt="2021-04-06T11:07:01.370" v="72" actId="164"/>
          <ac:picMkLst>
            <pc:docMk/>
            <pc:sldMk cId="1204624048" sldId="289"/>
            <ac:picMk id="24" creationId="{AEDDD2AF-6DC6-4EDF-A36C-FAF9C432E2C4}"/>
          </ac:picMkLst>
        </pc:picChg>
        <pc:cxnChg chg="mod">
          <ac:chgData name="Janice Njoroge" userId="d216bd57-3a6a-4eaf-af78-fb7f32f94385" providerId="ADAL" clId="{4D89D7FB-D7A2-48A2-8A8A-8D2E1FF44479}" dt="2021-04-06T11:07:01.370" v="72" actId="164"/>
          <ac:cxnSpMkLst>
            <pc:docMk/>
            <pc:sldMk cId="1204624048" sldId="289"/>
            <ac:cxnSpMk id="5" creationId="{607F9A7A-A193-40DE-99C4-7D11CCC7665E}"/>
          </ac:cxnSpMkLst>
        </pc:cxnChg>
        <pc:cxnChg chg="mod">
          <ac:chgData name="Janice Njoroge" userId="d216bd57-3a6a-4eaf-af78-fb7f32f94385" providerId="ADAL" clId="{4D89D7FB-D7A2-48A2-8A8A-8D2E1FF44479}" dt="2021-04-06T11:07:01.370" v="72" actId="164"/>
          <ac:cxnSpMkLst>
            <pc:docMk/>
            <pc:sldMk cId="1204624048" sldId="289"/>
            <ac:cxnSpMk id="17" creationId="{B4C2622D-8560-496A-9C99-2FE25FA82EC1}"/>
          </ac:cxnSpMkLst>
        </pc:cxnChg>
        <pc:cxnChg chg="mod">
          <ac:chgData name="Janice Njoroge" userId="d216bd57-3a6a-4eaf-af78-fb7f32f94385" providerId="ADAL" clId="{4D89D7FB-D7A2-48A2-8A8A-8D2E1FF44479}" dt="2021-04-06T11:07:01.370" v="72" actId="164"/>
          <ac:cxnSpMkLst>
            <pc:docMk/>
            <pc:sldMk cId="1204624048" sldId="289"/>
            <ac:cxnSpMk id="21" creationId="{B9DCF944-D4EE-4C69-9383-AB29C8C6414A}"/>
          </ac:cxnSpMkLst>
        </pc:cxnChg>
        <pc:cxnChg chg="mod">
          <ac:chgData name="Janice Njoroge" userId="d216bd57-3a6a-4eaf-af78-fb7f32f94385" providerId="ADAL" clId="{4D89D7FB-D7A2-48A2-8A8A-8D2E1FF44479}" dt="2021-04-06T11:07:01.370" v="72" actId="164"/>
          <ac:cxnSpMkLst>
            <pc:docMk/>
            <pc:sldMk cId="1204624048" sldId="289"/>
            <ac:cxnSpMk id="28" creationId="{B1BF2E87-C35A-4C61-8BE3-930FF91B9BF8}"/>
          </ac:cxnSpMkLst>
        </pc:cxnChg>
        <pc:cxnChg chg="mod">
          <ac:chgData name="Janice Njoroge" userId="d216bd57-3a6a-4eaf-af78-fb7f32f94385" providerId="ADAL" clId="{4D89D7FB-D7A2-48A2-8A8A-8D2E1FF44479}" dt="2021-04-06T11:07:01.370" v="72" actId="164"/>
          <ac:cxnSpMkLst>
            <pc:docMk/>
            <pc:sldMk cId="1204624048" sldId="289"/>
            <ac:cxnSpMk id="30" creationId="{2544E6D4-943F-4ED8-BBB1-7D571F3EB539}"/>
          </ac:cxnSpMkLst>
        </pc:cxnChg>
      </pc:sldChg>
      <pc:sldChg chg="addSp delSp modSp del">
        <pc:chgData name="Janice Njoroge" userId="d216bd57-3a6a-4eaf-af78-fb7f32f94385" providerId="ADAL" clId="{4D89D7FB-D7A2-48A2-8A8A-8D2E1FF44479}" dt="2021-04-06T11:04:01.581" v="49" actId="2696"/>
        <pc:sldMkLst>
          <pc:docMk/>
          <pc:sldMk cId="1863825064" sldId="295"/>
        </pc:sldMkLst>
        <pc:spChg chg="del">
          <ac:chgData name="Janice Njoroge" userId="d216bd57-3a6a-4eaf-af78-fb7f32f94385" providerId="ADAL" clId="{4D89D7FB-D7A2-48A2-8A8A-8D2E1FF44479}" dt="2021-04-06T11:00:16.095" v="3"/>
          <ac:spMkLst>
            <pc:docMk/>
            <pc:sldMk cId="1863825064" sldId="295"/>
            <ac:spMk id="2" creationId="{85A54EB0-2570-4409-BF82-C750FE52DA49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4" creationId="{4F42B77C-F666-418F-BBC3-1B666F39EDD1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5" creationId="{5BE75AF7-6C17-4658-B82A-B097008F0D70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6" creationId="{B8F6CA1F-B720-4046-89D3-B66B7C5D8B6F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8" creationId="{76F14C31-2450-48A8-8AF9-2BAFE5000B5C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9" creationId="{9F15B9FE-155D-4ED4-8BDA-1FF1F52FC8B2}"/>
          </ac:spMkLst>
        </pc:spChg>
        <pc:spChg chg="add del">
          <ac:chgData name="Janice Njoroge" userId="d216bd57-3a6a-4eaf-af78-fb7f32f94385" providerId="ADAL" clId="{4D89D7FB-D7A2-48A2-8A8A-8D2E1FF44479}" dt="2021-04-06T11:01:29.211" v="18"/>
          <ac:spMkLst>
            <pc:docMk/>
            <pc:sldMk cId="1863825064" sldId="295"/>
            <ac:spMk id="10" creationId="{FF854B66-64F2-446B-939D-90A9E063320F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1" creationId="{A0EB4D4C-052E-475A-B135-13CC8A0DF248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2" creationId="{6020CDDC-754A-400E-9616-8821C84E42DD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3" creationId="{8DD46BA6-A2B1-4962-B0BC-830442960D0D}"/>
          </ac:spMkLst>
        </pc:spChg>
        <pc:spChg chg="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4" creationId="{8DCB6F32-3DFB-4DAA-AF72-FE34598A1DC6}"/>
          </ac:spMkLst>
        </pc:spChg>
        <pc:spChg chg="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5" creationId="{B75F29E0-56B7-404E-A91E-5DB1A6F1E3C0}"/>
          </ac:spMkLst>
        </pc:spChg>
        <pc:spChg chg="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6" creationId="{D22E1DE8-0F1B-4BD0-8A98-728B056C8300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7" creationId="{E65AC4FE-0E67-4C3B-B5D3-B1B5F3CD8A28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28" creationId="{DFB6CF83-4BF6-4392-9B8D-7253AEF1D5DB}"/>
          </ac:spMkLst>
        </pc:spChg>
        <pc:spChg chg="add del mod">
          <ac:chgData name="Janice Njoroge" userId="d216bd57-3a6a-4eaf-af78-fb7f32f94385" providerId="ADAL" clId="{4D89D7FB-D7A2-48A2-8A8A-8D2E1FF44479}" dt="2021-04-06T11:02:51.746" v="44" actId="164"/>
          <ac:spMkLst>
            <pc:docMk/>
            <pc:sldMk cId="1863825064" sldId="295"/>
            <ac:spMk id="43" creationId="{96F92125-326C-44AB-BBFB-135410970709}"/>
          </ac:spMkLst>
        </pc:spChg>
        <pc:grpChg chg="add del mod">
          <ac:chgData name="Janice Njoroge" userId="d216bd57-3a6a-4eaf-af78-fb7f32f94385" providerId="ADAL" clId="{4D89D7FB-D7A2-48A2-8A8A-8D2E1FF44479}" dt="2021-04-06T11:03:02.237" v="45"/>
          <ac:grpSpMkLst>
            <pc:docMk/>
            <pc:sldMk cId="1863825064" sldId="295"/>
            <ac:grpSpMk id="11" creationId="{860EA178-8437-431A-B099-3CE705DA954F}"/>
          </ac:grpSpMkLst>
        </pc:grpChg>
        <pc:grpChg chg="add del mod">
          <ac:chgData name="Janice Njoroge" userId="d216bd57-3a6a-4eaf-af78-fb7f32f94385" providerId="ADAL" clId="{4D89D7FB-D7A2-48A2-8A8A-8D2E1FF44479}" dt="2021-04-06T11:02:51.746" v="44" actId="164"/>
          <ac:grpSpMkLst>
            <pc:docMk/>
            <pc:sldMk cId="1863825064" sldId="295"/>
            <ac:grpSpMk id="18" creationId="{0BCCB52C-4E9A-4594-BD08-03E3791F10FB}"/>
          </ac:grpSpMkLst>
        </pc:grpChg>
        <pc:graphicFrameChg chg="add del mod">
          <ac:chgData name="Janice Njoroge" userId="d216bd57-3a6a-4eaf-af78-fb7f32f94385" providerId="ADAL" clId="{4D89D7FB-D7A2-48A2-8A8A-8D2E1FF44479}" dt="2021-04-06T11:02:51.746" v="44" actId="164"/>
          <ac:graphicFrameMkLst>
            <pc:docMk/>
            <pc:sldMk cId="1863825064" sldId="295"/>
            <ac:graphicFrameMk id="42" creationId="{00000000-0008-0000-0100-000002000000}"/>
          </ac:graphicFrameMkLst>
        </pc:graphicFrameChg>
        <pc:picChg chg="add del">
          <ac:chgData name="Janice Njoroge" userId="d216bd57-3a6a-4eaf-af78-fb7f32f94385" providerId="ADAL" clId="{4D89D7FB-D7A2-48A2-8A8A-8D2E1FF44479}" dt="2021-04-06T11:01:29.211" v="18"/>
          <ac:picMkLst>
            <pc:docMk/>
            <pc:sldMk cId="1863825064" sldId="295"/>
            <ac:picMk id="7" creationId="{5238479F-9A21-4E8F-A24F-F008FD6A34A5}"/>
          </ac:picMkLst>
        </pc:picChg>
        <pc:picChg chg="add del mod">
          <ac:chgData name="Janice Njoroge" userId="d216bd57-3a6a-4eaf-af78-fb7f32f94385" providerId="ADAL" clId="{4D89D7FB-D7A2-48A2-8A8A-8D2E1FF44479}" dt="2021-04-06T11:02:51.746" v="44" actId="164"/>
          <ac:picMkLst>
            <pc:docMk/>
            <pc:sldMk cId="1863825064" sldId="295"/>
            <ac:picMk id="30" creationId="{F890F9DE-8F1C-46A1-964B-4ABDE8E8D86E}"/>
          </ac:picMkLst>
        </pc:picChg>
        <pc:cxnChg chg="add del">
          <ac:chgData name="Janice Njoroge" userId="d216bd57-3a6a-4eaf-af78-fb7f32f94385" providerId="ADAL" clId="{4D89D7FB-D7A2-48A2-8A8A-8D2E1FF44479}" dt="2021-04-06T11:01:29.211" v="18"/>
          <ac:cxnSpMkLst>
            <pc:docMk/>
            <pc:sldMk cId="1863825064" sldId="295"/>
            <ac:cxnSpMk id="3" creationId="{C558A176-A53A-4F29-9E17-D44B6FC7FD78}"/>
          </ac:cxnSpMkLst>
        </pc:cxnChg>
      </pc:sldChg>
      <pc:sldChg chg="modSp">
        <pc:chgData name="Janice Njoroge" userId="d216bd57-3a6a-4eaf-af78-fb7f32f94385" providerId="ADAL" clId="{4D89D7FB-D7A2-48A2-8A8A-8D2E1FF44479}" dt="2021-04-06T11:15:41.935" v="182" actId="20577"/>
        <pc:sldMkLst>
          <pc:docMk/>
          <pc:sldMk cId="3404372659" sldId="2269"/>
        </pc:sldMkLst>
        <pc:spChg chg="mod">
          <ac:chgData name="Janice Njoroge" userId="d216bd57-3a6a-4eaf-af78-fb7f32f94385" providerId="ADAL" clId="{4D89D7FB-D7A2-48A2-8A8A-8D2E1FF44479}" dt="2021-04-06T11:15:41.935" v="182" actId="20577"/>
          <ac:spMkLst>
            <pc:docMk/>
            <pc:sldMk cId="3404372659" sldId="2269"/>
            <ac:spMk id="67" creationId="{00000000-0000-0000-0000-000000000000}"/>
          </ac:spMkLst>
        </pc:spChg>
      </pc:sldChg>
      <pc:sldChg chg="modSp">
        <pc:chgData name="Janice Njoroge" userId="d216bd57-3a6a-4eaf-af78-fb7f32f94385" providerId="ADAL" clId="{4D89D7FB-D7A2-48A2-8A8A-8D2E1FF44479}" dt="2021-04-06T11:14:22.558" v="166" actId="20577"/>
        <pc:sldMkLst>
          <pc:docMk/>
          <pc:sldMk cId="2442440513" sldId="2270"/>
        </pc:sldMkLst>
        <pc:spChg chg="mod">
          <ac:chgData name="Janice Njoroge" userId="d216bd57-3a6a-4eaf-af78-fb7f32f94385" providerId="ADAL" clId="{4D89D7FB-D7A2-48A2-8A8A-8D2E1FF44479}" dt="2021-04-06T11:14:22.558" v="166" actId="20577"/>
          <ac:spMkLst>
            <pc:docMk/>
            <pc:sldMk cId="2442440513" sldId="2270"/>
            <ac:spMk id="74" creationId="{00000000-0000-0000-0000-000000000000}"/>
          </ac:spMkLst>
        </pc:spChg>
      </pc:sldChg>
      <pc:sldChg chg="modSp">
        <pc:chgData name="Janice Njoroge" userId="d216bd57-3a6a-4eaf-af78-fb7f32f94385" providerId="ADAL" clId="{4D89D7FB-D7A2-48A2-8A8A-8D2E1FF44479}" dt="2021-04-06T11:05:23.090" v="59" actId="20577"/>
        <pc:sldMkLst>
          <pc:docMk/>
          <pc:sldMk cId="2510403611" sldId="2305"/>
        </pc:sldMkLst>
        <pc:spChg chg="mod">
          <ac:chgData name="Janice Njoroge" userId="d216bd57-3a6a-4eaf-af78-fb7f32f94385" providerId="ADAL" clId="{4D89D7FB-D7A2-48A2-8A8A-8D2E1FF44479}" dt="2021-04-06T11:05:23.090" v="59" actId="20577"/>
          <ac:spMkLst>
            <pc:docMk/>
            <pc:sldMk cId="2510403611" sldId="2305"/>
            <ac:spMk id="8" creationId="{B522FB8D-97AC-4F9D-93D8-734AC141E288}"/>
          </ac:spMkLst>
        </pc:spChg>
      </pc:sldChg>
      <pc:sldChg chg="modSp">
        <pc:chgData name="Janice Njoroge" userId="d216bd57-3a6a-4eaf-af78-fb7f32f94385" providerId="ADAL" clId="{4D89D7FB-D7A2-48A2-8A8A-8D2E1FF44479}" dt="2021-04-06T11:05:43.343" v="60" actId="207"/>
        <pc:sldMkLst>
          <pc:docMk/>
          <pc:sldMk cId="1449856212" sldId="2306"/>
        </pc:sldMkLst>
        <pc:spChg chg="mod">
          <ac:chgData name="Janice Njoroge" userId="d216bd57-3a6a-4eaf-af78-fb7f32f94385" providerId="ADAL" clId="{4D89D7FB-D7A2-48A2-8A8A-8D2E1FF44479}" dt="2021-04-06T11:05:43.343" v="60" actId="207"/>
          <ac:spMkLst>
            <pc:docMk/>
            <pc:sldMk cId="1449856212" sldId="2306"/>
            <ac:spMk id="42" creationId="{FC503876-78CA-4431-BE95-5268B92D9C34}"/>
          </ac:spMkLst>
        </pc:spChg>
      </pc:sldChg>
      <pc:sldChg chg="modSp">
        <pc:chgData name="Janice Njoroge" userId="d216bd57-3a6a-4eaf-af78-fb7f32f94385" providerId="ADAL" clId="{4D89D7FB-D7A2-48A2-8A8A-8D2E1FF44479}" dt="2021-04-06T11:15:04.147" v="177" actId="20577"/>
        <pc:sldMkLst>
          <pc:docMk/>
          <pc:sldMk cId="1509780786" sldId="2335"/>
        </pc:sldMkLst>
        <pc:spChg chg="mod">
          <ac:chgData name="Janice Njoroge" userId="d216bd57-3a6a-4eaf-af78-fb7f32f94385" providerId="ADAL" clId="{4D89D7FB-D7A2-48A2-8A8A-8D2E1FF44479}" dt="2021-04-06T11:15:04.147" v="177" actId="20577"/>
          <ac:spMkLst>
            <pc:docMk/>
            <pc:sldMk cId="1509780786" sldId="2335"/>
            <ac:spMk id="91" creationId="{00000000-0000-0000-0000-000000000000}"/>
          </ac:spMkLst>
        </pc:spChg>
      </pc:sldChg>
      <pc:sldChg chg="addSp delSp modSp del">
        <pc:chgData name="Janice Njoroge" userId="d216bd57-3a6a-4eaf-af78-fb7f32f94385" providerId="ADAL" clId="{4D89D7FB-D7A2-48A2-8A8A-8D2E1FF44479}" dt="2021-04-06T11:12:45.539" v="142" actId="2696"/>
        <pc:sldMkLst>
          <pc:docMk/>
          <pc:sldMk cId="951973022" sldId="2336"/>
        </pc:sldMkLst>
        <pc:spChg chg="del">
          <ac:chgData name="Janice Njoroge" userId="d216bd57-3a6a-4eaf-af78-fb7f32f94385" providerId="ADAL" clId="{4D89D7FB-D7A2-48A2-8A8A-8D2E1FF44479}" dt="2021-04-06T11:12:04.301" v="137"/>
          <ac:spMkLst>
            <pc:docMk/>
            <pc:sldMk cId="951973022" sldId="2336"/>
            <ac:spMk id="2" creationId="{3373EBE2-A642-4D93-8F22-10397994A19E}"/>
          </ac:spMkLst>
        </pc:spChg>
        <pc:spChg chg="del">
          <ac:chgData name="Janice Njoroge" userId="d216bd57-3a6a-4eaf-af78-fb7f32f94385" providerId="ADAL" clId="{4D89D7FB-D7A2-48A2-8A8A-8D2E1FF44479}" dt="2021-04-06T11:12:04.301" v="137"/>
          <ac:spMkLst>
            <pc:docMk/>
            <pc:sldMk cId="951973022" sldId="2336"/>
            <ac:spMk id="3" creationId="{1E01C843-1782-4526-A328-D316481C31F9}"/>
          </ac:spMkLst>
        </pc:spChg>
        <pc:spChg chg="add mod">
          <ac:chgData name="Janice Njoroge" userId="d216bd57-3a6a-4eaf-af78-fb7f32f94385" providerId="ADAL" clId="{4D89D7FB-D7A2-48A2-8A8A-8D2E1FF44479}" dt="2021-04-06T11:12:04.301" v="137"/>
          <ac:spMkLst>
            <pc:docMk/>
            <pc:sldMk cId="951973022" sldId="2336"/>
            <ac:spMk id="5" creationId="{B9208DC6-5241-43AE-A529-C231F411533A}"/>
          </ac:spMkLst>
        </pc:spChg>
        <pc:spChg chg="add del mod">
          <ac:chgData name="Janice Njoroge" userId="d216bd57-3a6a-4eaf-af78-fb7f32f94385" providerId="ADAL" clId="{4D89D7FB-D7A2-48A2-8A8A-8D2E1FF44479}" dt="2021-04-06T11:12:33.073" v="141" actId="478"/>
          <ac:spMkLst>
            <pc:docMk/>
            <pc:sldMk cId="951973022" sldId="2336"/>
            <ac:spMk id="6" creationId="{2B17A281-0CAA-4649-94A0-AD478BDD8AFC}"/>
          </ac:spMkLst>
        </pc:spChg>
        <pc:picChg chg="del">
          <ac:chgData name="Janice Njoroge" userId="d216bd57-3a6a-4eaf-af78-fb7f32f94385" providerId="ADAL" clId="{4D89D7FB-D7A2-48A2-8A8A-8D2E1FF44479}" dt="2021-04-06T11:12:04.301" v="137"/>
          <ac:picMkLst>
            <pc:docMk/>
            <pc:sldMk cId="951973022" sldId="2336"/>
            <ac:picMk id="4" creationId="{F3C9D1F6-E3B7-4534-9D21-93D54FA3A093}"/>
          </ac:picMkLst>
        </pc:picChg>
      </pc:sldChg>
      <pc:sldChg chg="addSp delSp modSp add ord">
        <pc:chgData name="Janice Njoroge" userId="d216bd57-3a6a-4eaf-af78-fb7f32f94385" providerId="ADAL" clId="{4D89D7FB-D7A2-48A2-8A8A-8D2E1FF44479}" dt="2021-04-06T11:09:13.643" v="113" actId="1035"/>
        <pc:sldMkLst>
          <pc:docMk/>
          <pc:sldMk cId="1092800833" sldId="2337"/>
        </pc:sldMkLst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9" creationId="{A679BBC9-1840-44E0-ADB4-BB49947316A3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23" creationId="{EA6EE44D-5D2B-4E2E-A2A5-737D71C49793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24" creationId="{602E9A8A-AB22-460C-9FE2-7A56F843BFE8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46" creationId="{A596B88C-AE17-4F29-96ED-B19B757EA0D1}"/>
          </ac:spMkLst>
        </pc:spChg>
        <pc:spChg chg="add mod">
          <ac:chgData name="Janice Njoroge" userId="d216bd57-3a6a-4eaf-af78-fb7f32f94385" providerId="ADAL" clId="{4D89D7FB-D7A2-48A2-8A8A-8D2E1FF44479}" dt="2021-04-06T11:08:11.501" v="81" actId="1076"/>
          <ac:spMkLst>
            <pc:docMk/>
            <pc:sldMk cId="1092800833" sldId="2337"/>
            <ac:spMk id="47" creationId="{28D50046-CE31-4204-B829-E2F77ACCC722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48" creationId="{6CC3A7D6-881F-4841-BD16-DCEB99F2D7EA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49" creationId="{30485034-013E-495B-9EF1-41E0DB0F4D82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50" creationId="{2FB4515F-CA74-4BC8-8D1C-093C4BE8435D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51" creationId="{3268F01E-3318-4D81-A538-EF59DCAFBE50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52" creationId="{A9D4EA6B-E35E-4D36-A68A-2B612E747372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53" creationId="{CA99D29E-0DC1-4F66-9420-035E8C67BA46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54" creationId="{1006DD9E-B3C3-4970-BB5F-3C2BCCFBAEAB}"/>
          </ac:spMkLst>
        </pc:spChg>
        <pc:spChg chg="add del mod">
          <ac:chgData name="Janice Njoroge" userId="d216bd57-3a6a-4eaf-af78-fb7f32f94385" providerId="ADAL" clId="{4D89D7FB-D7A2-48A2-8A8A-8D2E1FF44479}" dt="2021-04-06T11:06:35.706" v="69" actId="478"/>
          <ac:spMkLst>
            <pc:docMk/>
            <pc:sldMk cId="1092800833" sldId="2337"/>
            <ac:spMk id="56" creationId="{47BB6336-BD9D-4B3E-BFDF-45C16945A172}"/>
          </ac:spMkLst>
        </pc:spChg>
        <pc:spChg chg="add del mod">
          <ac:chgData name="Janice Njoroge" userId="d216bd57-3a6a-4eaf-af78-fb7f32f94385" providerId="ADAL" clId="{4D89D7FB-D7A2-48A2-8A8A-8D2E1FF44479}" dt="2021-04-06T11:06:39.264" v="70" actId="478"/>
          <ac:spMkLst>
            <pc:docMk/>
            <pc:sldMk cId="1092800833" sldId="2337"/>
            <ac:spMk id="57" creationId="{A26D0CD4-D1F5-4D95-9E06-A4505E1C00F7}"/>
          </ac:spMkLst>
        </pc:spChg>
        <pc:spChg chg="add del mod">
          <ac:chgData name="Janice Njoroge" userId="d216bd57-3a6a-4eaf-af78-fb7f32f94385" providerId="ADAL" clId="{4D89D7FB-D7A2-48A2-8A8A-8D2E1FF44479}" dt="2021-04-06T11:06:39.264" v="70" actId="478"/>
          <ac:spMkLst>
            <pc:docMk/>
            <pc:sldMk cId="1092800833" sldId="2337"/>
            <ac:spMk id="59" creationId="{78C03BB5-E257-438C-A3FB-E95626556398}"/>
          </ac:spMkLst>
        </pc:spChg>
        <pc:spChg chg="add del mod">
          <ac:chgData name="Janice Njoroge" userId="d216bd57-3a6a-4eaf-af78-fb7f32f94385" providerId="ADAL" clId="{4D89D7FB-D7A2-48A2-8A8A-8D2E1FF44479}" dt="2021-04-06T11:06:39.264" v="70" actId="478"/>
          <ac:spMkLst>
            <pc:docMk/>
            <pc:sldMk cId="1092800833" sldId="2337"/>
            <ac:spMk id="60" creationId="{F6F1202D-4181-4E12-82B3-A258460FC619}"/>
          </ac:spMkLst>
        </pc:spChg>
        <pc:spChg chg="add del mod">
          <ac:chgData name="Janice Njoroge" userId="d216bd57-3a6a-4eaf-af78-fb7f32f94385" providerId="ADAL" clId="{4D89D7FB-D7A2-48A2-8A8A-8D2E1FF44479}" dt="2021-04-06T11:06:39.264" v="70" actId="478"/>
          <ac:spMkLst>
            <pc:docMk/>
            <pc:sldMk cId="1092800833" sldId="2337"/>
            <ac:spMk id="61" creationId="{12C27311-D95E-453B-8194-4D45D090A264}"/>
          </ac:spMkLst>
        </pc:spChg>
        <pc:spChg chg="add del mod">
          <ac:chgData name="Janice Njoroge" userId="d216bd57-3a6a-4eaf-af78-fb7f32f94385" providerId="ADAL" clId="{4D89D7FB-D7A2-48A2-8A8A-8D2E1FF44479}" dt="2021-04-06T11:06:39.264" v="70" actId="478"/>
          <ac:spMkLst>
            <pc:docMk/>
            <pc:sldMk cId="1092800833" sldId="2337"/>
            <ac:spMk id="62" creationId="{2FE2DBF0-BA7F-41A5-A8B7-BFE84D372BFF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64" creationId="{2B801925-B8B3-4304-A3F9-4ABE3F86C746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65" creationId="{F33CF8EE-3870-497C-83A2-B458996AC981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67" creationId="{9424E90E-18A8-4CEA-8747-7C9F380BCE37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68" creationId="{F33CBF22-0A89-4B20-8FE2-960BB4243F35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69" creationId="{E9DE5B09-722F-48ED-BEDC-A44D7193319B}"/>
          </ac:spMkLst>
        </pc:spChg>
        <pc:spChg chg="add del">
          <ac:chgData name="Janice Njoroge" userId="d216bd57-3a6a-4eaf-af78-fb7f32f94385" providerId="ADAL" clId="{4D89D7FB-D7A2-48A2-8A8A-8D2E1FF44479}" dt="2021-04-06T11:01:20.514" v="15"/>
          <ac:spMkLst>
            <pc:docMk/>
            <pc:sldMk cId="1092800833" sldId="2337"/>
            <ac:spMk id="70" creationId="{DE5D34F6-D508-458D-87A1-B7AE28AC1B51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86" creationId="{793046FD-AD4A-45F0-A396-EFE320AF01C8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88" creationId="{107F7E0F-E49B-4C98-85B8-2FB77432C60D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89" creationId="{47201C8B-2E1D-4CE4-A3D7-2469599F706C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90" creationId="{27F2A09A-C041-4696-8A3F-0A83A32FF991}"/>
          </ac:spMkLst>
        </pc:spChg>
        <pc:spChg chg="del">
          <ac:chgData name="Janice Njoroge" userId="d216bd57-3a6a-4eaf-af78-fb7f32f94385" providerId="ADAL" clId="{4D89D7FB-D7A2-48A2-8A8A-8D2E1FF44479}" dt="2021-04-06T11:00:09.969" v="2" actId="478"/>
          <ac:spMkLst>
            <pc:docMk/>
            <pc:sldMk cId="1092800833" sldId="2337"/>
            <ac:spMk id="91" creationId="{00000000-0000-0000-0000-000000000000}"/>
          </ac:spMkLst>
        </pc:spChg>
        <pc:spChg chg="mod">
          <ac:chgData name="Janice Njoroge" userId="d216bd57-3a6a-4eaf-af78-fb7f32f94385" providerId="ADAL" clId="{4D89D7FB-D7A2-48A2-8A8A-8D2E1FF44479}" dt="2021-04-06T11:07:57.523" v="80" actId="1076"/>
          <ac:spMkLst>
            <pc:docMk/>
            <pc:sldMk cId="1092800833" sldId="2337"/>
            <ac:spMk id="97" creationId="{A43B7FF0-B1CE-4CC7-BC54-99C13659A6E2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145" creationId="{5967E6D7-2DC9-44AA-856C-8AA226C85C08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148" creationId="{D562D35E-34B6-47B9-B14F-998CDF9A0860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149" creationId="{09842B22-9714-46E1-B3C1-161F7830A226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150" creationId="{8C42AD5D-AE01-4050-AA7B-3ABB8A2F8B93}"/>
          </ac:spMkLst>
        </pc:spChg>
        <pc:spChg chg="del">
          <ac:chgData name="Janice Njoroge" userId="d216bd57-3a6a-4eaf-af78-fb7f32f94385" providerId="ADAL" clId="{4D89D7FB-D7A2-48A2-8A8A-8D2E1FF44479}" dt="2021-04-06T11:00:05.803" v="1" actId="478"/>
          <ac:spMkLst>
            <pc:docMk/>
            <pc:sldMk cId="1092800833" sldId="2337"/>
            <ac:spMk id="166" creationId="{5BB6721E-73F5-4586-8C82-992DD9587E0A}"/>
          </ac:spMkLst>
        </pc:spChg>
        <pc:grpChg chg="del">
          <ac:chgData name="Janice Njoroge" userId="d216bd57-3a6a-4eaf-af78-fb7f32f94385" providerId="ADAL" clId="{4D89D7FB-D7A2-48A2-8A8A-8D2E1FF44479}" dt="2021-04-06T11:00:05.803" v="1" actId="478"/>
          <ac:grpSpMkLst>
            <pc:docMk/>
            <pc:sldMk cId="1092800833" sldId="2337"/>
            <ac:grpSpMk id="4" creationId="{00000000-0000-0000-0000-000000000000}"/>
          </ac:grpSpMkLst>
        </pc:grpChg>
        <pc:grpChg chg="del">
          <ac:chgData name="Janice Njoroge" userId="d216bd57-3a6a-4eaf-af78-fb7f32f94385" providerId="ADAL" clId="{4D89D7FB-D7A2-48A2-8A8A-8D2E1FF44479}" dt="2021-04-06T11:00:05.803" v="1" actId="478"/>
          <ac:grpSpMkLst>
            <pc:docMk/>
            <pc:sldMk cId="1092800833" sldId="2337"/>
            <ac:grpSpMk id="5" creationId="{00000000-0000-0000-0000-000000000000}"/>
          </ac:grpSpMkLst>
        </pc:grpChg>
        <pc:grpChg chg="del">
          <ac:chgData name="Janice Njoroge" userId="d216bd57-3a6a-4eaf-af78-fb7f32f94385" providerId="ADAL" clId="{4D89D7FB-D7A2-48A2-8A8A-8D2E1FF44479}" dt="2021-04-06T11:00:05.803" v="1" actId="478"/>
          <ac:grpSpMkLst>
            <pc:docMk/>
            <pc:sldMk cId="1092800833" sldId="2337"/>
            <ac:grpSpMk id="8" creationId="{00000000-0000-0000-0000-000000000000}"/>
          </ac:grpSpMkLst>
        </pc:grpChg>
        <pc:grpChg chg="del">
          <ac:chgData name="Janice Njoroge" userId="d216bd57-3a6a-4eaf-af78-fb7f32f94385" providerId="ADAL" clId="{4D89D7FB-D7A2-48A2-8A8A-8D2E1FF44479}" dt="2021-04-06T11:00:05.803" v="1" actId="478"/>
          <ac:grpSpMkLst>
            <pc:docMk/>
            <pc:sldMk cId="1092800833" sldId="2337"/>
            <ac:grpSpMk id="11" creationId="{00000000-0000-0000-0000-000000000000}"/>
          </ac:grpSpMkLst>
        </pc:grpChg>
        <pc:grpChg chg="add del mod">
          <ac:chgData name="Janice Njoroge" userId="d216bd57-3a6a-4eaf-af78-fb7f32f94385" providerId="ADAL" clId="{4D89D7FB-D7A2-48A2-8A8A-8D2E1FF44479}" dt="2021-04-06T11:06:39.264" v="70" actId="478"/>
          <ac:grpSpMkLst>
            <pc:docMk/>
            <pc:sldMk cId="1092800833" sldId="2337"/>
            <ac:grpSpMk id="71" creationId="{865F1496-B38D-4801-9407-C0DE7B78648F}"/>
          </ac:grpSpMkLst>
        </pc:grpChg>
        <pc:grpChg chg="add mod">
          <ac:chgData name="Janice Njoroge" userId="d216bd57-3a6a-4eaf-af78-fb7f32f94385" providerId="ADAL" clId="{4D89D7FB-D7A2-48A2-8A8A-8D2E1FF44479}" dt="2021-04-06T11:08:54.462" v="99" actId="1035"/>
          <ac:grpSpMkLst>
            <pc:docMk/>
            <pc:sldMk cId="1092800833" sldId="2337"/>
            <ac:grpSpMk id="87" creationId="{28ECB0A0-02B5-490D-8084-88DEA466DB4B}"/>
          </ac:grpSpMkLst>
        </pc:grpChg>
        <pc:picChg chg="add del mod">
          <ac:chgData name="Janice Njoroge" userId="d216bd57-3a6a-4eaf-af78-fb7f32f94385" providerId="ADAL" clId="{4D89D7FB-D7A2-48A2-8A8A-8D2E1FF44479}" dt="2021-04-06T11:06:39.264" v="70" actId="478"/>
          <ac:picMkLst>
            <pc:docMk/>
            <pc:sldMk cId="1092800833" sldId="2337"/>
            <ac:picMk id="58" creationId="{E748F21D-433C-4E35-91AD-75613D94B5B8}"/>
          </ac:picMkLst>
        </pc:picChg>
        <pc:picChg chg="add del">
          <ac:chgData name="Janice Njoroge" userId="d216bd57-3a6a-4eaf-af78-fb7f32f94385" providerId="ADAL" clId="{4D89D7FB-D7A2-48A2-8A8A-8D2E1FF44479}" dt="2021-04-06T11:01:20.514" v="15"/>
          <ac:picMkLst>
            <pc:docMk/>
            <pc:sldMk cId="1092800833" sldId="2337"/>
            <ac:picMk id="66" creationId="{7668D126-6857-4D2B-A8E0-750570F9A5BE}"/>
          </ac:picMkLst>
        </pc:picChg>
        <pc:picChg chg="mod">
          <ac:chgData name="Janice Njoroge" userId="d216bd57-3a6a-4eaf-af78-fb7f32f94385" providerId="ADAL" clId="{4D89D7FB-D7A2-48A2-8A8A-8D2E1FF44479}" dt="2021-04-06T11:07:53.470" v="79" actId="1076"/>
          <ac:picMkLst>
            <pc:docMk/>
            <pc:sldMk cId="1092800833" sldId="2337"/>
            <ac:picMk id="106" creationId="{17BE239C-A304-4270-917E-06C2EC3DDCD9}"/>
          </ac:picMkLst>
        </pc:picChg>
        <pc:cxnChg chg="del">
          <ac:chgData name="Janice Njoroge" userId="d216bd57-3a6a-4eaf-af78-fb7f32f94385" providerId="ADAL" clId="{4D89D7FB-D7A2-48A2-8A8A-8D2E1FF44479}" dt="2021-04-06T11:00:05.803" v="1" actId="478"/>
          <ac:cxnSpMkLst>
            <pc:docMk/>
            <pc:sldMk cId="1092800833" sldId="2337"/>
            <ac:cxnSpMk id="7" creationId="{B8A9D08D-9B39-45F8-BFF9-99BE69D9D653}"/>
          </ac:cxnSpMkLst>
        </pc:cxnChg>
        <pc:cxnChg chg="add del mod">
          <ac:chgData name="Janice Njoroge" userId="d216bd57-3a6a-4eaf-af78-fb7f32f94385" providerId="ADAL" clId="{4D89D7FB-D7A2-48A2-8A8A-8D2E1FF44479}" dt="2021-04-06T11:06:39.264" v="70" actId="478"/>
          <ac:cxnSpMkLst>
            <pc:docMk/>
            <pc:sldMk cId="1092800833" sldId="2337"/>
            <ac:cxnSpMk id="55" creationId="{80ED91BF-0BE5-4299-B1C4-E6D0583958F6}"/>
          </ac:cxnSpMkLst>
        </pc:cxnChg>
        <pc:cxnChg chg="add del">
          <ac:chgData name="Janice Njoroge" userId="d216bd57-3a6a-4eaf-af78-fb7f32f94385" providerId="ADAL" clId="{4D89D7FB-D7A2-48A2-8A8A-8D2E1FF44479}" dt="2021-04-06T11:01:20.514" v="15"/>
          <ac:cxnSpMkLst>
            <pc:docMk/>
            <pc:sldMk cId="1092800833" sldId="2337"/>
            <ac:cxnSpMk id="63" creationId="{A094D5BA-B49F-4FDE-8040-898C6035F0E6}"/>
          </ac:cxnSpMkLst>
        </pc:cxnChg>
        <pc:cxnChg chg="mod">
          <ac:chgData name="Janice Njoroge" userId="d216bd57-3a6a-4eaf-af78-fb7f32f94385" providerId="ADAL" clId="{4D89D7FB-D7A2-48A2-8A8A-8D2E1FF44479}" dt="2021-04-06T11:09:13.643" v="113" actId="1035"/>
          <ac:cxnSpMkLst>
            <pc:docMk/>
            <pc:sldMk cId="1092800833" sldId="2337"/>
            <ac:cxnSpMk id="104" creationId="{137ACDDF-3E81-4282-BA1A-A95E58071B77}"/>
          </ac:cxnSpMkLst>
        </pc:cxnChg>
        <pc:cxnChg chg="mod">
          <ac:chgData name="Janice Njoroge" userId="d216bd57-3a6a-4eaf-af78-fb7f32f94385" providerId="ADAL" clId="{4D89D7FB-D7A2-48A2-8A8A-8D2E1FF44479}" dt="2021-04-06T11:08:55.027" v="100" actId="1035"/>
          <ac:cxnSpMkLst>
            <pc:docMk/>
            <pc:sldMk cId="1092800833" sldId="2337"/>
            <ac:cxnSpMk id="114" creationId="{72DE7D52-113F-4DAA-92E9-4BF3F7A4A956}"/>
          </ac:cxnSpMkLst>
        </pc:cxnChg>
        <pc:cxnChg chg="mod">
          <ac:chgData name="Janice Njoroge" userId="d216bd57-3a6a-4eaf-af78-fb7f32f94385" providerId="ADAL" clId="{4D89D7FB-D7A2-48A2-8A8A-8D2E1FF44479}" dt="2021-04-06T11:07:26.146" v="76" actId="208"/>
          <ac:cxnSpMkLst>
            <pc:docMk/>
            <pc:sldMk cId="1092800833" sldId="2337"/>
            <ac:cxnSpMk id="115" creationId="{54C9BB8B-F091-4B45-8DD3-5B7E69313C0A}"/>
          </ac:cxnSpMkLst>
        </pc:cxnChg>
        <pc:cxnChg chg="del">
          <ac:chgData name="Janice Njoroge" userId="d216bd57-3a6a-4eaf-af78-fb7f32f94385" providerId="ADAL" clId="{4D89D7FB-D7A2-48A2-8A8A-8D2E1FF44479}" dt="2021-04-06T11:00:05.803" v="1" actId="478"/>
          <ac:cxnSpMkLst>
            <pc:docMk/>
            <pc:sldMk cId="1092800833" sldId="2337"/>
            <ac:cxnSpMk id="152" creationId="{23593138-B99D-47D6-8202-8AB2EC903617}"/>
          </ac:cxnSpMkLst>
        </pc:cxnChg>
        <pc:cxnChg chg="del">
          <ac:chgData name="Janice Njoroge" userId="d216bd57-3a6a-4eaf-af78-fb7f32f94385" providerId="ADAL" clId="{4D89D7FB-D7A2-48A2-8A8A-8D2E1FF44479}" dt="2021-04-06T11:00:05.803" v="1" actId="478"/>
          <ac:cxnSpMkLst>
            <pc:docMk/>
            <pc:sldMk cId="1092800833" sldId="2337"/>
            <ac:cxnSpMk id="153" creationId="{5867B366-C1F6-4CE1-AA23-800CC7AD5075}"/>
          </ac:cxnSpMkLst>
        </pc:cxnChg>
      </pc:sldChg>
      <pc:sldChg chg="add">
        <pc:chgData name="Janice Njoroge" userId="d216bd57-3a6a-4eaf-af78-fb7f32f94385" providerId="ADAL" clId="{4D89D7FB-D7A2-48A2-8A8A-8D2E1FF44479}" dt="2021-04-06T11:06:10.581" v="61"/>
        <pc:sldMkLst>
          <pc:docMk/>
          <pc:sldMk cId="893672428" sldId="2338"/>
        </pc:sldMkLst>
      </pc:sldChg>
      <pc:sldChg chg="addSp delSp modSp add">
        <pc:chgData name="Janice Njoroge" userId="d216bd57-3a6a-4eaf-af78-fb7f32f94385" providerId="ADAL" clId="{4D89D7FB-D7A2-48A2-8A8A-8D2E1FF44479}" dt="2021-04-06T11:16:18.394" v="198" actId="1038"/>
        <pc:sldMkLst>
          <pc:docMk/>
          <pc:sldMk cId="652415408" sldId="2339"/>
        </pc:sldMkLst>
        <pc:spChg chg="add mod">
          <ac:chgData name="Janice Njoroge" userId="d216bd57-3a6a-4eaf-af78-fb7f32f94385" providerId="ADAL" clId="{4D89D7FB-D7A2-48A2-8A8A-8D2E1FF44479}" dt="2021-04-06T11:09:56.218" v="120" actId="207"/>
          <ac:spMkLst>
            <pc:docMk/>
            <pc:sldMk cId="652415408" sldId="2339"/>
            <ac:spMk id="37" creationId="{60D53E79-61CD-404F-AE88-377DBE86CFD6}"/>
          </ac:spMkLst>
        </pc:spChg>
        <pc:spChg chg="del mod">
          <ac:chgData name="Janice Njoroge" userId="d216bd57-3a6a-4eaf-af78-fb7f32f94385" providerId="ADAL" clId="{4D89D7FB-D7A2-48A2-8A8A-8D2E1FF44479}" dt="2021-04-06T11:09:50.812" v="118" actId="478"/>
          <ac:spMkLst>
            <pc:docMk/>
            <pc:sldMk cId="652415408" sldId="2339"/>
            <ac:spMk id="47" creationId="{28D50046-CE31-4204-B829-E2F77ACCC722}"/>
          </ac:spMkLst>
        </pc:spChg>
        <pc:grpChg chg="add mod">
          <ac:chgData name="Janice Njoroge" userId="d216bd57-3a6a-4eaf-af78-fb7f32f94385" providerId="ADAL" clId="{4D89D7FB-D7A2-48A2-8A8A-8D2E1FF44479}" dt="2021-04-06T11:16:18.394" v="198" actId="1038"/>
          <ac:grpSpMkLst>
            <pc:docMk/>
            <pc:sldMk cId="652415408" sldId="2339"/>
            <ac:grpSpMk id="38" creationId="{301349EC-32AA-4FD8-B3FE-29E443B58967}"/>
          </ac:grpSpMkLst>
        </pc:grpChg>
        <pc:grpChg chg="del">
          <ac:chgData name="Janice Njoroge" userId="d216bd57-3a6a-4eaf-af78-fb7f32f94385" providerId="ADAL" clId="{4D89D7FB-D7A2-48A2-8A8A-8D2E1FF44479}" dt="2021-04-06T11:10:05.746" v="121" actId="478"/>
          <ac:grpSpMkLst>
            <pc:docMk/>
            <pc:sldMk cId="652415408" sldId="2339"/>
            <ac:grpSpMk id="87" creationId="{28ECB0A0-02B5-490D-8084-88DEA466DB4B}"/>
          </ac:grpSpMkLst>
        </pc:grpChg>
        <pc:cxnChg chg="mod">
          <ac:chgData name="Janice Njoroge" userId="d216bd57-3a6a-4eaf-af78-fb7f32f94385" providerId="ADAL" clId="{4D89D7FB-D7A2-48A2-8A8A-8D2E1FF44479}" dt="2021-04-06T11:10:05.746" v="121" actId="478"/>
          <ac:cxnSpMkLst>
            <pc:docMk/>
            <pc:sldMk cId="652415408" sldId="2339"/>
            <ac:cxnSpMk id="115" creationId="{54C9BB8B-F091-4B45-8DD3-5B7E69313C0A}"/>
          </ac:cxnSpMkLst>
        </pc:cxnChg>
      </pc:sldChg>
      <pc:sldChg chg="addSp delSp modSp add">
        <pc:chgData name="Janice Njoroge" userId="d216bd57-3a6a-4eaf-af78-fb7f32f94385" providerId="ADAL" clId="{4D89D7FB-D7A2-48A2-8A8A-8D2E1FF44479}" dt="2021-04-06T11:13:39.957" v="161" actId="1036"/>
        <pc:sldMkLst>
          <pc:docMk/>
          <pc:sldMk cId="3369026021" sldId="2340"/>
        </pc:sldMkLst>
        <pc:spChg chg="del">
          <ac:chgData name="Janice Njoroge" userId="d216bd57-3a6a-4eaf-af78-fb7f32f94385" providerId="ADAL" clId="{4D89D7FB-D7A2-48A2-8A8A-8D2E1FF44479}" dt="2021-04-06T11:11:51.713" v="135" actId="478"/>
          <ac:spMkLst>
            <pc:docMk/>
            <pc:sldMk cId="3369026021" sldId="2340"/>
            <ac:spMk id="2" creationId="{64710526-86DF-4F0B-B9C8-658B3C387DAB}"/>
          </ac:spMkLst>
        </pc:spChg>
        <pc:spChg chg="del">
          <ac:chgData name="Janice Njoroge" userId="d216bd57-3a6a-4eaf-af78-fb7f32f94385" providerId="ADAL" clId="{4D89D7FB-D7A2-48A2-8A8A-8D2E1FF44479}" dt="2021-04-06T11:11:54.737" v="136" actId="478"/>
          <ac:spMkLst>
            <pc:docMk/>
            <pc:sldMk cId="3369026021" sldId="2340"/>
            <ac:spMk id="3" creationId="{9CF5AFE5-E412-4659-AA35-1573DC34E5BF}"/>
          </ac:spMkLst>
        </pc:spChg>
        <pc:spChg chg="add mod">
          <ac:chgData name="Janice Njoroge" userId="d216bd57-3a6a-4eaf-af78-fb7f32f94385" providerId="ADAL" clId="{4D89D7FB-D7A2-48A2-8A8A-8D2E1FF44479}" dt="2021-04-06T11:12:57.120" v="145" actId="113"/>
          <ac:spMkLst>
            <pc:docMk/>
            <pc:sldMk cId="3369026021" sldId="2340"/>
            <ac:spMk id="5" creationId="{877F345A-C079-498C-88ED-E0AAE7AFC711}"/>
          </ac:spMkLst>
        </pc:spChg>
        <pc:spChg chg="add mod">
          <ac:chgData name="Janice Njoroge" userId="d216bd57-3a6a-4eaf-af78-fb7f32f94385" providerId="ADAL" clId="{4D89D7FB-D7A2-48A2-8A8A-8D2E1FF44479}" dt="2021-04-06T11:12:24.908" v="140" actId="207"/>
          <ac:spMkLst>
            <pc:docMk/>
            <pc:sldMk cId="3369026021" sldId="2340"/>
            <ac:spMk id="6" creationId="{5856A34B-6029-4A27-8F54-D1E85B1B6D93}"/>
          </ac:spMkLst>
        </pc:spChg>
        <pc:picChg chg="add mod">
          <ac:chgData name="Janice Njoroge" userId="d216bd57-3a6a-4eaf-af78-fb7f32f94385" providerId="ADAL" clId="{4D89D7FB-D7A2-48A2-8A8A-8D2E1FF44479}" dt="2021-04-06T11:13:39.957" v="161" actId="1036"/>
          <ac:picMkLst>
            <pc:docMk/>
            <pc:sldMk cId="3369026021" sldId="2340"/>
            <ac:picMk id="4" creationId="{B9C55581-9CCB-4285-B81C-32ECF09E5AA6}"/>
          </ac:picMkLst>
        </pc:picChg>
        <pc:cxnChg chg="add mod">
          <ac:chgData name="Janice Njoroge" userId="d216bd57-3a6a-4eaf-af78-fb7f32f94385" providerId="ADAL" clId="{4D89D7FB-D7A2-48A2-8A8A-8D2E1FF44479}" dt="2021-04-06T11:13:32.344" v="150" actId="1582"/>
          <ac:cxnSpMkLst>
            <pc:docMk/>
            <pc:sldMk cId="3369026021" sldId="2340"/>
            <ac:cxnSpMk id="8" creationId="{C0D4EB43-9CBD-46E9-8B51-0417A2311092}"/>
          </ac:cxnSpMkLst>
        </pc:cxnChg>
      </pc:sldChg>
      <pc:sldMasterChg chg="delSldLayout">
        <pc:chgData name="Janice Njoroge" userId="d216bd57-3a6a-4eaf-af78-fb7f32f94385" providerId="ADAL" clId="{4D89D7FB-D7A2-48A2-8A8A-8D2E1FF44479}" dt="2021-04-06T11:10:54.479" v="133" actId="2696"/>
        <pc:sldMasterMkLst>
          <pc:docMk/>
          <pc:sldMasterMk cId="1993355607" sldId="2147483710"/>
        </pc:sldMasterMkLst>
        <pc:sldLayoutChg chg="del">
          <pc:chgData name="Janice Njoroge" userId="d216bd57-3a6a-4eaf-af78-fb7f32f94385" providerId="ADAL" clId="{4D89D7FB-D7A2-48A2-8A8A-8D2E1FF44479}" dt="2021-04-06T11:10:54.479" v="133" actId="2696"/>
          <pc:sldLayoutMkLst>
            <pc:docMk/>
            <pc:sldMasterMk cId="1993355607" sldId="2147483710"/>
            <pc:sldLayoutMk cId="508221122" sldId="2147483772"/>
          </pc:sldLayoutMkLst>
        </pc:sldLayoutChg>
      </pc:sldMaster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kamande\Downloads\Wealth%20Profil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r>
              <a:rPr lang="en-GB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frica’s billionaires by country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Slide 3'!$B$3</c:f>
              <c:strCache>
                <c:ptCount val="1"/>
                <c:pt idx="0">
                  <c:v>2011</c:v>
                </c:pt>
              </c:strCache>
            </c:strRef>
          </c:tx>
          <c:spPr>
            <a:solidFill>
              <a:srgbClr val="48A1B1"/>
            </a:solidFill>
            <a:ln>
              <a:noFill/>
            </a:ln>
            <a:effectLst/>
          </c:spPr>
          <c:invertIfNegative val="0"/>
          <c:cat>
            <c:strRef>
              <c:f>'Slide 3'!$A$4:$A$11</c:f>
              <c:strCache>
                <c:ptCount val="8"/>
                <c:pt idx="0">
                  <c:v>Egypt</c:v>
                </c:pt>
                <c:pt idx="1">
                  <c:v>South Africa</c:v>
                </c:pt>
                <c:pt idx="2">
                  <c:v>Nigeria</c:v>
                </c:pt>
                <c:pt idx="3">
                  <c:v>Morocco</c:v>
                </c:pt>
                <c:pt idx="4">
                  <c:v>Algeria</c:v>
                </c:pt>
                <c:pt idx="5">
                  <c:v>Angola</c:v>
                </c:pt>
                <c:pt idx="6">
                  <c:v>Tanzania</c:v>
                </c:pt>
                <c:pt idx="7">
                  <c:v>Zimbabwe</c:v>
                </c:pt>
              </c:strCache>
            </c:strRef>
          </c:cat>
          <c:val>
            <c:numRef>
              <c:f>'Slide 3'!$B$4:$B$11</c:f>
              <c:numCache>
                <c:formatCode>General</c:formatCode>
                <c:ptCount val="8"/>
                <c:pt idx="0">
                  <c:v>2</c:v>
                </c:pt>
                <c:pt idx="1">
                  <c:v>4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20E-41D6-8723-47875E71F947}"/>
            </c:ext>
          </c:extLst>
        </c:ser>
        <c:ser>
          <c:idx val="1"/>
          <c:order val="1"/>
          <c:tx>
            <c:strRef>
              <c:f>'Slide 3'!$C$3</c:f>
              <c:strCache>
                <c:ptCount val="1"/>
                <c:pt idx="0">
                  <c:v>2020</c:v>
                </c:pt>
              </c:strCache>
            </c:strRef>
          </c:tx>
          <c:spPr>
            <a:solidFill>
              <a:schemeClr val="bg1"/>
            </a:solidFill>
            <a:ln>
              <a:noFill/>
            </a:ln>
            <a:effectLst/>
          </c:spPr>
          <c:invertIfNegative val="0"/>
          <c:cat>
            <c:strRef>
              <c:f>'Slide 3'!$A$4:$A$11</c:f>
              <c:strCache>
                <c:ptCount val="8"/>
                <c:pt idx="0">
                  <c:v>Egypt</c:v>
                </c:pt>
                <c:pt idx="1">
                  <c:v>South Africa</c:v>
                </c:pt>
                <c:pt idx="2">
                  <c:v>Nigeria</c:v>
                </c:pt>
                <c:pt idx="3">
                  <c:v>Morocco</c:v>
                </c:pt>
                <c:pt idx="4">
                  <c:v>Algeria</c:v>
                </c:pt>
                <c:pt idx="5">
                  <c:v>Angola</c:v>
                </c:pt>
                <c:pt idx="6">
                  <c:v>Tanzania</c:v>
                </c:pt>
                <c:pt idx="7">
                  <c:v>Zimbabwe</c:v>
                </c:pt>
              </c:strCache>
            </c:strRef>
          </c:cat>
          <c:val>
            <c:numRef>
              <c:f>'Slide 3'!$C$4:$C$11</c:f>
              <c:numCache>
                <c:formatCode>General</c:formatCode>
                <c:ptCount val="8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  <c:pt idx="4">
                  <c:v>1</c:v>
                </c:pt>
                <c:pt idx="5">
                  <c:v>1</c:v>
                </c:pt>
                <c:pt idx="6">
                  <c:v>1</c:v>
                </c:pt>
                <c:pt idx="7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20E-41D6-8723-47875E71F94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51783112"/>
        <c:axId val="151781936"/>
      </c:barChart>
      <c:catAx>
        <c:axId val="1517831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781936"/>
        <c:crosses val="autoZero"/>
        <c:auto val="1"/>
        <c:lblAlgn val="ctr"/>
        <c:lblOffset val="100"/>
        <c:noMultiLvlLbl val="0"/>
      </c:catAx>
      <c:valAx>
        <c:axId val="1517819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178311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bg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B464890-8D9D-4218-9DF1-99C64291C7F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5B0FEA6E-B90E-4E41-938C-F1D377DCD1D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D6228AB-3FA1-4F12-A79A-39CA7AB5598B}" type="datetimeFigureOut">
              <a:rPr lang="en-GB" smtClean="0"/>
              <a:t>06/04/2021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347E9D9-9870-43B0-8D70-95420150613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DCEA10C-D552-48B4-9021-BA557BBB9C0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146F5C5-9F4F-4537-98B6-126A72260707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49292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1DBC18-8CDA-4BD6-AD6B-2C421A41FCF2}" type="datetimeFigureOut">
              <a:rPr lang="en-GB" smtClean="0"/>
              <a:t>06/04/2021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A9AE97F-A69B-4393-8AEE-5E90CC7F618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406083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-223838" y="808038"/>
            <a:ext cx="7185026" cy="404177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3788" y="5118725"/>
            <a:ext cx="5390305" cy="484931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dirty="0"/>
              <a:t>Established in 2002, we have no religious or political affiliation.</a:t>
            </a: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021874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2371926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45858855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32310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25E2246-FB90-44DE-803E-F8BF104CA80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45370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A01F080-8186-496A-9E63-39E41B49A77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635541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-565150" y="876300"/>
            <a:ext cx="7797800" cy="4386263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66927" y="5555061"/>
            <a:ext cx="5335406" cy="526268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kern="0">
                <a:solidFill>
                  <a:srgbClr val="DA3568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The CIFF Africa strategy is hinged on integrated investment areas that lie at the heart of complex chains currently impeding Africa’s progress</a:t>
            </a:r>
          </a:p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761003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132310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4210401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72393760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8804130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8" name="Shape 118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19" name="Shape 119"/>
          <p:cNvSpPr txBox="1">
            <a:spLocks noGrp="1"/>
          </p:cNvSpPr>
          <p:nvPr>
            <p:ph type="body" idx="1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rtl="0">
              <a:spcBef>
                <a:spcPts val="0"/>
              </a:spcBef>
              <a:spcAft>
                <a:spcPts val="0"/>
              </a:spcAft>
              <a:buNone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05896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:a16="http://schemas.microsoft.com/office/drawing/2014/main" id="{13985BC6-A23D-4AE8-9A5B-1E90258D425E}"/>
              </a:ext>
            </a:extLst>
          </p:cNvPr>
          <p:cNvSpPr/>
          <p:nvPr userDrawn="1"/>
        </p:nvSpPr>
        <p:spPr>
          <a:xfrm>
            <a:off x="-1" y="3508379"/>
            <a:ext cx="12236477" cy="3349625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B7E0C40-F118-403F-9C5A-93F8C6426E3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316003" y="3634938"/>
            <a:ext cx="9144000" cy="935515"/>
          </a:xfrm>
        </p:spPr>
        <p:txBody>
          <a:bodyPr anchor="b"/>
          <a:lstStyle>
            <a:lvl1pPr algn="l"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36B0C0-5923-48B5-950D-0B2DB098455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316003" y="4659338"/>
            <a:ext cx="9144000" cy="644230"/>
          </a:xfrm>
        </p:spPr>
        <p:txBody>
          <a:bodyPr/>
          <a:lstStyle>
            <a:lvl1pPr marL="0" indent="0" algn="l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0A6368D7-F3C7-471B-B081-D2011BDEFA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775099" y="6680913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/>
              <a:t>Copyright © Children’s Investment Fund Foundation 2020 </a:t>
            </a:r>
            <a:endParaRPr lang="en-GB" dirty="0"/>
          </a:p>
        </p:txBody>
      </p:sp>
      <p:pic>
        <p:nvPicPr>
          <p:cNvPr id="23" name="Picture 22" descr="CIFF_pink_logo_rgb.tif">
            <a:extLst>
              <a:ext uri="{FF2B5EF4-FFF2-40B4-BE49-F238E27FC236}">
                <a16:creationId xmlns:a16="http://schemas.microsoft.com/office/drawing/2014/main" id="{F4CC9663-7C89-40EA-8A8E-21FBE69E851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4364" y="1550990"/>
            <a:ext cx="4233862" cy="1152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" name="Title 1">
            <a:extLst>
              <a:ext uri="{FF2B5EF4-FFF2-40B4-BE49-F238E27FC236}">
                <a16:creationId xmlns:a16="http://schemas.microsoft.com/office/drawing/2014/main" id="{5AF85983-9472-4808-8375-482A7C8BB446}"/>
              </a:ext>
            </a:extLst>
          </p:cNvPr>
          <p:cNvSpPr txBox="1">
            <a:spLocks/>
          </p:cNvSpPr>
          <p:nvPr userDrawn="1"/>
        </p:nvSpPr>
        <p:spPr>
          <a:xfrm>
            <a:off x="10949146" y="5923105"/>
            <a:ext cx="1177925" cy="488950"/>
          </a:xfrm>
          <a:prstGeom prst="rect">
            <a:avLst/>
          </a:prstGeom>
        </p:spPr>
        <p:txBody>
          <a:bodyPr anchor="ctr"/>
          <a:lstStyle>
            <a:lvl1pPr>
              <a:defRPr sz="3700">
                <a:solidFill>
                  <a:srgbClr val="5E5E5E"/>
                </a:solidFill>
              </a:defRPr>
            </a:lvl1pPr>
          </a:lstStyle>
          <a:p>
            <a:pPr eaLnBrk="1" fontAlgn="auto" hangingPunct="1">
              <a:spcAft>
                <a:spcPts val="0"/>
              </a:spcAft>
              <a:defRPr/>
            </a:pPr>
            <a:r>
              <a:rPr lang="en-GB" sz="1500" dirty="0">
                <a:solidFill>
                  <a:srgbClr val="ED1267"/>
                </a:solidFill>
                <a:latin typeface="Merriweather"/>
                <a:ea typeface="+mj-ea"/>
                <a:cs typeface="+mj-cs"/>
              </a:rPr>
              <a:t>ciff.org</a:t>
            </a:r>
            <a:endParaRPr lang="en-US" sz="1500" dirty="0">
              <a:solidFill>
                <a:srgbClr val="ED1267"/>
              </a:solidFill>
              <a:latin typeface="Merriweather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8739332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C4BAA-B18D-4E59-A1AC-DBC7AF432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0CF8B-5021-48E0-A804-2F55653D6E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DA764F-C4FD-482F-A54C-2934CFED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CB37A2-A5D2-4C55-8370-C1F49EBEB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96F6FB-6127-42AB-9FF0-36A1AF566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15942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B85C76A-10E2-4030-9C59-72E72EE7B2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37F87C-ADFB-402A-8A53-17EE12C2CA9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318C9E2-E22E-41FB-B9E9-0F93E1AC854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945F07E-A582-49DA-8F89-6B47AD75E9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07E5568-2287-49CF-876C-2BE024C4DF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78266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EA6DE2-E19B-4E1F-B0D8-9099A56376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9F1E640-0019-499B-99EA-9095D84AABB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4A82E698-6ED0-4A66-99C0-7CCCF4CF61A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1E56269-B0F7-4C9B-AF2D-9925DC32A3E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00C62C9-9A1B-48CA-A2A7-0C2BBA423F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AB1C5F-F30A-43DA-BD3B-739EDFA89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2707585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9E2465-A5A4-49C5-9625-AD1AAEFB74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397D29C-3D78-4707-A9EB-BBE5DB455FA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54FEBA9-AE80-4146-8152-8065E9F53D5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64F8DD4-C420-41E5-A08B-C779B9318FA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2372FD90-B391-4767-82E3-E15D2538ECD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9061EDC2-4888-4E05-BBD6-B8885B32002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08C32A89-07A9-4405-8CA1-F773E81233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B50D268-29BC-4330-8C42-079B3DCAA0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9732951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8CA144-3EA3-451B-AA3A-80119AB46A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C0D6D-2C5D-4149-A7D9-09E060F7943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90339AF-286A-481A-AC2C-7EDA3885A4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23C5A97-B360-411D-82EC-544D07D811D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288388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542FEB-E03C-4400-8074-AB46ABAD737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831AB1-521A-484F-9FEE-C928F7B8579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DC79175-8839-48E9-9612-189A77DC33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8428645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CE4579-5CB8-4639-AC82-E97E9E1542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6363DA1-FB7E-46DE-BD4A-70E5EBCB0DF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825B9C8-73E3-442B-8BD8-B3D1C53C019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8F7BAB-BEB7-4424-A4DE-0CBD6CFF97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61D9BC4-080D-4656-9BAC-DA6861CC6C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58FE9D2-E606-4CBE-8B93-4C239450F05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53929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34BD5F-F783-4D53-8804-3EFAE96045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9101B2AB-71CD-4F0C-AA91-691BE5C0B1D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6B6EDDB2-1BB2-4EF3-B580-859EA04EBC4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A552119-CE95-4C18-AF72-0C01160F659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1092D8B-9E52-48AF-A881-3234F0E192B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F34772E-A4D0-499F-A174-D39892194C0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108885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DBC9B5A-0A07-46AC-8E5F-7286CA9CD6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7574FC-547B-4F66-874E-FB3E1B23357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F257B10-5179-473F-B499-9E3B6C3641C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F22E645-0471-4CA5-9841-535B53863EE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496D2BA-86D8-4DE4-866B-D09AAB129B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4108120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D5671B06-667A-4F1C-9A3A-3FDC4D6BDC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A47BD49F-BFE4-45BD-B3A2-431E00B0181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1F3B587-9A16-4828-A54F-F04A7797304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99FD583-E897-4F85-BE61-C64F73158AC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7FA560D-9CE3-4F94-83C4-737CB8B2C2C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2980042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412F020-F980-4695-AECD-5883DA6956C0}"/>
              </a:ext>
            </a:extLst>
          </p:cNvPr>
          <p:cNvSpPr/>
          <p:nvPr userDrawn="1"/>
        </p:nvSpPr>
        <p:spPr>
          <a:xfrm>
            <a:off x="-1" y="6426353"/>
            <a:ext cx="12236477" cy="431651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96B308-E5D1-49FF-9D8A-C77F6070D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028" y="522400"/>
            <a:ext cx="11141551" cy="589420"/>
          </a:xfrm>
        </p:spPr>
        <p:txBody>
          <a:bodyPr/>
          <a:lstStyle>
            <a:lvl1pPr>
              <a:defRPr>
                <a:solidFill>
                  <a:srgbClr val="ED1267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3A29C0F-4E85-46D9-ABE2-3FCFE7BB07C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029" y="1306846"/>
            <a:ext cx="11141552" cy="5119507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1A783F-C0C7-477B-A78C-F1E5CB637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A05F7-D89E-488C-A1E3-C8C94A42E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71B394F-8036-4BBF-B15D-8E52E59235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232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4824193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4">
            <a:extLst>
              <a:ext uri="{FF2B5EF4-FFF2-40B4-BE49-F238E27FC236}">
                <a16:creationId xmlns:a16="http://schemas.microsoft.com/office/drawing/2014/main" id="{9D4F7ACF-8EB3-4C90-9674-B6B61A8A3B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166374"/>
            <a:ext cx="4344256" cy="4525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5A58D54-0E06-4DE3-A5A1-D44505BD464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847744" y="1166374"/>
            <a:ext cx="4344256" cy="452525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7858041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592AC123-44E9-4E3B-AC1F-7A97D712DBE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645742" y="0"/>
            <a:ext cx="7546258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607436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0C4B5CA8-0DC5-49AD-8396-42F968E9B23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5745975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3594A038-8650-4C6E-86A7-AF5244126843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1411798" cy="7800581"/>
          </a:xfrm>
          <a:custGeom>
            <a:avLst/>
            <a:gdLst>
              <a:gd name="connsiteX0" fmla="*/ 1754135 w 6569151"/>
              <a:gd name="connsiteY0" fmla="*/ 4231504 h 4490369"/>
              <a:gd name="connsiteX1" fmla="*/ 1737833 w 6569151"/>
              <a:gd name="connsiteY1" fmla="*/ 4232986 h 4490369"/>
              <a:gd name="connsiteX2" fmla="*/ 1731905 w 6569151"/>
              <a:gd name="connsiteY2" fmla="*/ 4250772 h 4490369"/>
              <a:gd name="connsiteX3" fmla="*/ 1725977 w 6569151"/>
              <a:gd name="connsiteY3" fmla="*/ 4280414 h 4490369"/>
              <a:gd name="connsiteX4" fmla="*/ 1749689 w 6569151"/>
              <a:gd name="connsiteY4" fmla="*/ 4292272 h 4490369"/>
              <a:gd name="connsiteX5" fmla="*/ 1731905 w 6569151"/>
              <a:gd name="connsiteY5" fmla="*/ 4339700 h 4490369"/>
              <a:gd name="connsiteX6" fmla="*/ 1731905 w 6569151"/>
              <a:gd name="connsiteY6" fmla="*/ 4345628 h 4490369"/>
              <a:gd name="connsiteX7" fmla="*/ 1743761 w 6569151"/>
              <a:gd name="connsiteY7" fmla="*/ 4375271 h 4490369"/>
              <a:gd name="connsiteX8" fmla="*/ 1761545 w 6569151"/>
              <a:gd name="connsiteY8" fmla="*/ 4345628 h 4490369"/>
              <a:gd name="connsiteX9" fmla="*/ 1749689 w 6569151"/>
              <a:gd name="connsiteY9" fmla="*/ 4321914 h 4490369"/>
              <a:gd name="connsiteX10" fmla="*/ 1749689 w 6569151"/>
              <a:gd name="connsiteY10" fmla="*/ 4292272 h 4490369"/>
              <a:gd name="connsiteX11" fmla="*/ 1749689 w 6569151"/>
              <a:gd name="connsiteY11" fmla="*/ 4286343 h 4490369"/>
              <a:gd name="connsiteX12" fmla="*/ 1761545 w 6569151"/>
              <a:gd name="connsiteY12" fmla="*/ 4274486 h 4490369"/>
              <a:gd name="connsiteX13" fmla="*/ 1761545 w 6569151"/>
              <a:gd name="connsiteY13" fmla="*/ 4250772 h 4490369"/>
              <a:gd name="connsiteX14" fmla="*/ 1761545 w 6569151"/>
              <a:gd name="connsiteY14" fmla="*/ 4238915 h 4490369"/>
              <a:gd name="connsiteX15" fmla="*/ 1754135 w 6569151"/>
              <a:gd name="connsiteY15" fmla="*/ 4231504 h 4490369"/>
              <a:gd name="connsiteX16" fmla="*/ 5067808 w 6569151"/>
              <a:gd name="connsiteY16" fmla="*/ 3828284 h 4490369"/>
              <a:gd name="connsiteX17" fmla="*/ 5069368 w 6569151"/>
              <a:gd name="connsiteY17" fmla="*/ 3829844 h 4490369"/>
              <a:gd name="connsiteX18" fmla="*/ 5063440 w 6569151"/>
              <a:gd name="connsiteY18" fmla="*/ 3829844 h 4490369"/>
              <a:gd name="connsiteX19" fmla="*/ 2378056 w 6569151"/>
              <a:gd name="connsiteY19" fmla="*/ 545427 h 4490369"/>
              <a:gd name="connsiteX20" fmla="*/ 2383985 w 6569151"/>
              <a:gd name="connsiteY20" fmla="*/ 545427 h 4490369"/>
              <a:gd name="connsiteX21" fmla="*/ 2383795 w 6569151"/>
              <a:gd name="connsiteY21" fmla="*/ 545676 h 4490369"/>
              <a:gd name="connsiteX22" fmla="*/ 5442832 w 6569151"/>
              <a:gd name="connsiteY22" fmla="*/ 0 h 4490369"/>
              <a:gd name="connsiteX23" fmla="*/ 5448760 w 6569151"/>
              <a:gd name="connsiteY23" fmla="*/ 0 h 4490369"/>
              <a:gd name="connsiteX24" fmla="*/ 5472472 w 6569151"/>
              <a:gd name="connsiteY24" fmla="*/ 23714 h 4490369"/>
              <a:gd name="connsiteX25" fmla="*/ 5490256 w 6569151"/>
              <a:gd name="connsiteY25" fmla="*/ 17786 h 4490369"/>
              <a:gd name="connsiteX26" fmla="*/ 5513968 w 6569151"/>
              <a:gd name="connsiteY26" fmla="*/ 35571 h 4490369"/>
              <a:gd name="connsiteX27" fmla="*/ 5513968 w 6569151"/>
              <a:gd name="connsiteY27" fmla="*/ 59286 h 4490369"/>
              <a:gd name="connsiteX28" fmla="*/ 5519896 w 6569151"/>
              <a:gd name="connsiteY28" fmla="*/ 65214 h 4490369"/>
              <a:gd name="connsiteX29" fmla="*/ 5525824 w 6569151"/>
              <a:gd name="connsiteY29" fmla="*/ 53357 h 4490369"/>
              <a:gd name="connsiteX30" fmla="*/ 5537680 w 6569151"/>
              <a:gd name="connsiteY30" fmla="*/ 35571 h 4490369"/>
              <a:gd name="connsiteX31" fmla="*/ 5543608 w 6569151"/>
              <a:gd name="connsiteY31" fmla="*/ 11857 h 4490369"/>
              <a:gd name="connsiteX32" fmla="*/ 5567320 w 6569151"/>
              <a:gd name="connsiteY32" fmla="*/ 17786 h 4490369"/>
              <a:gd name="connsiteX33" fmla="*/ 5585104 w 6569151"/>
              <a:gd name="connsiteY33" fmla="*/ 17786 h 4490369"/>
              <a:gd name="connsiteX34" fmla="*/ 5608816 w 6569151"/>
              <a:gd name="connsiteY34" fmla="*/ 29643 h 4490369"/>
              <a:gd name="connsiteX35" fmla="*/ 5614744 w 6569151"/>
              <a:gd name="connsiteY35" fmla="*/ 53357 h 4490369"/>
              <a:gd name="connsiteX36" fmla="*/ 5638456 w 6569151"/>
              <a:gd name="connsiteY36" fmla="*/ 65214 h 4490369"/>
              <a:gd name="connsiteX37" fmla="*/ 5626600 w 6569151"/>
              <a:gd name="connsiteY37" fmla="*/ 88928 h 4490369"/>
              <a:gd name="connsiteX38" fmla="*/ 5602888 w 6569151"/>
              <a:gd name="connsiteY38" fmla="*/ 88928 h 4490369"/>
              <a:gd name="connsiteX39" fmla="*/ 5602888 w 6569151"/>
              <a:gd name="connsiteY39" fmla="*/ 94857 h 4490369"/>
              <a:gd name="connsiteX40" fmla="*/ 5608816 w 6569151"/>
              <a:gd name="connsiteY40" fmla="*/ 124500 h 4490369"/>
              <a:gd name="connsiteX41" fmla="*/ 5567320 w 6569151"/>
              <a:gd name="connsiteY41" fmla="*/ 177857 h 4490369"/>
              <a:gd name="connsiteX42" fmla="*/ 5549536 w 6569151"/>
              <a:gd name="connsiteY42" fmla="*/ 231214 h 4490369"/>
              <a:gd name="connsiteX43" fmla="*/ 5537680 w 6569151"/>
              <a:gd name="connsiteY43" fmla="*/ 243071 h 4490369"/>
              <a:gd name="connsiteX44" fmla="*/ 5519896 w 6569151"/>
              <a:gd name="connsiteY44" fmla="*/ 248999 h 4490369"/>
              <a:gd name="connsiteX45" fmla="*/ 5502112 w 6569151"/>
              <a:gd name="connsiteY45" fmla="*/ 278642 h 4490369"/>
              <a:gd name="connsiteX46" fmla="*/ 5478400 w 6569151"/>
              <a:gd name="connsiteY46" fmla="*/ 290499 h 4490369"/>
              <a:gd name="connsiteX47" fmla="*/ 5466544 w 6569151"/>
              <a:gd name="connsiteY47" fmla="*/ 314213 h 4490369"/>
              <a:gd name="connsiteX48" fmla="*/ 5448760 w 6569151"/>
              <a:gd name="connsiteY48" fmla="*/ 331999 h 4490369"/>
              <a:gd name="connsiteX49" fmla="*/ 5442832 w 6569151"/>
              <a:gd name="connsiteY49" fmla="*/ 337928 h 4490369"/>
              <a:gd name="connsiteX50" fmla="*/ 5407264 w 6569151"/>
              <a:gd name="connsiteY50" fmla="*/ 379427 h 4490369"/>
              <a:gd name="connsiteX51" fmla="*/ 5425048 w 6569151"/>
              <a:gd name="connsiteY51" fmla="*/ 397213 h 4490369"/>
              <a:gd name="connsiteX52" fmla="*/ 5407264 w 6569151"/>
              <a:gd name="connsiteY52" fmla="*/ 414999 h 4490369"/>
              <a:gd name="connsiteX53" fmla="*/ 5395408 w 6569151"/>
              <a:gd name="connsiteY53" fmla="*/ 480213 h 4490369"/>
              <a:gd name="connsiteX54" fmla="*/ 5365768 w 6569151"/>
              <a:gd name="connsiteY54" fmla="*/ 497998 h 4490369"/>
              <a:gd name="connsiteX55" fmla="*/ 5371696 w 6569151"/>
              <a:gd name="connsiteY55" fmla="*/ 521713 h 4490369"/>
              <a:gd name="connsiteX56" fmla="*/ 5347984 w 6569151"/>
              <a:gd name="connsiteY56" fmla="*/ 557284 h 4490369"/>
              <a:gd name="connsiteX57" fmla="*/ 5336128 w 6569151"/>
              <a:gd name="connsiteY57" fmla="*/ 569141 h 4490369"/>
              <a:gd name="connsiteX58" fmla="*/ 5300560 w 6569151"/>
              <a:gd name="connsiteY58" fmla="*/ 586927 h 4490369"/>
              <a:gd name="connsiteX59" fmla="*/ 5264992 w 6569151"/>
              <a:gd name="connsiteY59" fmla="*/ 640284 h 4490369"/>
              <a:gd name="connsiteX60" fmla="*/ 5241280 w 6569151"/>
              <a:gd name="connsiteY60" fmla="*/ 652141 h 4490369"/>
              <a:gd name="connsiteX61" fmla="*/ 5229424 w 6569151"/>
              <a:gd name="connsiteY61" fmla="*/ 693641 h 4490369"/>
              <a:gd name="connsiteX62" fmla="*/ 5247208 w 6569151"/>
              <a:gd name="connsiteY62" fmla="*/ 705498 h 4490369"/>
              <a:gd name="connsiteX63" fmla="*/ 5253136 w 6569151"/>
              <a:gd name="connsiteY63" fmla="*/ 699569 h 4490369"/>
              <a:gd name="connsiteX64" fmla="*/ 5253136 w 6569151"/>
              <a:gd name="connsiteY64" fmla="*/ 675855 h 4490369"/>
              <a:gd name="connsiteX65" fmla="*/ 5288704 w 6569151"/>
              <a:gd name="connsiteY65" fmla="*/ 663998 h 4490369"/>
              <a:gd name="connsiteX66" fmla="*/ 5294632 w 6569151"/>
              <a:gd name="connsiteY66" fmla="*/ 640284 h 4490369"/>
              <a:gd name="connsiteX67" fmla="*/ 5312416 w 6569151"/>
              <a:gd name="connsiteY67" fmla="*/ 628427 h 4490369"/>
              <a:gd name="connsiteX68" fmla="*/ 5312416 w 6569151"/>
              <a:gd name="connsiteY68" fmla="*/ 675855 h 4490369"/>
              <a:gd name="connsiteX69" fmla="*/ 5288704 w 6569151"/>
              <a:gd name="connsiteY69" fmla="*/ 687712 h 4490369"/>
              <a:gd name="connsiteX70" fmla="*/ 5282776 w 6569151"/>
              <a:gd name="connsiteY70" fmla="*/ 693641 h 4490369"/>
              <a:gd name="connsiteX71" fmla="*/ 5276848 w 6569151"/>
              <a:gd name="connsiteY71" fmla="*/ 723283 h 4490369"/>
              <a:gd name="connsiteX72" fmla="*/ 5259064 w 6569151"/>
              <a:gd name="connsiteY72" fmla="*/ 735141 h 4490369"/>
              <a:gd name="connsiteX73" fmla="*/ 5241280 w 6569151"/>
              <a:gd name="connsiteY73" fmla="*/ 729212 h 4490369"/>
              <a:gd name="connsiteX74" fmla="*/ 5229424 w 6569151"/>
              <a:gd name="connsiteY74" fmla="*/ 735141 h 4490369"/>
              <a:gd name="connsiteX75" fmla="*/ 5217568 w 6569151"/>
              <a:gd name="connsiteY75" fmla="*/ 735141 h 4490369"/>
              <a:gd name="connsiteX76" fmla="*/ 5199784 w 6569151"/>
              <a:gd name="connsiteY76" fmla="*/ 729212 h 4490369"/>
              <a:gd name="connsiteX77" fmla="*/ 5193856 w 6569151"/>
              <a:gd name="connsiteY77" fmla="*/ 764783 h 4490369"/>
              <a:gd name="connsiteX78" fmla="*/ 5158288 w 6569151"/>
              <a:gd name="connsiteY78" fmla="*/ 776640 h 4490369"/>
              <a:gd name="connsiteX79" fmla="*/ 5176072 w 6569151"/>
              <a:gd name="connsiteY79" fmla="*/ 818140 h 4490369"/>
              <a:gd name="connsiteX80" fmla="*/ 5152360 w 6569151"/>
              <a:gd name="connsiteY80" fmla="*/ 812212 h 4490369"/>
              <a:gd name="connsiteX81" fmla="*/ 5122720 w 6569151"/>
              <a:gd name="connsiteY81" fmla="*/ 806283 h 4490369"/>
              <a:gd name="connsiteX82" fmla="*/ 5110864 w 6569151"/>
              <a:gd name="connsiteY82" fmla="*/ 829997 h 4490369"/>
              <a:gd name="connsiteX83" fmla="*/ 5110864 w 6569151"/>
              <a:gd name="connsiteY83" fmla="*/ 824069 h 4490369"/>
              <a:gd name="connsiteX84" fmla="*/ 5093080 w 6569151"/>
              <a:gd name="connsiteY84" fmla="*/ 841854 h 4490369"/>
              <a:gd name="connsiteX85" fmla="*/ 5093080 w 6569151"/>
              <a:gd name="connsiteY85" fmla="*/ 877426 h 4490369"/>
              <a:gd name="connsiteX86" fmla="*/ 5099008 w 6569151"/>
              <a:gd name="connsiteY86" fmla="*/ 918926 h 4490369"/>
              <a:gd name="connsiteX87" fmla="*/ 5081224 w 6569151"/>
              <a:gd name="connsiteY87" fmla="*/ 912997 h 4490369"/>
              <a:gd name="connsiteX88" fmla="*/ 5075296 w 6569151"/>
              <a:gd name="connsiteY88" fmla="*/ 930783 h 4490369"/>
              <a:gd name="connsiteX89" fmla="*/ 5057512 w 6569151"/>
              <a:gd name="connsiteY89" fmla="*/ 936711 h 4490369"/>
              <a:gd name="connsiteX90" fmla="*/ 5016016 w 6569151"/>
              <a:gd name="connsiteY90" fmla="*/ 966354 h 4490369"/>
              <a:gd name="connsiteX91" fmla="*/ 5016016 w 6569151"/>
              <a:gd name="connsiteY91" fmla="*/ 978211 h 4490369"/>
              <a:gd name="connsiteX92" fmla="*/ 5051584 w 6569151"/>
              <a:gd name="connsiteY92" fmla="*/ 966354 h 4490369"/>
              <a:gd name="connsiteX93" fmla="*/ 5110864 w 6569151"/>
              <a:gd name="connsiteY93" fmla="*/ 942640 h 4490369"/>
              <a:gd name="connsiteX94" fmla="*/ 5158288 w 6569151"/>
              <a:gd name="connsiteY94" fmla="*/ 954497 h 4490369"/>
              <a:gd name="connsiteX95" fmla="*/ 5170144 w 6569151"/>
              <a:gd name="connsiteY95" fmla="*/ 978211 h 4490369"/>
              <a:gd name="connsiteX96" fmla="*/ 5193856 w 6569151"/>
              <a:gd name="connsiteY96" fmla="*/ 995997 h 4490369"/>
              <a:gd name="connsiteX97" fmla="*/ 5193856 w 6569151"/>
              <a:gd name="connsiteY97" fmla="*/ 1001925 h 4490369"/>
              <a:gd name="connsiteX98" fmla="*/ 5158288 w 6569151"/>
              <a:gd name="connsiteY98" fmla="*/ 1055282 h 4490369"/>
              <a:gd name="connsiteX99" fmla="*/ 5152360 w 6569151"/>
              <a:gd name="connsiteY99" fmla="*/ 1067139 h 4490369"/>
              <a:gd name="connsiteX100" fmla="*/ 5104936 w 6569151"/>
              <a:gd name="connsiteY100" fmla="*/ 1055282 h 4490369"/>
              <a:gd name="connsiteX101" fmla="*/ 5087152 w 6569151"/>
              <a:gd name="connsiteY101" fmla="*/ 1102711 h 4490369"/>
              <a:gd name="connsiteX102" fmla="*/ 5087152 w 6569151"/>
              <a:gd name="connsiteY102" fmla="*/ 1167925 h 4490369"/>
              <a:gd name="connsiteX103" fmla="*/ 5087152 w 6569151"/>
              <a:gd name="connsiteY103" fmla="*/ 1221282 h 4490369"/>
              <a:gd name="connsiteX104" fmla="*/ 5104936 w 6569151"/>
              <a:gd name="connsiteY104" fmla="*/ 1221282 h 4490369"/>
              <a:gd name="connsiteX105" fmla="*/ 5116792 w 6569151"/>
              <a:gd name="connsiteY105" fmla="*/ 1215353 h 4490369"/>
              <a:gd name="connsiteX106" fmla="*/ 5140504 w 6569151"/>
              <a:gd name="connsiteY106" fmla="*/ 1227210 h 4490369"/>
              <a:gd name="connsiteX107" fmla="*/ 5146432 w 6569151"/>
              <a:gd name="connsiteY107" fmla="*/ 1215353 h 4490369"/>
              <a:gd name="connsiteX108" fmla="*/ 5140504 w 6569151"/>
              <a:gd name="connsiteY108" fmla="*/ 1191639 h 4490369"/>
              <a:gd name="connsiteX109" fmla="*/ 5152360 w 6569151"/>
              <a:gd name="connsiteY109" fmla="*/ 1179782 h 4490369"/>
              <a:gd name="connsiteX110" fmla="*/ 5176072 w 6569151"/>
              <a:gd name="connsiteY110" fmla="*/ 1197568 h 4490369"/>
              <a:gd name="connsiteX111" fmla="*/ 5217568 w 6569151"/>
              <a:gd name="connsiteY111" fmla="*/ 1173853 h 4490369"/>
              <a:gd name="connsiteX112" fmla="*/ 5217568 w 6569151"/>
              <a:gd name="connsiteY112" fmla="*/ 1156068 h 4490369"/>
              <a:gd name="connsiteX113" fmla="*/ 5235352 w 6569151"/>
              <a:gd name="connsiteY113" fmla="*/ 1156068 h 4490369"/>
              <a:gd name="connsiteX114" fmla="*/ 5241280 w 6569151"/>
              <a:gd name="connsiteY114" fmla="*/ 1185710 h 4490369"/>
              <a:gd name="connsiteX115" fmla="*/ 5247208 w 6569151"/>
              <a:gd name="connsiteY115" fmla="*/ 1191639 h 4490369"/>
              <a:gd name="connsiteX116" fmla="*/ 5294632 w 6569151"/>
              <a:gd name="connsiteY116" fmla="*/ 1185710 h 4490369"/>
              <a:gd name="connsiteX117" fmla="*/ 5330200 w 6569151"/>
              <a:gd name="connsiteY117" fmla="*/ 1191639 h 4490369"/>
              <a:gd name="connsiteX118" fmla="*/ 5342056 w 6569151"/>
              <a:gd name="connsiteY118" fmla="*/ 1179782 h 4490369"/>
              <a:gd name="connsiteX119" fmla="*/ 5336128 w 6569151"/>
              <a:gd name="connsiteY119" fmla="*/ 1161996 h 4490369"/>
              <a:gd name="connsiteX120" fmla="*/ 5294632 w 6569151"/>
              <a:gd name="connsiteY120" fmla="*/ 1132354 h 4490369"/>
              <a:gd name="connsiteX121" fmla="*/ 5247208 w 6569151"/>
              <a:gd name="connsiteY121" fmla="*/ 1126425 h 4490369"/>
              <a:gd name="connsiteX122" fmla="*/ 5259064 w 6569151"/>
              <a:gd name="connsiteY122" fmla="*/ 1114568 h 4490369"/>
              <a:gd name="connsiteX123" fmla="*/ 5306488 w 6569151"/>
              <a:gd name="connsiteY123" fmla="*/ 1108639 h 4490369"/>
              <a:gd name="connsiteX124" fmla="*/ 5330200 w 6569151"/>
              <a:gd name="connsiteY124" fmla="*/ 1114568 h 4490369"/>
              <a:gd name="connsiteX125" fmla="*/ 5342056 w 6569151"/>
              <a:gd name="connsiteY125" fmla="*/ 1067139 h 4490369"/>
              <a:gd name="connsiteX126" fmla="*/ 5353912 w 6569151"/>
              <a:gd name="connsiteY126" fmla="*/ 1067139 h 4490369"/>
              <a:gd name="connsiteX127" fmla="*/ 5377624 w 6569151"/>
              <a:gd name="connsiteY127" fmla="*/ 1073068 h 4490369"/>
              <a:gd name="connsiteX128" fmla="*/ 5401336 w 6569151"/>
              <a:gd name="connsiteY128" fmla="*/ 1073068 h 4490369"/>
              <a:gd name="connsiteX129" fmla="*/ 5419120 w 6569151"/>
              <a:gd name="connsiteY129" fmla="*/ 1102711 h 4490369"/>
              <a:gd name="connsiteX130" fmla="*/ 5430976 w 6569151"/>
              <a:gd name="connsiteY130" fmla="*/ 1102711 h 4490369"/>
              <a:gd name="connsiteX131" fmla="*/ 5454688 w 6569151"/>
              <a:gd name="connsiteY131" fmla="*/ 1102711 h 4490369"/>
              <a:gd name="connsiteX132" fmla="*/ 5537680 w 6569151"/>
              <a:gd name="connsiteY132" fmla="*/ 1102711 h 4490369"/>
              <a:gd name="connsiteX133" fmla="*/ 5543608 w 6569151"/>
              <a:gd name="connsiteY133" fmla="*/ 1090854 h 4490369"/>
              <a:gd name="connsiteX134" fmla="*/ 5484328 w 6569151"/>
              <a:gd name="connsiteY134" fmla="*/ 1084925 h 4490369"/>
              <a:gd name="connsiteX135" fmla="*/ 5448760 w 6569151"/>
              <a:gd name="connsiteY135" fmla="*/ 1055282 h 4490369"/>
              <a:gd name="connsiteX136" fmla="*/ 5425048 w 6569151"/>
              <a:gd name="connsiteY136" fmla="*/ 1043425 h 4490369"/>
              <a:gd name="connsiteX137" fmla="*/ 5436904 w 6569151"/>
              <a:gd name="connsiteY137" fmla="*/ 1031568 h 4490369"/>
              <a:gd name="connsiteX138" fmla="*/ 5478400 w 6569151"/>
              <a:gd name="connsiteY138" fmla="*/ 1025640 h 4490369"/>
              <a:gd name="connsiteX139" fmla="*/ 5513968 w 6569151"/>
              <a:gd name="connsiteY139" fmla="*/ 1037497 h 4490369"/>
              <a:gd name="connsiteX140" fmla="*/ 5549536 w 6569151"/>
              <a:gd name="connsiteY140" fmla="*/ 1019711 h 4490369"/>
              <a:gd name="connsiteX141" fmla="*/ 5632528 w 6569151"/>
              <a:gd name="connsiteY141" fmla="*/ 1031568 h 4490369"/>
              <a:gd name="connsiteX142" fmla="*/ 5662168 w 6569151"/>
              <a:gd name="connsiteY142" fmla="*/ 1025640 h 4490369"/>
              <a:gd name="connsiteX143" fmla="*/ 5697736 w 6569151"/>
              <a:gd name="connsiteY143" fmla="*/ 1013782 h 4490369"/>
              <a:gd name="connsiteX144" fmla="*/ 5656240 w 6569151"/>
              <a:gd name="connsiteY144" fmla="*/ 1007854 h 4490369"/>
              <a:gd name="connsiteX145" fmla="*/ 5608816 w 6569151"/>
              <a:gd name="connsiteY145" fmla="*/ 1007854 h 4490369"/>
              <a:gd name="connsiteX146" fmla="*/ 5626600 w 6569151"/>
              <a:gd name="connsiteY146" fmla="*/ 990068 h 4490369"/>
              <a:gd name="connsiteX147" fmla="*/ 5685880 w 6569151"/>
              <a:gd name="connsiteY147" fmla="*/ 978211 h 4490369"/>
              <a:gd name="connsiteX148" fmla="*/ 5697736 w 6569151"/>
              <a:gd name="connsiteY148" fmla="*/ 960425 h 4490369"/>
              <a:gd name="connsiteX149" fmla="*/ 5703664 w 6569151"/>
              <a:gd name="connsiteY149" fmla="*/ 948568 h 4490369"/>
              <a:gd name="connsiteX150" fmla="*/ 5739232 w 6569151"/>
              <a:gd name="connsiteY150" fmla="*/ 948568 h 4490369"/>
              <a:gd name="connsiteX151" fmla="*/ 5745160 w 6569151"/>
              <a:gd name="connsiteY151" fmla="*/ 936711 h 4490369"/>
              <a:gd name="connsiteX152" fmla="*/ 5739232 w 6569151"/>
              <a:gd name="connsiteY152" fmla="*/ 918926 h 4490369"/>
              <a:gd name="connsiteX153" fmla="*/ 5751087 w 6569151"/>
              <a:gd name="connsiteY153" fmla="*/ 912997 h 4490369"/>
              <a:gd name="connsiteX154" fmla="*/ 5786655 w 6569151"/>
              <a:gd name="connsiteY154" fmla="*/ 907068 h 4490369"/>
              <a:gd name="connsiteX155" fmla="*/ 5780727 w 6569151"/>
              <a:gd name="connsiteY155" fmla="*/ 883354 h 4490369"/>
              <a:gd name="connsiteX156" fmla="*/ 5828151 w 6569151"/>
              <a:gd name="connsiteY156" fmla="*/ 865569 h 4490369"/>
              <a:gd name="connsiteX157" fmla="*/ 5863719 w 6569151"/>
              <a:gd name="connsiteY157" fmla="*/ 859640 h 4490369"/>
              <a:gd name="connsiteX158" fmla="*/ 5828151 w 6569151"/>
              <a:gd name="connsiteY158" fmla="*/ 841854 h 4490369"/>
              <a:gd name="connsiteX159" fmla="*/ 5834079 w 6569151"/>
              <a:gd name="connsiteY159" fmla="*/ 829997 h 4490369"/>
              <a:gd name="connsiteX160" fmla="*/ 5887431 w 6569151"/>
              <a:gd name="connsiteY160" fmla="*/ 829997 h 4490369"/>
              <a:gd name="connsiteX161" fmla="*/ 5893359 w 6569151"/>
              <a:gd name="connsiteY161" fmla="*/ 829997 h 4490369"/>
              <a:gd name="connsiteX162" fmla="*/ 5893359 w 6569151"/>
              <a:gd name="connsiteY162" fmla="*/ 812212 h 4490369"/>
              <a:gd name="connsiteX163" fmla="*/ 5875575 w 6569151"/>
              <a:gd name="connsiteY163" fmla="*/ 812212 h 4490369"/>
              <a:gd name="connsiteX164" fmla="*/ 5863719 w 6569151"/>
              <a:gd name="connsiteY164" fmla="*/ 794426 h 4490369"/>
              <a:gd name="connsiteX165" fmla="*/ 5875575 w 6569151"/>
              <a:gd name="connsiteY165" fmla="*/ 788497 h 4490369"/>
              <a:gd name="connsiteX166" fmla="*/ 5911143 w 6569151"/>
              <a:gd name="connsiteY166" fmla="*/ 782569 h 4490369"/>
              <a:gd name="connsiteX167" fmla="*/ 5917071 w 6569151"/>
              <a:gd name="connsiteY167" fmla="*/ 788497 h 4490369"/>
              <a:gd name="connsiteX168" fmla="*/ 5928927 w 6569151"/>
              <a:gd name="connsiteY168" fmla="*/ 782569 h 4490369"/>
              <a:gd name="connsiteX169" fmla="*/ 5922999 w 6569151"/>
              <a:gd name="connsiteY169" fmla="*/ 782569 h 4490369"/>
              <a:gd name="connsiteX170" fmla="*/ 5911143 w 6569151"/>
              <a:gd name="connsiteY170" fmla="*/ 782569 h 4490369"/>
              <a:gd name="connsiteX171" fmla="*/ 5928927 w 6569151"/>
              <a:gd name="connsiteY171" fmla="*/ 752926 h 4490369"/>
              <a:gd name="connsiteX172" fmla="*/ 5958567 w 6569151"/>
              <a:gd name="connsiteY172" fmla="*/ 758855 h 4490369"/>
              <a:gd name="connsiteX173" fmla="*/ 5970423 w 6569151"/>
              <a:gd name="connsiteY173" fmla="*/ 746998 h 4490369"/>
              <a:gd name="connsiteX174" fmla="*/ 5976351 w 6569151"/>
              <a:gd name="connsiteY174" fmla="*/ 717355 h 4490369"/>
              <a:gd name="connsiteX175" fmla="*/ 6000063 w 6569151"/>
              <a:gd name="connsiteY175" fmla="*/ 711426 h 4490369"/>
              <a:gd name="connsiteX176" fmla="*/ 6017847 w 6569151"/>
              <a:gd name="connsiteY176" fmla="*/ 675855 h 4490369"/>
              <a:gd name="connsiteX177" fmla="*/ 6041559 w 6569151"/>
              <a:gd name="connsiteY177" fmla="*/ 675855 h 4490369"/>
              <a:gd name="connsiteX178" fmla="*/ 6059343 w 6569151"/>
              <a:gd name="connsiteY178" fmla="*/ 640284 h 4490369"/>
              <a:gd name="connsiteX179" fmla="*/ 6083055 w 6569151"/>
              <a:gd name="connsiteY179" fmla="*/ 640284 h 4490369"/>
              <a:gd name="connsiteX180" fmla="*/ 6088983 w 6569151"/>
              <a:gd name="connsiteY180" fmla="*/ 616570 h 4490369"/>
              <a:gd name="connsiteX181" fmla="*/ 6094911 w 6569151"/>
              <a:gd name="connsiteY181" fmla="*/ 604712 h 4490369"/>
              <a:gd name="connsiteX182" fmla="*/ 6136407 w 6569151"/>
              <a:gd name="connsiteY182" fmla="*/ 592855 h 4490369"/>
              <a:gd name="connsiteX183" fmla="*/ 6136407 w 6569151"/>
              <a:gd name="connsiteY183" fmla="*/ 604712 h 4490369"/>
              <a:gd name="connsiteX184" fmla="*/ 6071199 w 6569151"/>
              <a:gd name="connsiteY184" fmla="*/ 693641 h 4490369"/>
              <a:gd name="connsiteX185" fmla="*/ 6053415 w 6569151"/>
              <a:gd name="connsiteY185" fmla="*/ 711426 h 4490369"/>
              <a:gd name="connsiteX186" fmla="*/ 6023775 w 6569151"/>
              <a:gd name="connsiteY186" fmla="*/ 764783 h 4490369"/>
              <a:gd name="connsiteX187" fmla="*/ 6005991 w 6569151"/>
              <a:gd name="connsiteY187" fmla="*/ 776640 h 4490369"/>
              <a:gd name="connsiteX188" fmla="*/ 5946711 w 6569151"/>
              <a:gd name="connsiteY188" fmla="*/ 865569 h 4490369"/>
              <a:gd name="connsiteX189" fmla="*/ 5946711 w 6569151"/>
              <a:gd name="connsiteY189" fmla="*/ 895211 h 4490369"/>
              <a:gd name="connsiteX190" fmla="*/ 5928927 w 6569151"/>
              <a:gd name="connsiteY190" fmla="*/ 889283 h 4490369"/>
              <a:gd name="connsiteX191" fmla="*/ 5917071 w 6569151"/>
              <a:gd name="connsiteY191" fmla="*/ 912997 h 4490369"/>
              <a:gd name="connsiteX192" fmla="*/ 5946711 w 6569151"/>
              <a:gd name="connsiteY192" fmla="*/ 895211 h 4490369"/>
              <a:gd name="connsiteX193" fmla="*/ 5958567 w 6569151"/>
              <a:gd name="connsiteY193" fmla="*/ 907068 h 4490369"/>
              <a:gd name="connsiteX194" fmla="*/ 5988207 w 6569151"/>
              <a:gd name="connsiteY194" fmla="*/ 895211 h 4490369"/>
              <a:gd name="connsiteX195" fmla="*/ 6000063 w 6569151"/>
              <a:gd name="connsiteY195" fmla="*/ 883354 h 4490369"/>
              <a:gd name="connsiteX196" fmla="*/ 6017847 w 6569151"/>
              <a:gd name="connsiteY196" fmla="*/ 883354 h 4490369"/>
              <a:gd name="connsiteX197" fmla="*/ 6035631 w 6569151"/>
              <a:gd name="connsiteY197" fmla="*/ 871497 h 4490369"/>
              <a:gd name="connsiteX198" fmla="*/ 6035631 w 6569151"/>
              <a:gd name="connsiteY198" fmla="*/ 859640 h 4490369"/>
              <a:gd name="connsiteX199" fmla="*/ 6047487 w 6569151"/>
              <a:gd name="connsiteY199" fmla="*/ 835926 h 4490369"/>
              <a:gd name="connsiteX200" fmla="*/ 6071199 w 6569151"/>
              <a:gd name="connsiteY200" fmla="*/ 829997 h 4490369"/>
              <a:gd name="connsiteX201" fmla="*/ 6094911 w 6569151"/>
              <a:gd name="connsiteY201" fmla="*/ 800355 h 4490369"/>
              <a:gd name="connsiteX202" fmla="*/ 6130479 w 6569151"/>
              <a:gd name="connsiteY202" fmla="*/ 788497 h 4490369"/>
              <a:gd name="connsiteX203" fmla="*/ 6142335 w 6569151"/>
              <a:gd name="connsiteY203" fmla="*/ 770712 h 4490369"/>
              <a:gd name="connsiteX204" fmla="*/ 6171975 w 6569151"/>
              <a:gd name="connsiteY204" fmla="*/ 752926 h 4490369"/>
              <a:gd name="connsiteX205" fmla="*/ 6219399 w 6569151"/>
              <a:gd name="connsiteY205" fmla="*/ 711426 h 4490369"/>
              <a:gd name="connsiteX206" fmla="*/ 6225327 w 6569151"/>
              <a:gd name="connsiteY206" fmla="*/ 729212 h 4490369"/>
              <a:gd name="connsiteX207" fmla="*/ 6195687 w 6569151"/>
              <a:gd name="connsiteY207" fmla="*/ 770712 h 4490369"/>
              <a:gd name="connsiteX208" fmla="*/ 6160119 w 6569151"/>
              <a:gd name="connsiteY208" fmla="*/ 824069 h 4490369"/>
              <a:gd name="connsiteX209" fmla="*/ 6130479 w 6569151"/>
              <a:gd name="connsiteY209" fmla="*/ 859640 h 4490369"/>
              <a:gd name="connsiteX210" fmla="*/ 6100839 w 6569151"/>
              <a:gd name="connsiteY210" fmla="*/ 901140 h 4490369"/>
              <a:gd name="connsiteX211" fmla="*/ 6071199 w 6569151"/>
              <a:gd name="connsiteY211" fmla="*/ 942640 h 4490369"/>
              <a:gd name="connsiteX212" fmla="*/ 6065271 w 6569151"/>
              <a:gd name="connsiteY212" fmla="*/ 948568 h 4490369"/>
              <a:gd name="connsiteX213" fmla="*/ 6011919 w 6569151"/>
              <a:gd name="connsiteY213" fmla="*/ 1037497 h 4490369"/>
              <a:gd name="connsiteX214" fmla="*/ 5976351 w 6569151"/>
              <a:gd name="connsiteY214" fmla="*/ 1078997 h 4490369"/>
              <a:gd name="connsiteX215" fmla="*/ 5952639 w 6569151"/>
              <a:gd name="connsiteY215" fmla="*/ 1096782 h 4490369"/>
              <a:gd name="connsiteX216" fmla="*/ 5940783 w 6569151"/>
              <a:gd name="connsiteY216" fmla="*/ 1132354 h 4490369"/>
              <a:gd name="connsiteX217" fmla="*/ 5905215 w 6569151"/>
              <a:gd name="connsiteY217" fmla="*/ 1161996 h 4490369"/>
              <a:gd name="connsiteX218" fmla="*/ 5899287 w 6569151"/>
              <a:gd name="connsiteY218" fmla="*/ 1167925 h 4490369"/>
              <a:gd name="connsiteX219" fmla="*/ 5810367 w 6569151"/>
              <a:gd name="connsiteY219" fmla="*/ 1298353 h 4490369"/>
              <a:gd name="connsiteX220" fmla="*/ 5745160 w 6569151"/>
              <a:gd name="connsiteY220" fmla="*/ 1375424 h 4490369"/>
              <a:gd name="connsiteX221" fmla="*/ 5668096 w 6569151"/>
              <a:gd name="connsiteY221" fmla="*/ 1470281 h 4490369"/>
              <a:gd name="connsiteX222" fmla="*/ 5626600 w 6569151"/>
              <a:gd name="connsiteY222" fmla="*/ 1529566 h 4490369"/>
              <a:gd name="connsiteX223" fmla="*/ 5543608 w 6569151"/>
              <a:gd name="connsiteY223" fmla="*/ 1654066 h 4490369"/>
              <a:gd name="connsiteX224" fmla="*/ 5537680 w 6569151"/>
              <a:gd name="connsiteY224" fmla="*/ 1695566 h 4490369"/>
              <a:gd name="connsiteX225" fmla="*/ 5555464 w 6569151"/>
              <a:gd name="connsiteY225" fmla="*/ 1701494 h 4490369"/>
              <a:gd name="connsiteX226" fmla="*/ 5573248 w 6569151"/>
              <a:gd name="connsiteY226" fmla="*/ 1689637 h 4490369"/>
              <a:gd name="connsiteX227" fmla="*/ 5626600 w 6569151"/>
              <a:gd name="connsiteY227" fmla="*/ 1659995 h 4490369"/>
              <a:gd name="connsiteX228" fmla="*/ 5638456 w 6569151"/>
              <a:gd name="connsiteY228" fmla="*/ 1636281 h 4490369"/>
              <a:gd name="connsiteX229" fmla="*/ 5691808 w 6569151"/>
              <a:gd name="connsiteY229" fmla="*/ 1612566 h 4490369"/>
              <a:gd name="connsiteX230" fmla="*/ 5727376 w 6569151"/>
              <a:gd name="connsiteY230" fmla="*/ 1559209 h 4490369"/>
              <a:gd name="connsiteX231" fmla="*/ 5768871 w 6569151"/>
              <a:gd name="connsiteY231" fmla="*/ 1547352 h 4490369"/>
              <a:gd name="connsiteX232" fmla="*/ 5798511 w 6569151"/>
              <a:gd name="connsiteY232" fmla="*/ 1535495 h 4490369"/>
              <a:gd name="connsiteX233" fmla="*/ 5840007 w 6569151"/>
              <a:gd name="connsiteY233" fmla="*/ 1559209 h 4490369"/>
              <a:gd name="connsiteX234" fmla="*/ 5857791 w 6569151"/>
              <a:gd name="connsiteY234" fmla="*/ 1559209 h 4490369"/>
              <a:gd name="connsiteX235" fmla="*/ 5899287 w 6569151"/>
              <a:gd name="connsiteY235" fmla="*/ 1553281 h 4490369"/>
              <a:gd name="connsiteX236" fmla="*/ 5934855 w 6569151"/>
              <a:gd name="connsiteY236" fmla="*/ 1541424 h 4490369"/>
              <a:gd name="connsiteX237" fmla="*/ 5958567 w 6569151"/>
              <a:gd name="connsiteY237" fmla="*/ 1571066 h 4490369"/>
              <a:gd name="connsiteX238" fmla="*/ 5928927 w 6569151"/>
              <a:gd name="connsiteY238" fmla="*/ 1630352 h 4490369"/>
              <a:gd name="connsiteX239" fmla="*/ 5911143 w 6569151"/>
              <a:gd name="connsiteY239" fmla="*/ 1659995 h 4490369"/>
              <a:gd name="connsiteX240" fmla="*/ 5857791 w 6569151"/>
              <a:gd name="connsiteY240" fmla="*/ 1748923 h 4490369"/>
              <a:gd name="connsiteX241" fmla="*/ 5845935 w 6569151"/>
              <a:gd name="connsiteY241" fmla="*/ 1766709 h 4490369"/>
              <a:gd name="connsiteX242" fmla="*/ 5798511 w 6569151"/>
              <a:gd name="connsiteY242" fmla="*/ 1849708 h 4490369"/>
              <a:gd name="connsiteX243" fmla="*/ 5774799 w 6569151"/>
              <a:gd name="connsiteY243" fmla="*/ 1897137 h 4490369"/>
              <a:gd name="connsiteX244" fmla="*/ 5762943 w 6569151"/>
              <a:gd name="connsiteY244" fmla="*/ 1908994 h 4490369"/>
              <a:gd name="connsiteX245" fmla="*/ 5751087 w 6569151"/>
              <a:gd name="connsiteY245" fmla="*/ 1932708 h 4490369"/>
              <a:gd name="connsiteX246" fmla="*/ 5733304 w 6569151"/>
              <a:gd name="connsiteY246" fmla="*/ 1962351 h 4490369"/>
              <a:gd name="connsiteX247" fmla="*/ 5674024 w 6569151"/>
              <a:gd name="connsiteY247" fmla="*/ 2045351 h 4490369"/>
              <a:gd name="connsiteX248" fmla="*/ 5668096 w 6569151"/>
              <a:gd name="connsiteY248" fmla="*/ 2045351 h 4490369"/>
              <a:gd name="connsiteX249" fmla="*/ 5614744 w 6569151"/>
              <a:gd name="connsiteY249" fmla="*/ 2140207 h 4490369"/>
              <a:gd name="connsiteX250" fmla="*/ 5608816 w 6569151"/>
              <a:gd name="connsiteY250" fmla="*/ 2169850 h 4490369"/>
              <a:gd name="connsiteX251" fmla="*/ 5626600 w 6569151"/>
              <a:gd name="connsiteY251" fmla="*/ 2187636 h 4490369"/>
              <a:gd name="connsiteX252" fmla="*/ 5650312 w 6569151"/>
              <a:gd name="connsiteY252" fmla="*/ 2175779 h 4490369"/>
              <a:gd name="connsiteX253" fmla="*/ 5691808 w 6569151"/>
              <a:gd name="connsiteY253" fmla="*/ 2181707 h 4490369"/>
              <a:gd name="connsiteX254" fmla="*/ 5703664 w 6569151"/>
              <a:gd name="connsiteY254" fmla="*/ 2193564 h 4490369"/>
              <a:gd name="connsiteX255" fmla="*/ 5703664 w 6569151"/>
              <a:gd name="connsiteY255" fmla="*/ 2217278 h 4490369"/>
              <a:gd name="connsiteX256" fmla="*/ 5715520 w 6569151"/>
              <a:gd name="connsiteY256" fmla="*/ 2217278 h 4490369"/>
              <a:gd name="connsiteX257" fmla="*/ 5715520 w 6569151"/>
              <a:gd name="connsiteY257" fmla="*/ 2157993 h 4490369"/>
              <a:gd name="connsiteX258" fmla="*/ 5733304 w 6569151"/>
              <a:gd name="connsiteY258" fmla="*/ 2157993 h 4490369"/>
              <a:gd name="connsiteX259" fmla="*/ 5751087 w 6569151"/>
              <a:gd name="connsiteY259" fmla="*/ 2175779 h 4490369"/>
              <a:gd name="connsiteX260" fmla="*/ 5768871 w 6569151"/>
              <a:gd name="connsiteY260" fmla="*/ 2152064 h 4490369"/>
              <a:gd name="connsiteX261" fmla="*/ 5792583 w 6569151"/>
              <a:gd name="connsiteY261" fmla="*/ 2134279 h 4490369"/>
              <a:gd name="connsiteX262" fmla="*/ 5798511 w 6569151"/>
              <a:gd name="connsiteY262" fmla="*/ 2116493 h 4490369"/>
              <a:gd name="connsiteX263" fmla="*/ 5804439 w 6569151"/>
              <a:gd name="connsiteY263" fmla="*/ 2110564 h 4490369"/>
              <a:gd name="connsiteX264" fmla="*/ 5816295 w 6569151"/>
              <a:gd name="connsiteY264" fmla="*/ 2116493 h 4490369"/>
              <a:gd name="connsiteX265" fmla="*/ 5816295 w 6569151"/>
              <a:gd name="connsiteY265" fmla="*/ 2134279 h 4490369"/>
              <a:gd name="connsiteX266" fmla="*/ 5822223 w 6569151"/>
              <a:gd name="connsiteY266" fmla="*/ 2140207 h 4490369"/>
              <a:gd name="connsiteX267" fmla="*/ 5840007 w 6569151"/>
              <a:gd name="connsiteY267" fmla="*/ 2104636 h 4490369"/>
              <a:gd name="connsiteX268" fmla="*/ 5869647 w 6569151"/>
              <a:gd name="connsiteY268" fmla="*/ 2104636 h 4490369"/>
              <a:gd name="connsiteX269" fmla="*/ 5887431 w 6569151"/>
              <a:gd name="connsiteY269" fmla="*/ 2069065 h 4490369"/>
              <a:gd name="connsiteX270" fmla="*/ 5911143 w 6569151"/>
              <a:gd name="connsiteY270" fmla="*/ 2069065 h 4490369"/>
              <a:gd name="connsiteX271" fmla="*/ 5934855 w 6569151"/>
              <a:gd name="connsiteY271" fmla="*/ 2063136 h 4490369"/>
              <a:gd name="connsiteX272" fmla="*/ 5928927 w 6569151"/>
              <a:gd name="connsiteY272" fmla="*/ 2057208 h 4490369"/>
              <a:gd name="connsiteX273" fmla="*/ 5911143 w 6569151"/>
              <a:gd name="connsiteY273" fmla="*/ 2045351 h 4490369"/>
              <a:gd name="connsiteX274" fmla="*/ 5922999 w 6569151"/>
              <a:gd name="connsiteY274" fmla="*/ 2027565 h 4490369"/>
              <a:gd name="connsiteX275" fmla="*/ 5917071 w 6569151"/>
              <a:gd name="connsiteY275" fmla="*/ 2003851 h 4490369"/>
              <a:gd name="connsiteX276" fmla="*/ 5958567 w 6569151"/>
              <a:gd name="connsiteY276" fmla="*/ 1991993 h 4490369"/>
              <a:gd name="connsiteX277" fmla="*/ 5976351 w 6569151"/>
              <a:gd name="connsiteY277" fmla="*/ 2003851 h 4490369"/>
              <a:gd name="connsiteX278" fmla="*/ 5982279 w 6569151"/>
              <a:gd name="connsiteY278" fmla="*/ 1991993 h 4490369"/>
              <a:gd name="connsiteX279" fmla="*/ 6017847 w 6569151"/>
              <a:gd name="connsiteY279" fmla="*/ 1991993 h 4490369"/>
              <a:gd name="connsiteX280" fmla="*/ 6023775 w 6569151"/>
              <a:gd name="connsiteY280" fmla="*/ 1980136 h 4490369"/>
              <a:gd name="connsiteX281" fmla="*/ 6017847 w 6569151"/>
              <a:gd name="connsiteY281" fmla="*/ 1968279 h 4490369"/>
              <a:gd name="connsiteX282" fmla="*/ 5994135 w 6569151"/>
              <a:gd name="connsiteY282" fmla="*/ 1974208 h 4490369"/>
              <a:gd name="connsiteX283" fmla="*/ 5976351 w 6569151"/>
              <a:gd name="connsiteY283" fmla="*/ 1962351 h 4490369"/>
              <a:gd name="connsiteX284" fmla="*/ 5994135 w 6569151"/>
              <a:gd name="connsiteY284" fmla="*/ 1944565 h 4490369"/>
              <a:gd name="connsiteX285" fmla="*/ 6005991 w 6569151"/>
              <a:gd name="connsiteY285" fmla="*/ 1950494 h 4490369"/>
              <a:gd name="connsiteX286" fmla="*/ 6017847 w 6569151"/>
              <a:gd name="connsiteY286" fmla="*/ 1944565 h 4490369"/>
              <a:gd name="connsiteX287" fmla="*/ 6029703 w 6569151"/>
              <a:gd name="connsiteY287" fmla="*/ 1920851 h 4490369"/>
              <a:gd name="connsiteX288" fmla="*/ 6065271 w 6569151"/>
              <a:gd name="connsiteY288" fmla="*/ 1908994 h 4490369"/>
              <a:gd name="connsiteX289" fmla="*/ 6077127 w 6569151"/>
              <a:gd name="connsiteY289" fmla="*/ 1885280 h 4490369"/>
              <a:gd name="connsiteX290" fmla="*/ 6094911 w 6569151"/>
              <a:gd name="connsiteY290" fmla="*/ 1914922 h 4490369"/>
              <a:gd name="connsiteX291" fmla="*/ 6112695 w 6569151"/>
              <a:gd name="connsiteY291" fmla="*/ 1908994 h 4490369"/>
              <a:gd name="connsiteX292" fmla="*/ 6100839 w 6569151"/>
              <a:gd name="connsiteY292" fmla="*/ 1885280 h 4490369"/>
              <a:gd name="connsiteX293" fmla="*/ 6142335 w 6569151"/>
              <a:gd name="connsiteY293" fmla="*/ 1873422 h 4490369"/>
              <a:gd name="connsiteX294" fmla="*/ 6171975 w 6569151"/>
              <a:gd name="connsiteY294" fmla="*/ 1861565 h 4490369"/>
              <a:gd name="connsiteX295" fmla="*/ 6166047 w 6569151"/>
              <a:gd name="connsiteY295" fmla="*/ 1843780 h 4490369"/>
              <a:gd name="connsiteX296" fmla="*/ 6183831 w 6569151"/>
              <a:gd name="connsiteY296" fmla="*/ 1831923 h 4490369"/>
              <a:gd name="connsiteX297" fmla="*/ 6166047 w 6569151"/>
              <a:gd name="connsiteY297" fmla="*/ 1814137 h 4490369"/>
              <a:gd name="connsiteX298" fmla="*/ 6195687 w 6569151"/>
              <a:gd name="connsiteY298" fmla="*/ 1802280 h 4490369"/>
              <a:gd name="connsiteX299" fmla="*/ 6231255 w 6569151"/>
              <a:gd name="connsiteY299" fmla="*/ 1825994 h 4490369"/>
              <a:gd name="connsiteX300" fmla="*/ 6243111 w 6569151"/>
              <a:gd name="connsiteY300" fmla="*/ 1772637 h 4490369"/>
              <a:gd name="connsiteX301" fmla="*/ 6254967 w 6569151"/>
              <a:gd name="connsiteY301" fmla="*/ 1766709 h 4490369"/>
              <a:gd name="connsiteX302" fmla="*/ 6260895 w 6569151"/>
              <a:gd name="connsiteY302" fmla="*/ 1778566 h 4490369"/>
              <a:gd name="connsiteX303" fmla="*/ 6266823 w 6569151"/>
              <a:gd name="connsiteY303" fmla="*/ 1796351 h 4490369"/>
              <a:gd name="connsiteX304" fmla="*/ 6278679 w 6569151"/>
              <a:gd name="connsiteY304" fmla="*/ 1790423 h 4490369"/>
              <a:gd name="connsiteX305" fmla="*/ 6284607 w 6569151"/>
              <a:gd name="connsiteY305" fmla="*/ 1748923 h 4490369"/>
              <a:gd name="connsiteX306" fmla="*/ 6278679 w 6569151"/>
              <a:gd name="connsiteY306" fmla="*/ 1731137 h 4490369"/>
              <a:gd name="connsiteX307" fmla="*/ 6278679 w 6569151"/>
              <a:gd name="connsiteY307" fmla="*/ 1719280 h 4490369"/>
              <a:gd name="connsiteX308" fmla="*/ 6290535 w 6569151"/>
              <a:gd name="connsiteY308" fmla="*/ 1719280 h 4490369"/>
              <a:gd name="connsiteX309" fmla="*/ 6302391 w 6569151"/>
              <a:gd name="connsiteY309" fmla="*/ 1737066 h 4490369"/>
              <a:gd name="connsiteX310" fmla="*/ 6302391 w 6569151"/>
              <a:gd name="connsiteY310" fmla="*/ 1754851 h 4490369"/>
              <a:gd name="connsiteX311" fmla="*/ 6349815 w 6569151"/>
              <a:gd name="connsiteY311" fmla="*/ 1766709 h 4490369"/>
              <a:gd name="connsiteX312" fmla="*/ 6349815 w 6569151"/>
              <a:gd name="connsiteY312" fmla="*/ 1737066 h 4490369"/>
              <a:gd name="connsiteX313" fmla="*/ 6332031 w 6569151"/>
              <a:gd name="connsiteY313" fmla="*/ 1742994 h 4490369"/>
              <a:gd name="connsiteX314" fmla="*/ 6320175 w 6569151"/>
              <a:gd name="connsiteY314" fmla="*/ 1731137 h 4490369"/>
              <a:gd name="connsiteX315" fmla="*/ 6337959 w 6569151"/>
              <a:gd name="connsiteY315" fmla="*/ 1689637 h 4490369"/>
              <a:gd name="connsiteX316" fmla="*/ 6361671 w 6569151"/>
              <a:gd name="connsiteY316" fmla="*/ 1695566 h 4490369"/>
              <a:gd name="connsiteX317" fmla="*/ 6379455 w 6569151"/>
              <a:gd name="connsiteY317" fmla="*/ 1701494 h 4490369"/>
              <a:gd name="connsiteX318" fmla="*/ 6397239 w 6569151"/>
              <a:gd name="connsiteY318" fmla="*/ 1695566 h 4490369"/>
              <a:gd name="connsiteX319" fmla="*/ 6397239 w 6569151"/>
              <a:gd name="connsiteY319" fmla="*/ 1707423 h 4490369"/>
              <a:gd name="connsiteX320" fmla="*/ 6403167 w 6569151"/>
              <a:gd name="connsiteY320" fmla="*/ 1707423 h 4490369"/>
              <a:gd name="connsiteX321" fmla="*/ 6403167 w 6569151"/>
              <a:gd name="connsiteY321" fmla="*/ 1701494 h 4490369"/>
              <a:gd name="connsiteX322" fmla="*/ 6397239 w 6569151"/>
              <a:gd name="connsiteY322" fmla="*/ 1695566 h 4490369"/>
              <a:gd name="connsiteX323" fmla="*/ 6438735 w 6569151"/>
              <a:gd name="connsiteY323" fmla="*/ 1689637 h 4490369"/>
              <a:gd name="connsiteX324" fmla="*/ 6444663 w 6569151"/>
              <a:gd name="connsiteY324" fmla="*/ 1707423 h 4490369"/>
              <a:gd name="connsiteX325" fmla="*/ 6438735 w 6569151"/>
              <a:gd name="connsiteY325" fmla="*/ 1713352 h 4490369"/>
              <a:gd name="connsiteX326" fmla="*/ 6444663 w 6569151"/>
              <a:gd name="connsiteY326" fmla="*/ 1707423 h 4490369"/>
              <a:gd name="connsiteX327" fmla="*/ 6462447 w 6569151"/>
              <a:gd name="connsiteY327" fmla="*/ 1689637 h 4490369"/>
              <a:gd name="connsiteX328" fmla="*/ 6486159 w 6569151"/>
              <a:gd name="connsiteY328" fmla="*/ 1677780 h 4490369"/>
              <a:gd name="connsiteX329" fmla="*/ 6492087 w 6569151"/>
              <a:gd name="connsiteY329" fmla="*/ 1648137 h 4490369"/>
              <a:gd name="connsiteX330" fmla="*/ 6515799 w 6569151"/>
              <a:gd name="connsiteY330" fmla="*/ 1648137 h 4490369"/>
              <a:gd name="connsiteX331" fmla="*/ 6533583 w 6569151"/>
              <a:gd name="connsiteY331" fmla="*/ 1636281 h 4490369"/>
              <a:gd name="connsiteX332" fmla="*/ 6539511 w 6569151"/>
              <a:gd name="connsiteY332" fmla="*/ 1642209 h 4490369"/>
              <a:gd name="connsiteX333" fmla="*/ 6515799 w 6569151"/>
              <a:gd name="connsiteY333" fmla="*/ 1689637 h 4490369"/>
              <a:gd name="connsiteX334" fmla="*/ 6515799 w 6569151"/>
              <a:gd name="connsiteY334" fmla="*/ 1713352 h 4490369"/>
              <a:gd name="connsiteX335" fmla="*/ 6539511 w 6569151"/>
              <a:gd name="connsiteY335" fmla="*/ 1713352 h 4490369"/>
              <a:gd name="connsiteX336" fmla="*/ 6569151 w 6569151"/>
              <a:gd name="connsiteY336" fmla="*/ 1719280 h 4490369"/>
              <a:gd name="connsiteX337" fmla="*/ 6563223 w 6569151"/>
              <a:gd name="connsiteY337" fmla="*/ 1719280 h 4490369"/>
              <a:gd name="connsiteX338" fmla="*/ 6557295 w 6569151"/>
              <a:gd name="connsiteY338" fmla="*/ 1731137 h 4490369"/>
              <a:gd name="connsiteX339" fmla="*/ 6527655 w 6569151"/>
              <a:gd name="connsiteY339" fmla="*/ 1742994 h 4490369"/>
              <a:gd name="connsiteX340" fmla="*/ 6503943 w 6569151"/>
              <a:gd name="connsiteY340" fmla="*/ 1748923 h 4490369"/>
              <a:gd name="connsiteX341" fmla="*/ 6480231 w 6569151"/>
              <a:gd name="connsiteY341" fmla="*/ 1737066 h 4490369"/>
              <a:gd name="connsiteX342" fmla="*/ 6456519 w 6569151"/>
              <a:gd name="connsiteY342" fmla="*/ 1742994 h 4490369"/>
              <a:gd name="connsiteX343" fmla="*/ 6438735 w 6569151"/>
              <a:gd name="connsiteY343" fmla="*/ 1742994 h 4490369"/>
              <a:gd name="connsiteX344" fmla="*/ 6429843 w 6569151"/>
              <a:gd name="connsiteY344" fmla="*/ 1746700 h 4490369"/>
              <a:gd name="connsiteX345" fmla="*/ 6424508 w 6569151"/>
              <a:gd name="connsiteY345" fmla="*/ 1751591 h 4490369"/>
              <a:gd name="connsiteX346" fmla="*/ 6420951 w 6569151"/>
              <a:gd name="connsiteY346" fmla="*/ 1748923 h 4490369"/>
              <a:gd name="connsiteX347" fmla="*/ 6417892 w 6569151"/>
              <a:gd name="connsiteY347" fmla="*/ 1751983 h 4490369"/>
              <a:gd name="connsiteX348" fmla="*/ 6409095 w 6569151"/>
              <a:gd name="connsiteY348" fmla="*/ 1743735 h 4490369"/>
              <a:gd name="connsiteX349" fmla="*/ 6397239 w 6569151"/>
              <a:gd name="connsiteY349" fmla="*/ 1737066 h 4490369"/>
              <a:gd name="connsiteX350" fmla="*/ 6391311 w 6569151"/>
              <a:gd name="connsiteY350" fmla="*/ 1742994 h 4490369"/>
              <a:gd name="connsiteX351" fmla="*/ 6391311 w 6569151"/>
              <a:gd name="connsiteY351" fmla="*/ 1754851 h 4490369"/>
              <a:gd name="connsiteX352" fmla="*/ 6409095 w 6569151"/>
              <a:gd name="connsiteY352" fmla="*/ 1760780 h 4490369"/>
              <a:gd name="connsiteX353" fmla="*/ 6412800 w 6569151"/>
              <a:gd name="connsiteY353" fmla="*/ 1757075 h 4490369"/>
              <a:gd name="connsiteX354" fmla="*/ 6417892 w 6569151"/>
              <a:gd name="connsiteY354" fmla="*/ 1751983 h 4490369"/>
              <a:gd name="connsiteX355" fmla="*/ 6420951 w 6569151"/>
              <a:gd name="connsiteY355" fmla="*/ 1754851 h 4490369"/>
              <a:gd name="connsiteX356" fmla="*/ 6424508 w 6569151"/>
              <a:gd name="connsiteY356" fmla="*/ 1751591 h 4490369"/>
              <a:gd name="connsiteX357" fmla="*/ 6444663 w 6569151"/>
              <a:gd name="connsiteY357" fmla="*/ 1766709 h 4490369"/>
              <a:gd name="connsiteX358" fmla="*/ 6515799 w 6569151"/>
              <a:gd name="connsiteY358" fmla="*/ 1772637 h 4490369"/>
              <a:gd name="connsiteX359" fmla="*/ 6509871 w 6569151"/>
              <a:gd name="connsiteY359" fmla="*/ 1814137 h 4490369"/>
              <a:gd name="connsiteX360" fmla="*/ 6503943 w 6569151"/>
              <a:gd name="connsiteY360" fmla="*/ 1825994 h 4490369"/>
              <a:gd name="connsiteX361" fmla="*/ 6486159 w 6569151"/>
              <a:gd name="connsiteY361" fmla="*/ 1820065 h 4490369"/>
              <a:gd name="connsiteX362" fmla="*/ 6480231 w 6569151"/>
              <a:gd name="connsiteY362" fmla="*/ 1802280 h 4490369"/>
              <a:gd name="connsiteX363" fmla="*/ 6474303 w 6569151"/>
              <a:gd name="connsiteY363" fmla="*/ 1808208 h 4490369"/>
              <a:gd name="connsiteX364" fmla="*/ 6474303 w 6569151"/>
              <a:gd name="connsiteY364" fmla="*/ 1814137 h 4490369"/>
              <a:gd name="connsiteX365" fmla="*/ 6462447 w 6569151"/>
              <a:gd name="connsiteY365" fmla="*/ 1855637 h 4490369"/>
              <a:gd name="connsiteX366" fmla="*/ 6462447 w 6569151"/>
              <a:gd name="connsiteY366" fmla="*/ 1891208 h 4490369"/>
              <a:gd name="connsiteX367" fmla="*/ 6450591 w 6569151"/>
              <a:gd name="connsiteY367" fmla="*/ 1903065 h 4490369"/>
              <a:gd name="connsiteX368" fmla="*/ 6432807 w 6569151"/>
              <a:gd name="connsiteY368" fmla="*/ 1891208 h 4490369"/>
              <a:gd name="connsiteX369" fmla="*/ 6420951 w 6569151"/>
              <a:gd name="connsiteY369" fmla="*/ 1908994 h 4490369"/>
              <a:gd name="connsiteX370" fmla="*/ 6432807 w 6569151"/>
              <a:gd name="connsiteY370" fmla="*/ 1926779 h 4490369"/>
              <a:gd name="connsiteX371" fmla="*/ 6420951 w 6569151"/>
              <a:gd name="connsiteY371" fmla="*/ 1944565 h 4490369"/>
              <a:gd name="connsiteX372" fmla="*/ 6415023 w 6569151"/>
              <a:gd name="connsiteY372" fmla="*/ 1938637 h 4490369"/>
              <a:gd name="connsiteX373" fmla="*/ 6420951 w 6569151"/>
              <a:gd name="connsiteY373" fmla="*/ 1944565 h 4490369"/>
              <a:gd name="connsiteX374" fmla="*/ 6385383 w 6569151"/>
              <a:gd name="connsiteY374" fmla="*/ 1968279 h 4490369"/>
              <a:gd name="connsiteX375" fmla="*/ 6379455 w 6569151"/>
              <a:gd name="connsiteY375" fmla="*/ 1980136 h 4490369"/>
              <a:gd name="connsiteX376" fmla="*/ 6391311 w 6569151"/>
              <a:gd name="connsiteY376" fmla="*/ 2027565 h 4490369"/>
              <a:gd name="connsiteX377" fmla="*/ 6361671 w 6569151"/>
              <a:gd name="connsiteY377" fmla="*/ 2039422 h 4490369"/>
              <a:gd name="connsiteX378" fmla="*/ 6343887 w 6569151"/>
              <a:gd name="connsiteY378" fmla="*/ 2027565 h 4490369"/>
              <a:gd name="connsiteX379" fmla="*/ 6326103 w 6569151"/>
              <a:gd name="connsiteY379" fmla="*/ 2057208 h 4490369"/>
              <a:gd name="connsiteX380" fmla="*/ 6290535 w 6569151"/>
              <a:gd name="connsiteY380" fmla="*/ 2080922 h 4490369"/>
              <a:gd name="connsiteX381" fmla="*/ 6278679 w 6569151"/>
              <a:gd name="connsiteY381" fmla="*/ 2116493 h 4490369"/>
              <a:gd name="connsiteX382" fmla="*/ 6260895 w 6569151"/>
              <a:gd name="connsiteY382" fmla="*/ 2110564 h 4490369"/>
              <a:gd name="connsiteX383" fmla="*/ 6254967 w 6569151"/>
              <a:gd name="connsiteY383" fmla="*/ 2140207 h 4490369"/>
              <a:gd name="connsiteX384" fmla="*/ 6278679 w 6569151"/>
              <a:gd name="connsiteY384" fmla="*/ 2140207 h 4490369"/>
              <a:gd name="connsiteX385" fmla="*/ 6290535 w 6569151"/>
              <a:gd name="connsiteY385" fmla="*/ 2175779 h 4490369"/>
              <a:gd name="connsiteX386" fmla="*/ 6284607 w 6569151"/>
              <a:gd name="connsiteY386" fmla="*/ 2217278 h 4490369"/>
              <a:gd name="connsiteX387" fmla="*/ 6260895 w 6569151"/>
              <a:gd name="connsiteY387" fmla="*/ 2217278 h 4490369"/>
              <a:gd name="connsiteX388" fmla="*/ 6243111 w 6569151"/>
              <a:gd name="connsiteY388" fmla="*/ 2235064 h 4490369"/>
              <a:gd name="connsiteX389" fmla="*/ 6249039 w 6569151"/>
              <a:gd name="connsiteY389" fmla="*/ 2258778 h 4490369"/>
              <a:gd name="connsiteX390" fmla="*/ 6231255 w 6569151"/>
              <a:gd name="connsiteY390" fmla="*/ 2270635 h 4490369"/>
              <a:gd name="connsiteX391" fmla="*/ 6219399 w 6569151"/>
              <a:gd name="connsiteY391" fmla="*/ 2258778 h 4490369"/>
              <a:gd name="connsiteX392" fmla="*/ 6219399 w 6569151"/>
              <a:gd name="connsiteY392" fmla="*/ 2235064 h 4490369"/>
              <a:gd name="connsiteX393" fmla="*/ 6225327 w 6569151"/>
              <a:gd name="connsiteY393" fmla="*/ 2187636 h 4490369"/>
              <a:gd name="connsiteX394" fmla="*/ 6201615 w 6569151"/>
              <a:gd name="connsiteY394" fmla="*/ 2217278 h 4490369"/>
              <a:gd name="connsiteX395" fmla="*/ 6195687 w 6569151"/>
              <a:gd name="connsiteY395" fmla="*/ 2329921 h 4490369"/>
              <a:gd name="connsiteX396" fmla="*/ 6154191 w 6569151"/>
              <a:gd name="connsiteY396" fmla="*/ 2353635 h 4490369"/>
              <a:gd name="connsiteX397" fmla="*/ 6148263 w 6569151"/>
              <a:gd name="connsiteY397" fmla="*/ 2359564 h 4490369"/>
              <a:gd name="connsiteX398" fmla="*/ 6112695 w 6569151"/>
              <a:gd name="connsiteY398" fmla="*/ 2389206 h 4490369"/>
              <a:gd name="connsiteX399" fmla="*/ 6106767 w 6569151"/>
              <a:gd name="connsiteY399" fmla="*/ 2401063 h 4490369"/>
              <a:gd name="connsiteX400" fmla="*/ 6083055 w 6569151"/>
              <a:gd name="connsiteY400" fmla="*/ 2377349 h 4490369"/>
              <a:gd name="connsiteX401" fmla="*/ 6077127 w 6569151"/>
              <a:gd name="connsiteY401" fmla="*/ 2377349 h 4490369"/>
              <a:gd name="connsiteX402" fmla="*/ 6071199 w 6569151"/>
              <a:gd name="connsiteY402" fmla="*/ 2383278 h 4490369"/>
              <a:gd name="connsiteX403" fmla="*/ 6083055 w 6569151"/>
              <a:gd name="connsiteY403" fmla="*/ 2406992 h 4490369"/>
              <a:gd name="connsiteX404" fmla="*/ 6065271 w 6569151"/>
              <a:gd name="connsiteY404" fmla="*/ 2442563 h 4490369"/>
              <a:gd name="connsiteX405" fmla="*/ 6047487 w 6569151"/>
              <a:gd name="connsiteY405" fmla="*/ 2424778 h 4490369"/>
              <a:gd name="connsiteX406" fmla="*/ 6035631 w 6569151"/>
              <a:gd name="connsiteY406" fmla="*/ 2460349 h 4490369"/>
              <a:gd name="connsiteX407" fmla="*/ 6041559 w 6569151"/>
              <a:gd name="connsiteY407" fmla="*/ 2466278 h 4490369"/>
              <a:gd name="connsiteX408" fmla="*/ 6071199 w 6569151"/>
              <a:gd name="connsiteY408" fmla="*/ 2472206 h 4490369"/>
              <a:gd name="connsiteX409" fmla="*/ 6065271 w 6569151"/>
              <a:gd name="connsiteY409" fmla="*/ 2489992 h 4490369"/>
              <a:gd name="connsiteX410" fmla="*/ 6035631 w 6569151"/>
              <a:gd name="connsiteY410" fmla="*/ 2501849 h 4490369"/>
              <a:gd name="connsiteX411" fmla="*/ 6029703 w 6569151"/>
              <a:gd name="connsiteY411" fmla="*/ 2537420 h 4490369"/>
              <a:gd name="connsiteX412" fmla="*/ 6017847 w 6569151"/>
              <a:gd name="connsiteY412" fmla="*/ 2543349 h 4490369"/>
              <a:gd name="connsiteX413" fmla="*/ 5976351 w 6569151"/>
              <a:gd name="connsiteY413" fmla="*/ 2531492 h 4490369"/>
              <a:gd name="connsiteX414" fmla="*/ 5958567 w 6569151"/>
              <a:gd name="connsiteY414" fmla="*/ 2501849 h 4490369"/>
              <a:gd name="connsiteX415" fmla="*/ 5952639 w 6569151"/>
              <a:gd name="connsiteY415" fmla="*/ 2596706 h 4490369"/>
              <a:gd name="connsiteX416" fmla="*/ 5928927 w 6569151"/>
              <a:gd name="connsiteY416" fmla="*/ 2608563 h 4490369"/>
              <a:gd name="connsiteX417" fmla="*/ 5917071 w 6569151"/>
              <a:gd name="connsiteY417" fmla="*/ 2608563 h 4490369"/>
              <a:gd name="connsiteX418" fmla="*/ 5899287 w 6569151"/>
              <a:gd name="connsiteY418" fmla="*/ 2602634 h 4490369"/>
              <a:gd name="connsiteX419" fmla="*/ 5893359 w 6569151"/>
              <a:gd name="connsiteY419" fmla="*/ 2608563 h 4490369"/>
              <a:gd name="connsiteX420" fmla="*/ 5893359 w 6569151"/>
              <a:gd name="connsiteY420" fmla="*/ 2638206 h 4490369"/>
              <a:gd name="connsiteX421" fmla="*/ 5875575 w 6569151"/>
              <a:gd name="connsiteY421" fmla="*/ 2679705 h 4490369"/>
              <a:gd name="connsiteX422" fmla="*/ 5857791 w 6569151"/>
              <a:gd name="connsiteY422" fmla="*/ 2685634 h 4490369"/>
              <a:gd name="connsiteX423" fmla="*/ 5851863 w 6569151"/>
              <a:gd name="connsiteY423" fmla="*/ 2703420 h 4490369"/>
              <a:gd name="connsiteX424" fmla="*/ 5863719 w 6569151"/>
              <a:gd name="connsiteY424" fmla="*/ 2733062 h 4490369"/>
              <a:gd name="connsiteX425" fmla="*/ 5869647 w 6569151"/>
              <a:gd name="connsiteY425" fmla="*/ 2709348 h 4490369"/>
              <a:gd name="connsiteX426" fmla="*/ 5887431 w 6569151"/>
              <a:gd name="connsiteY426" fmla="*/ 2727134 h 4490369"/>
              <a:gd name="connsiteX427" fmla="*/ 5887431 w 6569151"/>
              <a:gd name="connsiteY427" fmla="*/ 2750848 h 4490369"/>
              <a:gd name="connsiteX428" fmla="*/ 5851863 w 6569151"/>
              <a:gd name="connsiteY428" fmla="*/ 2774562 h 4490369"/>
              <a:gd name="connsiteX429" fmla="*/ 5840007 w 6569151"/>
              <a:gd name="connsiteY429" fmla="*/ 2798276 h 4490369"/>
              <a:gd name="connsiteX430" fmla="*/ 5834079 w 6569151"/>
              <a:gd name="connsiteY430" fmla="*/ 2804205 h 4490369"/>
              <a:gd name="connsiteX431" fmla="*/ 5792583 w 6569151"/>
              <a:gd name="connsiteY431" fmla="*/ 2798276 h 4490369"/>
              <a:gd name="connsiteX432" fmla="*/ 5786655 w 6569151"/>
              <a:gd name="connsiteY432" fmla="*/ 2768634 h 4490369"/>
              <a:gd name="connsiteX433" fmla="*/ 5774799 w 6569151"/>
              <a:gd name="connsiteY433" fmla="*/ 2762705 h 4490369"/>
              <a:gd name="connsiteX434" fmla="*/ 5762943 w 6569151"/>
              <a:gd name="connsiteY434" fmla="*/ 2804205 h 4490369"/>
              <a:gd name="connsiteX435" fmla="*/ 5751087 w 6569151"/>
              <a:gd name="connsiteY435" fmla="*/ 2821991 h 4490369"/>
              <a:gd name="connsiteX436" fmla="*/ 5810367 w 6569151"/>
              <a:gd name="connsiteY436" fmla="*/ 2827919 h 4490369"/>
              <a:gd name="connsiteX437" fmla="*/ 5845935 w 6569151"/>
              <a:gd name="connsiteY437" fmla="*/ 2816062 h 4490369"/>
              <a:gd name="connsiteX438" fmla="*/ 5875575 w 6569151"/>
              <a:gd name="connsiteY438" fmla="*/ 2780491 h 4490369"/>
              <a:gd name="connsiteX439" fmla="*/ 5887431 w 6569151"/>
              <a:gd name="connsiteY439" fmla="*/ 2786419 h 4490369"/>
              <a:gd name="connsiteX440" fmla="*/ 5899287 w 6569151"/>
              <a:gd name="connsiteY440" fmla="*/ 2798276 h 4490369"/>
              <a:gd name="connsiteX441" fmla="*/ 5893359 w 6569151"/>
              <a:gd name="connsiteY441" fmla="*/ 2816062 h 4490369"/>
              <a:gd name="connsiteX442" fmla="*/ 5899287 w 6569151"/>
              <a:gd name="connsiteY442" fmla="*/ 2833848 h 4490369"/>
              <a:gd name="connsiteX443" fmla="*/ 5899287 w 6569151"/>
              <a:gd name="connsiteY443" fmla="*/ 2845705 h 4490369"/>
              <a:gd name="connsiteX444" fmla="*/ 5899287 w 6569151"/>
              <a:gd name="connsiteY444" fmla="*/ 2851633 h 4490369"/>
              <a:gd name="connsiteX445" fmla="*/ 5905215 w 6569151"/>
              <a:gd name="connsiteY445" fmla="*/ 2845705 h 4490369"/>
              <a:gd name="connsiteX446" fmla="*/ 5899287 w 6569151"/>
              <a:gd name="connsiteY446" fmla="*/ 2833848 h 4490369"/>
              <a:gd name="connsiteX447" fmla="*/ 5905215 w 6569151"/>
              <a:gd name="connsiteY447" fmla="*/ 2821991 h 4490369"/>
              <a:gd name="connsiteX448" fmla="*/ 5899287 w 6569151"/>
              <a:gd name="connsiteY448" fmla="*/ 2798276 h 4490369"/>
              <a:gd name="connsiteX449" fmla="*/ 5917071 w 6569151"/>
              <a:gd name="connsiteY449" fmla="*/ 2774562 h 4490369"/>
              <a:gd name="connsiteX450" fmla="*/ 5905215 w 6569151"/>
              <a:gd name="connsiteY450" fmla="*/ 2756777 h 4490369"/>
              <a:gd name="connsiteX451" fmla="*/ 5911143 w 6569151"/>
              <a:gd name="connsiteY451" fmla="*/ 2697491 h 4490369"/>
              <a:gd name="connsiteX452" fmla="*/ 5911143 w 6569151"/>
              <a:gd name="connsiteY452" fmla="*/ 2644134 h 4490369"/>
              <a:gd name="connsiteX453" fmla="*/ 5940783 w 6569151"/>
              <a:gd name="connsiteY453" fmla="*/ 2632277 h 4490369"/>
              <a:gd name="connsiteX454" fmla="*/ 5934855 w 6569151"/>
              <a:gd name="connsiteY454" fmla="*/ 2667848 h 4490369"/>
              <a:gd name="connsiteX455" fmla="*/ 6023775 w 6569151"/>
              <a:gd name="connsiteY455" fmla="*/ 2661920 h 4490369"/>
              <a:gd name="connsiteX456" fmla="*/ 6041559 w 6569151"/>
              <a:gd name="connsiteY456" fmla="*/ 2691562 h 4490369"/>
              <a:gd name="connsiteX457" fmla="*/ 6053415 w 6569151"/>
              <a:gd name="connsiteY457" fmla="*/ 2673777 h 4490369"/>
              <a:gd name="connsiteX458" fmla="*/ 6047487 w 6569151"/>
              <a:gd name="connsiteY458" fmla="*/ 2620420 h 4490369"/>
              <a:gd name="connsiteX459" fmla="*/ 6088983 w 6569151"/>
              <a:gd name="connsiteY459" fmla="*/ 2650063 h 4490369"/>
              <a:gd name="connsiteX460" fmla="*/ 6100839 w 6569151"/>
              <a:gd name="connsiteY460" fmla="*/ 2626348 h 4490369"/>
              <a:gd name="connsiteX461" fmla="*/ 6106767 w 6569151"/>
              <a:gd name="connsiteY461" fmla="*/ 2626348 h 4490369"/>
              <a:gd name="connsiteX462" fmla="*/ 6124551 w 6569151"/>
              <a:gd name="connsiteY462" fmla="*/ 2667848 h 4490369"/>
              <a:gd name="connsiteX463" fmla="*/ 6118623 w 6569151"/>
              <a:gd name="connsiteY463" fmla="*/ 2715277 h 4490369"/>
              <a:gd name="connsiteX464" fmla="*/ 6124551 w 6569151"/>
              <a:gd name="connsiteY464" fmla="*/ 2733062 h 4490369"/>
              <a:gd name="connsiteX465" fmla="*/ 6148263 w 6569151"/>
              <a:gd name="connsiteY465" fmla="*/ 2709348 h 4490369"/>
              <a:gd name="connsiteX466" fmla="*/ 6166047 w 6569151"/>
              <a:gd name="connsiteY466" fmla="*/ 2697491 h 4490369"/>
              <a:gd name="connsiteX467" fmla="*/ 6142335 w 6569151"/>
              <a:gd name="connsiteY467" fmla="*/ 2691562 h 4490369"/>
              <a:gd name="connsiteX468" fmla="*/ 6124551 w 6569151"/>
              <a:gd name="connsiteY468" fmla="*/ 2667848 h 4490369"/>
              <a:gd name="connsiteX469" fmla="*/ 6124551 w 6569151"/>
              <a:gd name="connsiteY469" fmla="*/ 2620420 h 4490369"/>
              <a:gd name="connsiteX470" fmla="*/ 6106767 w 6569151"/>
              <a:gd name="connsiteY470" fmla="*/ 2602634 h 4490369"/>
              <a:gd name="connsiteX471" fmla="*/ 6124551 w 6569151"/>
              <a:gd name="connsiteY471" fmla="*/ 2596706 h 4490369"/>
              <a:gd name="connsiteX472" fmla="*/ 6177903 w 6569151"/>
              <a:gd name="connsiteY472" fmla="*/ 2537420 h 4490369"/>
              <a:gd name="connsiteX473" fmla="*/ 6207543 w 6569151"/>
              <a:gd name="connsiteY473" fmla="*/ 2555206 h 4490369"/>
              <a:gd name="connsiteX474" fmla="*/ 6231255 w 6569151"/>
              <a:gd name="connsiteY474" fmla="*/ 2549277 h 4490369"/>
              <a:gd name="connsiteX475" fmla="*/ 6254967 w 6569151"/>
              <a:gd name="connsiteY475" fmla="*/ 2567063 h 4490369"/>
              <a:gd name="connsiteX476" fmla="*/ 6284607 w 6569151"/>
              <a:gd name="connsiteY476" fmla="*/ 2567063 h 4490369"/>
              <a:gd name="connsiteX477" fmla="*/ 6284607 w 6569151"/>
              <a:gd name="connsiteY477" fmla="*/ 2584849 h 4490369"/>
              <a:gd name="connsiteX478" fmla="*/ 6296463 w 6569151"/>
              <a:gd name="connsiteY478" fmla="*/ 2596706 h 4490369"/>
              <a:gd name="connsiteX479" fmla="*/ 6296463 w 6569151"/>
              <a:gd name="connsiteY479" fmla="*/ 2561134 h 4490369"/>
              <a:gd name="connsiteX480" fmla="*/ 6302391 w 6569151"/>
              <a:gd name="connsiteY480" fmla="*/ 2543349 h 4490369"/>
              <a:gd name="connsiteX481" fmla="*/ 6320175 w 6569151"/>
              <a:gd name="connsiteY481" fmla="*/ 2484063 h 4490369"/>
              <a:gd name="connsiteX482" fmla="*/ 6349815 w 6569151"/>
              <a:gd name="connsiteY482" fmla="*/ 2466278 h 4490369"/>
              <a:gd name="connsiteX483" fmla="*/ 6361671 w 6569151"/>
              <a:gd name="connsiteY483" fmla="*/ 2472206 h 4490369"/>
              <a:gd name="connsiteX484" fmla="*/ 6355743 w 6569151"/>
              <a:gd name="connsiteY484" fmla="*/ 2501849 h 4490369"/>
              <a:gd name="connsiteX485" fmla="*/ 6337959 w 6569151"/>
              <a:gd name="connsiteY485" fmla="*/ 2507777 h 4490369"/>
              <a:gd name="connsiteX486" fmla="*/ 6367599 w 6569151"/>
              <a:gd name="connsiteY486" fmla="*/ 2519634 h 4490369"/>
              <a:gd name="connsiteX487" fmla="*/ 6367599 w 6569151"/>
              <a:gd name="connsiteY487" fmla="*/ 2549277 h 4490369"/>
              <a:gd name="connsiteX488" fmla="*/ 6373527 w 6569151"/>
              <a:gd name="connsiteY488" fmla="*/ 2555206 h 4490369"/>
              <a:gd name="connsiteX489" fmla="*/ 6385383 w 6569151"/>
              <a:gd name="connsiteY489" fmla="*/ 2531492 h 4490369"/>
              <a:gd name="connsiteX490" fmla="*/ 6373527 w 6569151"/>
              <a:gd name="connsiteY490" fmla="*/ 2489992 h 4490369"/>
              <a:gd name="connsiteX491" fmla="*/ 6391311 w 6569151"/>
              <a:gd name="connsiteY491" fmla="*/ 2424778 h 4490369"/>
              <a:gd name="connsiteX492" fmla="*/ 6415023 w 6569151"/>
              <a:gd name="connsiteY492" fmla="*/ 2448492 h 4490369"/>
              <a:gd name="connsiteX493" fmla="*/ 6403167 w 6569151"/>
              <a:gd name="connsiteY493" fmla="*/ 2478135 h 4490369"/>
              <a:gd name="connsiteX494" fmla="*/ 6432807 w 6569151"/>
              <a:gd name="connsiteY494" fmla="*/ 2478135 h 4490369"/>
              <a:gd name="connsiteX495" fmla="*/ 6432807 w 6569151"/>
              <a:gd name="connsiteY495" fmla="*/ 2460349 h 4490369"/>
              <a:gd name="connsiteX496" fmla="*/ 6468375 w 6569151"/>
              <a:gd name="connsiteY496" fmla="*/ 2436635 h 4490369"/>
              <a:gd name="connsiteX497" fmla="*/ 6503943 w 6569151"/>
              <a:gd name="connsiteY497" fmla="*/ 2412921 h 4490369"/>
              <a:gd name="connsiteX498" fmla="*/ 6498015 w 6569151"/>
              <a:gd name="connsiteY498" fmla="*/ 2454420 h 4490369"/>
              <a:gd name="connsiteX499" fmla="*/ 6468375 w 6569151"/>
              <a:gd name="connsiteY499" fmla="*/ 2460349 h 4490369"/>
              <a:gd name="connsiteX500" fmla="*/ 6456519 w 6569151"/>
              <a:gd name="connsiteY500" fmla="*/ 2478135 h 4490369"/>
              <a:gd name="connsiteX501" fmla="*/ 6462447 w 6569151"/>
              <a:gd name="connsiteY501" fmla="*/ 2525563 h 4490369"/>
              <a:gd name="connsiteX502" fmla="*/ 6462447 w 6569151"/>
              <a:gd name="connsiteY502" fmla="*/ 2538161 h 4490369"/>
              <a:gd name="connsiteX503" fmla="*/ 6462447 w 6569151"/>
              <a:gd name="connsiteY503" fmla="*/ 2549277 h 4490369"/>
              <a:gd name="connsiteX504" fmla="*/ 6456519 w 6569151"/>
              <a:gd name="connsiteY504" fmla="*/ 2567063 h 4490369"/>
              <a:gd name="connsiteX505" fmla="*/ 6450591 w 6569151"/>
              <a:gd name="connsiteY505" fmla="*/ 2596706 h 4490369"/>
              <a:gd name="connsiteX506" fmla="*/ 6438735 w 6569151"/>
              <a:gd name="connsiteY506" fmla="*/ 2608563 h 4490369"/>
              <a:gd name="connsiteX507" fmla="*/ 6426879 w 6569151"/>
              <a:gd name="connsiteY507" fmla="*/ 2596706 h 4490369"/>
              <a:gd name="connsiteX508" fmla="*/ 6415023 w 6569151"/>
              <a:gd name="connsiteY508" fmla="*/ 2596706 h 4490369"/>
              <a:gd name="connsiteX509" fmla="*/ 6409095 w 6569151"/>
              <a:gd name="connsiteY509" fmla="*/ 2620420 h 4490369"/>
              <a:gd name="connsiteX510" fmla="*/ 6403167 w 6569151"/>
              <a:gd name="connsiteY510" fmla="*/ 2644134 h 4490369"/>
              <a:gd name="connsiteX511" fmla="*/ 6385383 w 6569151"/>
              <a:gd name="connsiteY511" fmla="*/ 2650063 h 4490369"/>
              <a:gd name="connsiteX512" fmla="*/ 6391311 w 6569151"/>
              <a:gd name="connsiteY512" fmla="*/ 2620420 h 4490369"/>
              <a:gd name="connsiteX513" fmla="*/ 6379455 w 6569151"/>
              <a:gd name="connsiteY513" fmla="*/ 2614491 h 4490369"/>
              <a:gd name="connsiteX514" fmla="*/ 6361671 w 6569151"/>
              <a:gd name="connsiteY514" fmla="*/ 2626348 h 4490369"/>
              <a:gd name="connsiteX515" fmla="*/ 6337959 w 6569151"/>
              <a:gd name="connsiteY515" fmla="*/ 2626348 h 4490369"/>
              <a:gd name="connsiteX516" fmla="*/ 6332031 w 6569151"/>
              <a:gd name="connsiteY516" fmla="*/ 2661920 h 4490369"/>
              <a:gd name="connsiteX517" fmla="*/ 6320175 w 6569151"/>
              <a:gd name="connsiteY517" fmla="*/ 2691562 h 4490369"/>
              <a:gd name="connsiteX518" fmla="*/ 6278679 w 6569151"/>
              <a:gd name="connsiteY518" fmla="*/ 2703420 h 4490369"/>
              <a:gd name="connsiteX519" fmla="*/ 6302391 w 6569151"/>
              <a:gd name="connsiteY519" fmla="*/ 2733062 h 4490369"/>
              <a:gd name="connsiteX520" fmla="*/ 6320175 w 6569151"/>
              <a:gd name="connsiteY520" fmla="*/ 2715277 h 4490369"/>
              <a:gd name="connsiteX521" fmla="*/ 6332031 w 6569151"/>
              <a:gd name="connsiteY521" fmla="*/ 2733062 h 4490369"/>
              <a:gd name="connsiteX522" fmla="*/ 6278679 w 6569151"/>
              <a:gd name="connsiteY522" fmla="*/ 2786419 h 4490369"/>
              <a:gd name="connsiteX523" fmla="*/ 6272751 w 6569151"/>
              <a:gd name="connsiteY523" fmla="*/ 2786419 h 4490369"/>
              <a:gd name="connsiteX524" fmla="*/ 6249039 w 6569151"/>
              <a:gd name="connsiteY524" fmla="*/ 2756777 h 4490369"/>
              <a:gd name="connsiteX525" fmla="*/ 6254967 w 6569151"/>
              <a:gd name="connsiteY525" fmla="*/ 2750848 h 4490369"/>
              <a:gd name="connsiteX526" fmla="*/ 6249039 w 6569151"/>
              <a:gd name="connsiteY526" fmla="*/ 2756777 h 4490369"/>
              <a:gd name="connsiteX527" fmla="*/ 6213471 w 6569151"/>
              <a:gd name="connsiteY527" fmla="*/ 2750848 h 4490369"/>
              <a:gd name="connsiteX528" fmla="*/ 6207543 w 6569151"/>
              <a:gd name="connsiteY528" fmla="*/ 2762705 h 4490369"/>
              <a:gd name="connsiteX529" fmla="*/ 6201615 w 6569151"/>
              <a:gd name="connsiteY529" fmla="*/ 2786419 h 4490369"/>
              <a:gd name="connsiteX530" fmla="*/ 6207543 w 6569151"/>
              <a:gd name="connsiteY530" fmla="*/ 2804205 h 4490369"/>
              <a:gd name="connsiteX531" fmla="*/ 6231255 w 6569151"/>
              <a:gd name="connsiteY531" fmla="*/ 2798276 h 4490369"/>
              <a:gd name="connsiteX532" fmla="*/ 6243111 w 6569151"/>
              <a:gd name="connsiteY532" fmla="*/ 2821991 h 4490369"/>
              <a:gd name="connsiteX533" fmla="*/ 6213471 w 6569151"/>
              <a:gd name="connsiteY533" fmla="*/ 2827919 h 4490369"/>
              <a:gd name="connsiteX534" fmla="*/ 6207543 w 6569151"/>
              <a:gd name="connsiteY534" fmla="*/ 2833848 h 4490369"/>
              <a:gd name="connsiteX535" fmla="*/ 6177903 w 6569151"/>
              <a:gd name="connsiteY535" fmla="*/ 2899062 h 4490369"/>
              <a:gd name="connsiteX536" fmla="*/ 6130479 w 6569151"/>
              <a:gd name="connsiteY536" fmla="*/ 2916847 h 4490369"/>
              <a:gd name="connsiteX537" fmla="*/ 6100839 w 6569151"/>
              <a:gd name="connsiteY537" fmla="*/ 2940562 h 4490369"/>
              <a:gd name="connsiteX538" fmla="*/ 6077127 w 6569151"/>
              <a:gd name="connsiteY538" fmla="*/ 2922776 h 4490369"/>
              <a:gd name="connsiteX539" fmla="*/ 6071199 w 6569151"/>
              <a:gd name="connsiteY539" fmla="*/ 2922776 h 4490369"/>
              <a:gd name="connsiteX540" fmla="*/ 6065271 w 6569151"/>
              <a:gd name="connsiteY540" fmla="*/ 2934633 h 4490369"/>
              <a:gd name="connsiteX541" fmla="*/ 6083055 w 6569151"/>
              <a:gd name="connsiteY541" fmla="*/ 2958347 h 4490369"/>
              <a:gd name="connsiteX542" fmla="*/ 6100839 w 6569151"/>
              <a:gd name="connsiteY542" fmla="*/ 2958347 h 4490369"/>
              <a:gd name="connsiteX543" fmla="*/ 6100839 w 6569151"/>
              <a:gd name="connsiteY543" fmla="*/ 2999847 h 4490369"/>
              <a:gd name="connsiteX544" fmla="*/ 6077127 w 6569151"/>
              <a:gd name="connsiteY544" fmla="*/ 3005776 h 4490369"/>
              <a:gd name="connsiteX545" fmla="*/ 6071199 w 6569151"/>
              <a:gd name="connsiteY545" fmla="*/ 3017633 h 4490369"/>
              <a:gd name="connsiteX546" fmla="*/ 6065271 w 6569151"/>
              <a:gd name="connsiteY546" fmla="*/ 3041347 h 4490369"/>
              <a:gd name="connsiteX547" fmla="*/ 6053415 w 6569151"/>
              <a:gd name="connsiteY547" fmla="*/ 3059133 h 4490369"/>
              <a:gd name="connsiteX548" fmla="*/ 6035631 w 6569151"/>
              <a:gd name="connsiteY548" fmla="*/ 3047276 h 4490369"/>
              <a:gd name="connsiteX549" fmla="*/ 6047487 w 6569151"/>
              <a:gd name="connsiteY549" fmla="*/ 2987990 h 4490369"/>
              <a:gd name="connsiteX550" fmla="*/ 6041559 w 6569151"/>
              <a:gd name="connsiteY550" fmla="*/ 2934633 h 4490369"/>
              <a:gd name="connsiteX551" fmla="*/ 6023775 w 6569151"/>
              <a:gd name="connsiteY551" fmla="*/ 2964276 h 4490369"/>
              <a:gd name="connsiteX552" fmla="*/ 6023775 w 6569151"/>
              <a:gd name="connsiteY552" fmla="*/ 3047276 h 4490369"/>
              <a:gd name="connsiteX553" fmla="*/ 6023775 w 6569151"/>
              <a:gd name="connsiteY553" fmla="*/ 3070990 h 4490369"/>
              <a:gd name="connsiteX554" fmla="*/ 6017847 w 6569151"/>
              <a:gd name="connsiteY554" fmla="*/ 3076918 h 4490369"/>
              <a:gd name="connsiteX555" fmla="*/ 6005991 w 6569151"/>
              <a:gd name="connsiteY555" fmla="*/ 3082847 h 4490369"/>
              <a:gd name="connsiteX556" fmla="*/ 5952639 w 6569151"/>
              <a:gd name="connsiteY556" fmla="*/ 3070990 h 4490369"/>
              <a:gd name="connsiteX557" fmla="*/ 5928927 w 6569151"/>
              <a:gd name="connsiteY557" fmla="*/ 3088775 h 4490369"/>
              <a:gd name="connsiteX558" fmla="*/ 5928927 w 6569151"/>
              <a:gd name="connsiteY558" fmla="*/ 3112490 h 4490369"/>
              <a:gd name="connsiteX559" fmla="*/ 5887431 w 6569151"/>
              <a:gd name="connsiteY559" fmla="*/ 3130275 h 4490369"/>
              <a:gd name="connsiteX560" fmla="*/ 5881503 w 6569151"/>
              <a:gd name="connsiteY560" fmla="*/ 3159918 h 4490369"/>
              <a:gd name="connsiteX561" fmla="*/ 5893359 w 6569151"/>
              <a:gd name="connsiteY561" fmla="*/ 3177704 h 4490369"/>
              <a:gd name="connsiteX562" fmla="*/ 5911143 w 6569151"/>
              <a:gd name="connsiteY562" fmla="*/ 3183632 h 4490369"/>
              <a:gd name="connsiteX563" fmla="*/ 5917071 w 6569151"/>
              <a:gd name="connsiteY563" fmla="*/ 3201418 h 4490369"/>
              <a:gd name="connsiteX564" fmla="*/ 5863719 w 6569151"/>
              <a:gd name="connsiteY564" fmla="*/ 3278489 h 4490369"/>
              <a:gd name="connsiteX565" fmla="*/ 5834079 w 6569151"/>
              <a:gd name="connsiteY565" fmla="*/ 3308132 h 4490369"/>
              <a:gd name="connsiteX566" fmla="*/ 5804439 w 6569151"/>
              <a:gd name="connsiteY566" fmla="*/ 3325917 h 4490369"/>
              <a:gd name="connsiteX567" fmla="*/ 5798511 w 6569151"/>
              <a:gd name="connsiteY567" fmla="*/ 3349632 h 4490369"/>
              <a:gd name="connsiteX568" fmla="*/ 5768871 w 6569151"/>
              <a:gd name="connsiteY568" fmla="*/ 3361489 h 4490369"/>
              <a:gd name="connsiteX569" fmla="*/ 5757015 w 6569151"/>
              <a:gd name="connsiteY569" fmla="*/ 3397060 h 4490369"/>
              <a:gd name="connsiteX570" fmla="*/ 5739232 w 6569151"/>
              <a:gd name="connsiteY570" fmla="*/ 3426703 h 4490369"/>
              <a:gd name="connsiteX571" fmla="*/ 5691808 w 6569151"/>
              <a:gd name="connsiteY571" fmla="*/ 3450417 h 4490369"/>
              <a:gd name="connsiteX572" fmla="*/ 5650312 w 6569151"/>
              <a:gd name="connsiteY572" fmla="*/ 3491917 h 4490369"/>
              <a:gd name="connsiteX573" fmla="*/ 5650312 w 6569151"/>
              <a:gd name="connsiteY573" fmla="*/ 3485988 h 4490369"/>
              <a:gd name="connsiteX574" fmla="*/ 5632528 w 6569151"/>
              <a:gd name="connsiteY574" fmla="*/ 3539345 h 4490369"/>
              <a:gd name="connsiteX575" fmla="*/ 5602888 w 6569151"/>
              <a:gd name="connsiteY575" fmla="*/ 3557131 h 4490369"/>
              <a:gd name="connsiteX576" fmla="*/ 5585104 w 6569151"/>
              <a:gd name="connsiteY576" fmla="*/ 3580845 h 4490369"/>
              <a:gd name="connsiteX577" fmla="*/ 5549536 w 6569151"/>
              <a:gd name="connsiteY577" fmla="*/ 3646059 h 4490369"/>
              <a:gd name="connsiteX578" fmla="*/ 5543608 w 6569151"/>
              <a:gd name="connsiteY578" fmla="*/ 3657916 h 4490369"/>
              <a:gd name="connsiteX579" fmla="*/ 5519896 w 6569151"/>
              <a:gd name="connsiteY579" fmla="*/ 3663845 h 4490369"/>
              <a:gd name="connsiteX580" fmla="*/ 5508040 w 6569151"/>
              <a:gd name="connsiteY580" fmla="*/ 3699416 h 4490369"/>
              <a:gd name="connsiteX581" fmla="*/ 5478400 w 6569151"/>
              <a:gd name="connsiteY581" fmla="*/ 3711273 h 4490369"/>
              <a:gd name="connsiteX582" fmla="*/ 5466544 w 6569151"/>
              <a:gd name="connsiteY582" fmla="*/ 3746845 h 4490369"/>
              <a:gd name="connsiteX583" fmla="*/ 5442832 w 6569151"/>
              <a:gd name="connsiteY583" fmla="*/ 3758702 h 4490369"/>
              <a:gd name="connsiteX584" fmla="*/ 5430976 w 6569151"/>
              <a:gd name="connsiteY584" fmla="*/ 3782416 h 4490369"/>
              <a:gd name="connsiteX585" fmla="*/ 5389480 w 6569151"/>
              <a:gd name="connsiteY585" fmla="*/ 3788345 h 4490369"/>
              <a:gd name="connsiteX586" fmla="*/ 5365768 w 6569151"/>
              <a:gd name="connsiteY586" fmla="*/ 3794273 h 4490369"/>
              <a:gd name="connsiteX587" fmla="*/ 5330200 w 6569151"/>
              <a:gd name="connsiteY587" fmla="*/ 3829844 h 4490369"/>
              <a:gd name="connsiteX588" fmla="*/ 5306488 w 6569151"/>
              <a:gd name="connsiteY588" fmla="*/ 3853559 h 4490369"/>
              <a:gd name="connsiteX589" fmla="*/ 5264992 w 6569151"/>
              <a:gd name="connsiteY589" fmla="*/ 3829844 h 4490369"/>
              <a:gd name="connsiteX590" fmla="*/ 5270920 w 6569151"/>
              <a:gd name="connsiteY590" fmla="*/ 3817987 h 4490369"/>
              <a:gd name="connsiteX591" fmla="*/ 5276848 w 6569151"/>
              <a:gd name="connsiteY591" fmla="*/ 3800202 h 4490369"/>
              <a:gd name="connsiteX592" fmla="*/ 5270920 w 6569151"/>
              <a:gd name="connsiteY592" fmla="*/ 3800202 h 4490369"/>
              <a:gd name="connsiteX593" fmla="*/ 5241280 w 6569151"/>
              <a:gd name="connsiteY593" fmla="*/ 3794273 h 4490369"/>
              <a:gd name="connsiteX594" fmla="*/ 5229424 w 6569151"/>
              <a:gd name="connsiteY594" fmla="*/ 3817987 h 4490369"/>
              <a:gd name="connsiteX595" fmla="*/ 5205712 w 6569151"/>
              <a:gd name="connsiteY595" fmla="*/ 3823916 h 4490369"/>
              <a:gd name="connsiteX596" fmla="*/ 5205712 w 6569151"/>
              <a:gd name="connsiteY596" fmla="*/ 3794273 h 4490369"/>
              <a:gd name="connsiteX597" fmla="*/ 5199784 w 6569151"/>
              <a:gd name="connsiteY597" fmla="*/ 3788345 h 4490369"/>
              <a:gd name="connsiteX598" fmla="*/ 5146432 w 6569151"/>
              <a:gd name="connsiteY598" fmla="*/ 3812059 h 4490369"/>
              <a:gd name="connsiteX599" fmla="*/ 5122720 w 6569151"/>
              <a:gd name="connsiteY599" fmla="*/ 3794273 h 4490369"/>
              <a:gd name="connsiteX600" fmla="*/ 5104936 w 6569151"/>
              <a:gd name="connsiteY600" fmla="*/ 3823916 h 4490369"/>
              <a:gd name="connsiteX601" fmla="*/ 5084188 w 6569151"/>
              <a:gd name="connsiteY601" fmla="*/ 3822434 h 4490369"/>
              <a:gd name="connsiteX602" fmla="*/ 5067808 w 6569151"/>
              <a:gd name="connsiteY602" fmla="*/ 3828284 h 4490369"/>
              <a:gd name="connsiteX603" fmla="*/ 5051584 w 6569151"/>
              <a:gd name="connsiteY603" fmla="*/ 3812059 h 4490369"/>
              <a:gd name="connsiteX604" fmla="*/ 5010088 w 6569151"/>
              <a:gd name="connsiteY604" fmla="*/ 3800202 h 4490369"/>
              <a:gd name="connsiteX605" fmla="*/ 4980448 w 6569151"/>
              <a:gd name="connsiteY605" fmla="*/ 3752773 h 4490369"/>
              <a:gd name="connsiteX606" fmla="*/ 4950808 w 6569151"/>
              <a:gd name="connsiteY606" fmla="*/ 3717202 h 4490369"/>
              <a:gd name="connsiteX607" fmla="*/ 4938952 w 6569151"/>
              <a:gd name="connsiteY607" fmla="*/ 3729059 h 4490369"/>
              <a:gd name="connsiteX608" fmla="*/ 4897456 w 6569151"/>
              <a:gd name="connsiteY608" fmla="*/ 3770559 h 4490369"/>
              <a:gd name="connsiteX609" fmla="*/ 4850032 w 6569151"/>
              <a:gd name="connsiteY609" fmla="*/ 3812059 h 4490369"/>
              <a:gd name="connsiteX610" fmla="*/ 4814464 w 6569151"/>
              <a:gd name="connsiteY610" fmla="*/ 3859487 h 4490369"/>
              <a:gd name="connsiteX611" fmla="*/ 4772968 w 6569151"/>
              <a:gd name="connsiteY611" fmla="*/ 3906916 h 4490369"/>
              <a:gd name="connsiteX612" fmla="*/ 4761112 w 6569151"/>
              <a:gd name="connsiteY612" fmla="*/ 3954344 h 4490369"/>
              <a:gd name="connsiteX613" fmla="*/ 4743328 w 6569151"/>
              <a:gd name="connsiteY613" fmla="*/ 3948415 h 4490369"/>
              <a:gd name="connsiteX614" fmla="*/ 4707760 w 6569151"/>
              <a:gd name="connsiteY614" fmla="*/ 3966201 h 4490369"/>
              <a:gd name="connsiteX615" fmla="*/ 4701832 w 6569151"/>
              <a:gd name="connsiteY615" fmla="*/ 4019558 h 4490369"/>
              <a:gd name="connsiteX616" fmla="*/ 4689976 w 6569151"/>
              <a:gd name="connsiteY616" fmla="*/ 4031415 h 4490369"/>
              <a:gd name="connsiteX617" fmla="*/ 4642552 w 6569151"/>
              <a:gd name="connsiteY617" fmla="*/ 4037344 h 4490369"/>
              <a:gd name="connsiteX618" fmla="*/ 4601056 w 6569151"/>
              <a:gd name="connsiteY618" fmla="*/ 4037344 h 4490369"/>
              <a:gd name="connsiteX619" fmla="*/ 4589200 w 6569151"/>
              <a:gd name="connsiteY619" fmla="*/ 4037344 h 4490369"/>
              <a:gd name="connsiteX620" fmla="*/ 4577344 w 6569151"/>
              <a:gd name="connsiteY620" fmla="*/ 4061058 h 4490369"/>
              <a:gd name="connsiteX621" fmla="*/ 4565488 w 6569151"/>
              <a:gd name="connsiteY621" fmla="*/ 4066986 h 4490369"/>
              <a:gd name="connsiteX622" fmla="*/ 4547704 w 6569151"/>
              <a:gd name="connsiteY622" fmla="*/ 4037344 h 4490369"/>
              <a:gd name="connsiteX623" fmla="*/ 4541776 w 6569151"/>
              <a:gd name="connsiteY623" fmla="*/ 4043272 h 4490369"/>
              <a:gd name="connsiteX624" fmla="*/ 4541776 w 6569151"/>
              <a:gd name="connsiteY624" fmla="*/ 4061058 h 4490369"/>
              <a:gd name="connsiteX625" fmla="*/ 4523992 w 6569151"/>
              <a:gd name="connsiteY625" fmla="*/ 4066986 h 4490369"/>
              <a:gd name="connsiteX626" fmla="*/ 4523992 w 6569151"/>
              <a:gd name="connsiteY626" fmla="*/ 4037344 h 4490369"/>
              <a:gd name="connsiteX627" fmla="*/ 4506208 w 6569151"/>
              <a:gd name="connsiteY627" fmla="*/ 4025487 h 4490369"/>
              <a:gd name="connsiteX628" fmla="*/ 4476568 w 6569151"/>
              <a:gd name="connsiteY628" fmla="*/ 4043272 h 4490369"/>
              <a:gd name="connsiteX629" fmla="*/ 4482496 w 6569151"/>
              <a:gd name="connsiteY629" fmla="*/ 4055129 h 4490369"/>
              <a:gd name="connsiteX630" fmla="*/ 4488424 w 6569151"/>
              <a:gd name="connsiteY630" fmla="*/ 4066986 h 4490369"/>
              <a:gd name="connsiteX631" fmla="*/ 4482496 w 6569151"/>
              <a:gd name="connsiteY631" fmla="*/ 4072915 h 4490369"/>
              <a:gd name="connsiteX632" fmla="*/ 4446928 w 6569151"/>
              <a:gd name="connsiteY632" fmla="*/ 4072915 h 4490369"/>
              <a:gd name="connsiteX633" fmla="*/ 4441000 w 6569151"/>
              <a:gd name="connsiteY633" fmla="*/ 4066986 h 4490369"/>
              <a:gd name="connsiteX634" fmla="*/ 4441000 w 6569151"/>
              <a:gd name="connsiteY634" fmla="*/ 4037344 h 4490369"/>
              <a:gd name="connsiteX635" fmla="*/ 4429144 w 6569151"/>
              <a:gd name="connsiteY635" fmla="*/ 4025487 h 4490369"/>
              <a:gd name="connsiteX636" fmla="*/ 4358008 w 6569151"/>
              <a:gd name="connsiteY636" fmla="*/ 4037344 h 4490369"/>
              <a:gd name="connsiteX637" fmla="*/ 4280944 w 6569151"/>
              <a:gd name="connsiteY637" fmla="*/ 4007701 h 4490369"/>
              <a:gd name="connsiteX638" fmla="*/ 4269088 w 6569151"/>
              <a:gd name="connsiteY638" fmla="*/ 4013629 h 4490369"/>
              <a:gd name="connsiteX639" fmla="*/ 4186096 w 6569151"/>
              <a:gd name="connsiteY639" fmla="*/ 4066986 h 4490369"/>
              <a:gd name="connsiteX640" fmla="*/ 4109032 w 6569151"/>
              <a:gd name="connsiteY640" fmla="*/ 4132200 h 4490369"/>
              <a:gd name="connsiteX641" fmla="*/ 3960832 w 6569151"/>
              <a:gd name="connsiteY641" fmla="*/ 4066986 h 4490369"/>
              <a:gd name="connsiteX642" fmla="*/ 3996400 w 6569151"/>
              <a:gd name="connsiteY642" fmla="*/ 3978058 h 4490369"/>
              <a:gd name="connsiteX643" fmla="*/ 4037896 w 6569151"/>
              <a:gd name="connsiteY643" fmla="*/ 3936558 h 4490369"/>
              <a:gd name="connsiteX644" fmla="*/ 4109032 w 6569151"/>
              <a:gd name="connsiteY644" fmla="*/ 3877273 h 4490369"/>
              <a:gd name="connsiteX645" fmla="*/ 4150528 w 6569151"/>
              <a:gd name="connsiteY645" fmla="*/ 3841701 h 4490369"/>
              <a:gd name="connsiteX646" fmla="*/ 4180168 w 6569151"/>
              <a:gd name="connsiteY646" fmla="*/ 3782416 h 4490369"/>
              <a:gd name="connsiteX647" fmla="*/ 4180168 w 6569151"/>
              <a:gd name="connsiteY647" fmla="*/ 3776487 h 4490369"/>
              <a:gd name="connsiteX648" fmla="*/ 4109032 w 6569151"/>
              <a:gd name="connsiteY648" fmla="*/ 3823916 h 4490369"/>
              <a:gd name="connsiteX649" fmla="*/ 3984544 w 6569151"/>
              <a:gd name="connsiteY649" fmla="*/ 3918773 h 4490369"/>
              <a:gd name="connsiteX650" fmla="*/ 3913408 w 6569151"/>
              <a:gd name="connsiteY650" fmla="*/ 3966201 h 4490369"/>
              <a:gd name="connsiteX651" fmla="*/ 3854128 w 6569151"/>
              <a:gd name="connsiteY651" fmla="*/ 4013629 h 4490369"/>
              <a:gd name="connsiteX652" fmla="*/ 3788920 w 6569151"/>
              <a:gd name="connsiteY652" fmla="*/ 4066986 h 4490369"/>
              <a:gd name="connsiteX653" fmla="*/ 3688144 w 6569151"/>
              <a:gd name="connsiteY653" fmla="*/ 4149986 h 4490369"/>
              <a:gd name="connsiteX654" fmla="*/ 3652576 w 6569151"/>
              <a:gd name="connsiteY654" fmla="*/ 4167772 h 4490369"/>
              <a:gd name="connsiteX655" fmla="*/ 3628864 w 6569151"/>
              <a:gd name="connsiteY655" fmla="*/ 4149986 h 4490369"/>
              <a:gd name="connsiteX656" fmla="*/ 3605152 w 6569151"/>
              <a:gd name="connsiteY656" fmla="*/ 4108486 h 4490369"/>
              <a:gd name="connsiteX657" fmla="*/ 3581440 w 6569151"/>
              <a:gd name="connsiteY657" fmla="*/ 4072915 h 4490369"/>
              <a:gd name="connsiteX658" fmla="*/ 3551800 w 6569151"/>
              <a:gd name="connsiteY658" fmla="*/ 4043272 h 4490369"/>
              <a:gd name="connsiteX659" fmla="*/ 3551800 w 6569151"/>
              <a:gd name="connsiteY659" fmla="*/ 4007701 h 4490369"/>
              <a:gd name="connsiteX660" fmla="*/ 3557728 w 6569151"/>
              <a:gd name="connsiteY660" fmla="*/ 3995844 h 4490369"/>
              <a:gd name="connsiteX661" fmla="*/ 3587368 w 6569151"/>
              <a:gd name="connsiteY661" fmla="*/ 3948415 h 4490369"/>
              <a:gd name="connsiteX662" fmla="*/ 3611080 w 6569151"/>
              <a:gd name="connsiteY662" fmla="*/ 3942487 h 4490369"/>
              <a:gd name="connsiteX663" fmla="*/ 3646648 w 6569151"/>
              <a:gd name="connsiteY663" fmla="*/ 3906916 h 4490369"/>
              <a:gd name="connsiteX664" fmla="*/ 3676288 w 6569151"/>
              <a:gd name="connsiteY664" fmla="*/ 3877273 h 4490369"/>
              <a:gd name="connsiteX665" fmla="*/ 3694072 w 6569151"/>
              <a:gd name="connsiteY665" fmla="*/ 3865416 h 4490369"/>
              <a:gd name="connsiteX666" fmla="*/ 3711856 w 6569151"/>
              <a:gd name="connsiteY666" fmla="*/ 3835773 h 4490369"/>
              <a:gd name="connsiteX667" fmla="*/ 3700000 w 6569151"/>
              <a:gd name="connsiteY667" fmla="*/ 3823916 h 4490369"/>
              <a:gd name="connsiteX668" fmla="*/ 3676288 w 6569151"/>
              <a:gd name="connsiteY668" fmla="*/ 3847630 h 4490369"/>
              <a:gd name="connsiteX669" fmla="*/ 3664432 w 6569151"/>
              <a:gd name="connsiteY669" fmla="*/ 3853559 h 4490369"/>
              <a:gd name="connsiteX670" fmla="*/ 3664432 w 6569151"/>
              <a:gd name="connsiteY670" fmla="*/ 3841701 h 4490369"/>
              <a:gd name="connsiteX671" fmla="*/ 3676288 w 6569151"/>
              <a:gd name="connsiteY671" fmla="*/ 3823916 h 4490369"/>
              <a:gd name="connsiteX672" fmla="*/ 3700000 w 6569151"/>
              <a:gd name="connsiteY672" fmla="*/ 3806130 h 4490369"/>
              <a:gd name="connsiteX673" fmla="*/ 3723712 w 6569151"/>
              <a:gd name="connsiteY673" fmla="*/ 3776487 h 4490369"/>
              <a:gd name="connsiteX674" fmla="*/ 3747424 w 6569151"/>
              <a:gd name="connsiteY674" fmla="*/ 3758702 h 4490369"/>
              <a:gd name="connsiteX675" fmla="*/ 3757096 w 6569151"/>
              <a:gd name="connsiteY675" fmla="*/ 3729683 h 4490369"/>
              <a:gd name="connsiteX676" fmla="*/ 3759280 w 6569151"/>
              <a:gd name="connsiteY676" fmla="*/ 3729059 h 4490369"/>
              <a:gd name="connsiteX677" fmla="*/ 3771136 w 6569151"/>
              <a:gd name="connsiteY677" fmla="*/ 3717202 h 4490369"/>
              <a:gd name="connsiteX678" fmla="*/ 3773407 w 6569151"/>
              <a:gd name="connsiteY678" fmla="*/ 3713195 h 4490369"/>
              <a:gd name="connsiteX679" fmla="*/ 3780769 w 6569151"/>
              <a:gd name="connsiteY679" fmla="*/ 3719425 h 4490369"/>
              <a:gd name="connsiteX680" fmla="*/ 3794848 w 6569151"/>
              <a:gd name="connsiteY680" fmla="*/ 3723130 h 4490369"/>
              <a:gd name="connsiteX681" fmla="*/ 3794848 w 6569151"/>
              <a:gd name="connsiteY681" fmla="*/ 3740916 h 4490369"/>
              <a:gd name="connsiteX682" fmla="*/ 3818560 w 6569151"/>
              <a:gd name="connsiteY682" fmla="*/ 3729059 h 4490369"/>
              <a:gd name="connsiteX683" fmla="*/ 3836344 w 6569151"/>
              <a:gd name="connsiteY683" fmla="*/ 3705345 h 4490369"/>
              <a:gd name="connsiteX684" fmla="*/ 3854128 w 6569151"/>
              <a:gd name="connsiteY684" fmla="*/ 3711273 h 4490369"/>
              <a:gd name="connsiteX685" fmla="*/ 3860056 w 6569151"/>
              <a:gd name="connsiteY685" fmla="*/ 3705345 h 4490369"/>
              <a:gd name="connsiteX686" fmla="*/ 3871912 w 6569151"/>
              <a:gd name="connsiteY686" fmla="*/ 3669773 h 4490369"/>
              <a:gd name="connsiteX687" fmla="*/ 3871912 w 6569151"/>
              <a:gd name="connsiteY687" fmla="*/ 3663845 h 4490369"/>
              <a:gd name="connsiteX688" fmla="*/ 3871912 w 6569151"/>
              <a:gd name="connsiteY688" fmla="*/ 3669773 h 4490369"/>
              <a:gd name="connsiteX689" fmla="*/ 3836344 w 6569151"/>
              <a:gd name="connsiteY689" fmla="*/ 3681631 h 4490369"/>
              <a:gd name="connsiteX690" fmla="*/ 3854128 w 6569151"/>
              <a:gd name="connsiteY690" fmla="*/ 3646059 h 4490369"/>
              <a:gd name="connsiteX691" fmla="*/ 3883768 w 6569151"/>
              <a:gd name="connsiteY691" fmla="*/ 3622345 h 4490369"/>
              <a:gd name="connsiteX692" fmla="*/ 3913408 w 6569151"/>
              <a:gd name="connsiteY692" fmla="*/ 3598631 h 4490369"/>
              <a:gd name="connsiteX693" fmla="*/ 3925264 w 6569151"/>
              <a:gd name="connsiteY693" fmla="*/ 3557131 h 4490369"/>
              <a:gd name="connsiteX694" fmla="*/ 3972688 w 6569151"/>
              <a:gd name="connsiteY694" fmla="*/ 3557131 h 4490369"/>
              <a:gd name="connsiteX695" fmla="*/ 3984544 w 6569151"/>
              <a:gd name="connsiteY695" fmla="*/ 3557131 h 4490369"/>
              <a:gd name="connsiteX696" fmla="*/ 3996400 w 6569151"/>
              <a:gd name="connsiteY696" fmla="*/ 3545274 h 4490369"/>
              <a:gd name="connsiteX697" fmla="*/ 4002328 w 6569151"/>
              <a:gd name="connsiteY697" fmla="*/ 3480060 h 4490369"/>
              <a:gd name="connsiteX698" fmla="*/ 3996400 w 6569151"/>
              <a:gd name="connsiteY698" fmla="*/ 3474131 h 4490369"/>
              <a:gd name="connsiteX699" fmla="*/ 3972688 w 6569151"/>
              <a:gd name="connsiteY699" fmla="*/ 3497845 h 4490369"/>
              <a:gd name="connsiteX700" fmla="*/ 3925264 w 6569151"/>
              <a:gd name="connsiteY700" fmla="*/ 3557131 h 4490369"/>
              <a:gd name="connsiteX701" fmla="*/ 3907480 w 6569151"/>
              <a:gd name="connsiteY701" fmla="*/ 3563060 h 4490369"/>
              <a:gd name="connsiteX702" fmla="*/ 3848200 w 6569151"/>
              <a:gd name="connsiteY702" fmla="*/ 3628274 h 4490369"/>
              <a:gd name="connsiteX703" fmla="*/ 3824488 w 6569151"/>
              <a:gd name="connsiteY703" fmla="*/ 3640131 h 4490369"/>
              <a:gd name="connsiteX704" fmla="*/ 3800776 w 6569151"/>
              <a:gd name="connsiteY704" fmla="*/ 3681631 h 4490369"/>
              <a:gd name="connsiteX705" fmla="*/ 3783733 w 6569151"/>
              <a:gd name="connsiteY705" fmla="*/ 3694970 h 4490369"/>
              <a:gd name="connsiteX706" fmla="*/ 3773407 w 6569151"/>
              <a:gd name="connsiteY706" fmla="*/ 3713195 h 4490369"/>
              <a:gd name="connsiteX707" fmla="*/ 3771136 w 6569151"/>
              <a:gd name="connsiteY707" fmla="*/ 3711273 h 4490369"/>
              <a:gd name="connsiteX708" fmla="*/ 3759280 w 6569151"/>
              <a:gd name="connsiteY708" fmla="*/ 3723130 h 4490369"/>
              <a:gd name="connsiteX709" fmla="*/ 3757096 w 6569151"/>
              <a:gd name="connsiteY709" fmla="*/ 3729683 h 4490369"/>
              <a:gd name="connsiteX710" fmla="*/ 3743719 w 6569151"/>
              <a:gd name="connsiteY710" fmla="*/ 3733506 h 4490369"/>
              <a:gd name="connsiteX711" fmla="*/ 3723712 w 6569151"/>
              <a:gd name="connsiteY711" fmla="*/ 3746845 h 4490369"/>
              <a:gd name="connsiteX712" fmla="*/ 3539944 w 6569151"/>
              <a:gd name="connsiteY712" fmla="*/ 3758702 h 4490369"/>
              <a:gd name="connsiteX713" fmla="*/ 3468808 w 6569151"/>
              <a:gd name="connsiteY713" fmla="*/ 3812059 h 4490369"/>
              <a:gd name="connsiteX714" fmla="*/ 3332464 w 6569151"/>
              <a:gd name="connsiteY714" fmla="*/ 3900987 h 4490369"/>
              <a:gd name="connsiteX715" fmla="*/ 3249472 w 6569151"/>
              <a:gd name="connsiteY715" fmla="*/ 3906916 h 4490369"/>
              <a:gd name="connsiteX716" fmla="*/ 3207976 w 6569151"/>
              <a:gd name="connsiteY716" fmla="*/ 3924701 h 4490369"/>
              <a:gd name="connsiteX717" fmla="*/ 3083488 w 6569151"/>
              <a:gd name="connsiteY717" fmla="*/ 3930630 h 4490369"/>
              <a:gd name="connsiteX718" fmla="*/ 2994568 w 6569151"/>
              <a:gd name="connsiteY718" fmla="*/ 3995844 h 4490369"/>
              <a:gd name="connsiteX719" fmla="*/ 2870081 w 6569151"/>
              <a:gd name="connsiteY719" fmla="*/ 4108486 h 4490369"/>
              <a:gd name="connsiteX720" fmla="*/ 2804873 w 6569151"/>
              <a:gd name="connsiteY720" fmla="*/ 4167772 h 4490369"/>
              <a:gd name="connsiteX721" fmla="*/ 2769304 w 6569151"/>
              <a:gd name="connsiteY721" fmla="*/ 4179629 h 4490369"/>
              <a:gd name="connsiteX722" fmla="*/ 2787089 w 6569151"/>
              <a:gd name="connsiteY722" fmla="*/ 4155915 h 4490369"/>
              <a:gd name="connsiteX723" fmla="*/ 2798945 w 6569151"/>
              <a:gd name="connsiteY723" fmla="*/ 4126272 h 4490369"/>
              <a:gd name="connsiteX724" fmla="*/ 2840441 w 6569151"/>
              <a:gd name="connsiteY724" fmla="*/ 4090701 h 4490369"/>
              <a:gd name="connsiteX725" fmla="*/ 2858224 w 6569151"/>
              <a:gd name="connsiteY725" fmla="*/ 4055129 h 4490369"/>
              <a:gd name="connsiteX726" fmla="*/ 2881936 w 6569151"/>
              <a:gd name="connsiteY726" fmla="*/ 4043272 h 4490369"/>
              <a:gd name="connsiteX727" fmla="*/ 2899720 w 6569151"/>
              <a:gd name="connsiteY727" fmla="*/ 4007701 h 4490369"/>
              <a:gd name="connsiteX728" fmla="*/ 2923432 w 6569151"/>
              <a:gd name="connsiteY728" fmla="*/ 4001772 h 4490369"/>
              <a:gd name="connsiteX729" fmla="*/ 2941216 w 6569151"/>
              <a:gd name="connsiteY729" fmla="*/ 3960272 h 4490369"/>
              <a:gd name="connsiteX730" fmla="*/ 2964928 w 6569151"/>
              <a:gd name="connsiteY730" fmla="*/ 3954344 h 4490369"/>
              <a:gd name="connsiteX731" fmla="*/ 2976784 w 6569151"/>
              <a:gd name="connsiteY731" fmla="*/ 3924701 h 4490369"/>
              <a:gd name="connsiteX732" fmla="*/ 3000496 w 6569151"/>
              <a:gd name="connsiteY732" fmla="*/ 3918773 h 4490369"/>
              <a:gd name="connsiteX733" fmla="*/ 3012352 w 6569151"/>
              <a:gd name="connsiteY733" fmla="*/ 3865416 h 4490369"/>
              <a:gd name="connsiteX734" fmla="*/ 3012352 w 6569151"/>
              <a:gd name="connsiteY734" fmla="*/ 3841701 h 4490369"/>
              <a:gd name="connsiteX735" fmla="*/ 3006424 w 6569151"/>
              <a:gd name="connsiteY735" fmla="*/ 3829844 h 4490369"/>
              <a:gd name="connsiteX736" fmla="*/ 2994568 w 6569151"/>
              <a:gd name="connsiteY736" fmla="*/ 3835773 h 4490369"/>
              <a:gd name="connsiteX737" fmla="*/ 2994568 w 6569151"/>
              <a:gd name="connsiteY737" fmla="*/ 3853559 h 4490369"/>
              <a:gd name="connsiteX738" fmla="*/ 2935288 w 6569151"/>
              <a:gd name="connsiteY738" fmla="*/ 3930630 h 4490369"/>
              <a:gd name="connsiteX739" fmla="*/ 2923432 w 6569151"/>
              <a:gd name="connsiteY739" fmla="*/ 3912844 h 4490369"/>
              <a:gd name="connsiteX740" fmla="*/ 2917504 w 6569151"/>
              <a:gd name="connsiteY740" fmla="*/ 3918773 h 4490369"/>
              <a:gd name="connsiteX741" fmla="*/ 2917504 w 6569151"/>
              <a:gd name="connsiteY741" fmla="*/ 3924701 h 4490369"/>
              <a:gd name="connsiteX742" fmla="*/ 2935288 w 6569151"/>
              <a:gd name="connsiteY742" fmla="*/ 3930630 h 4490369"/>
              <a:gd name="connsiteX743" fmla="*/ 2899720 w 6569151"/>
              <a:gd name="connsiteY743" fmla="*/ 3972130 h 4490369"/>
              <a:gd name="connsiteX744" fmla="*/ 2887864 w 6569151"/>
              <a:gd name="connsiteY744" fmla="*/ 3972130 h 4490369"/>
              <a:gd name="connsiteX745" fmla="*/ 2881936 w 6569151"/>
              <a:gd name="connsiteY745" fmla="*/ 3918773 h 4490369"/>
              <a:gd name="connsiteX746" fmla="*/ 2870081 w 6569151"/>
              <a:gd name="connsiteY746" fmla="*/ 3924701 h 4490369"/>
              <a:gd name="connsiteX747" fmla="*/ 2876008 w 6569151"/>
              <a:gd name="connsiteY747" fmla="*/ 3960272 h 4490369"/>
              <a:gd name="connsiteX748" fmla="*/ 2887864 w 6569151"/>
              <a:gd name="connsiteY748" fmla="*/ 3972130 h 4490369"/>
              <a:gd name="connsiteX749" fmla="*/ 2870081 w 6569151"/>
              <a:gd name="connsiteY749" fmla="*/ 4001772 h 4490369"/>
              <a:gd name="connsiteX750" fmla="*/ 2858224 w 6569151"/>
              <a:gd name="connsiteY750" fmla="*/ 4001772 h 4490369"/>
              <a:gd name="connsiteX751" fmla="*/ 2852297 w 6569151"/>
              <a:gd name="connsiteY751" fmla="*/ 3948415 h 4490369"/>
              <a:gd name="connsiteX752" fmla="*/ 2846369 w 6569151"/>
              <a:gd name="connsiteY752" fmla="*/ 3948415 h 4490369"/>
              <a:gd name="connsiteX753" fmla="*/ 2828585 w 6569151"/>
              <a:gd name="connsiteY753" fmla="*/ 3954344 h 4490369"/>
              <a:gd name="connsiteX754" fmla="*/ 2822657 w 6569151"/>
              <a:gd name="connsiteY754" fmla="*/ 3989915 h 4490369"/>
              <a:gd name="connsiteX755" fmla="*/ 2840441 w 6569151"/>
              <a:gd name="connsiteY755" fmla="*/ 4031415 h 4490369"/>
              <a:gd name="connsiteX756" fmla="*/ 2804873 w 6569151"/>
              <a:gd name="connsiteY756" fmla="*/ 4066986 h 4490369"/>
              <a:gd name="connsiteX757" fmla="*/ 2798945 w 6569151"/>
              <a:gd name="connsiteY757" fmla="*/ 4049201 h 4490369"/>
              <a:gd name="connsiteX758" fmla="*/ 2816728 w 6569151"/>
              <a:gd name="connsiteY758" fmla="*/ 4025487 h 4490369"/>
              <a:gd name="connsiteX759" fmla="*/ 2810800 w 6569151"/>
              <a:gd name="connsiteY759" fmla="*/ 4013629 h 4490369"/>
              <a:gd name="connsiteX760" fmla="*/ 2793016 w 6569151"/>
              <a:gd name="connsiteY760" fmla="*/ 3989915 h 4490369"/>
              <a:gd name="connsiteX761" fmla="*/ 2763377 w 6569151"/>
              <a:gd name="connsiteY761" fmla="*/ 4013629 h 4490369"/>
              <a:gd name="connsiteX762" fmla="*/ 2739665 w 6569151"/>
              <a:gd name="connsiteY762" fmla="*/ 4037344 h 4490369"/>
              <a:gd name="connsiteX763" fmla="*/ 2721880 w 6569151"/>
              <a:gd name="connsiteY763" fmla="*/ 4049201 h 4490369"/>
              <a:gd name="connsiteX764" fmla="*/ 2627033 w 6569151"/>
              <a:gd name="connsiteY764" fmla="*/ 4126272 h 4490369"/>
              <a:gd name="connsiteX765" fmla="*/ 2579609 w 6569151"/>
              <a:gd name="connsiteY765" fmla="*/ 4167772 h 4490369"/>
              <a:gd name="connsiteX766" fmla="*/ 2532184 w 6569151"/>
              <a:gd name="connsiteY766" fmla="*/ 4203343 h 4490369"/>
              <a:gd name="connsiteX767" fmla="*/ 2496617 w 6569151"/>
              <a:gd name="connsiteY767" fmla="*/ 4238915 h 4490369"/>
              <a:gd name="connsiteX768" fmla="*/ 2389913 w 6569151"/>
              <a:gd name="connsiteY768" fmla="*/ 4327843 h 4490369"/>
              <a:gd name="connsiteX769" fmla="*/ 2378056 w 6569151"/>
              <a:gd name="connsiteY769" fmla="*/ 4339700 h 4490369"/>
              <a:gd name="connsiteX770" fmla="*/ 2271352 w 6569151"/>
              <a:gd name="connsiteY770" fmla="*/ 4416771 h 4490369"/>
              <a:gd name="connsiteX771" fmla="*/ 2212073 w 6569151"/>
              <a:gd name="connsiteY771" fmla="*/ 4464199 h 4490369"/>
              <a:gd name="connsiteX772" fmla="*/ 2164649 w 6569151"/>
              <a:gd name="connsiteY772" fmla="*/ 4487914 h 4490369"/>
              <a:gd name="connsiteX773" fmla="*/ 2152793 w 6569151"/>
              <a:gd name="connsiteY773" fmla="*/ 4481985 h 4490369"/>
              <a:gd name="connsiteX774" fmla="*/ 2164649 w 6569151"/>
              <a:gd name="connsiteY774" fmla="*/ 4458271 h 4490369"/>
              <a:gd name="connsiteX775" fmla="*/ 2170577 w 6569151"/>
              <a:gd name="connsiteY775" fmla="*/ 4404914 h 4490369"/>
              <a:gd name="connsiteX776" fmla="*/ 2170577 w 6569151"/>
              <a:gd name="connsiteY776" fmla="*/ 4398985 h 4490369"/>
              <a:gd name="connsiteX777" fmla="*/ 2200216 w 6569151"/>
              <a:gd name="connsiteY777" fmla="*/ 4393057 h 4490369"/>
              <a:gd name="connsiteX778" fmla="*/ 2194289 w 6569151"/>
              <a:gd name="connsiteY778" fmla="*/ 4369343 h 4490369"/>
              <a:gd name="connsiteX779" fmla="*/ 2206144 w 6569151"/>
              <a:gd name="connsiteY779" fmla="*/ 4345628 h 4490369"/>
              <a:gd name="connsiteX780" fmla="*/ 2194289 w 6569151"/>
              <a:gd name="connsiteY780" fmla="*/ 4321914 h 4490369"/>
              <a:gd name="connsiteX781" fmla="*/ 2170577 w 6569151"/>
              <a:gd name="connsiteY781" fmla="*/ 4363414 h 4490369"/>
              <a:gd name="connsiteX782" fmla="*/ 2152793 w 6569151"/>
              <a:gd name="connsiteY782" fmla="*/ 4357486 h 4490369"/>
              <a:gd name="connsiteX783" fmla="*/ 2164649 w 6569151"/>
              <a:gd name="connsiteY783" fmla="*/ 4286343 h 4490369"/>
              <a:gd name="connsiteX784" fmla="*/ 2170577 w 6569151"/>
              <a:gd name="connsiteY784" fmla="*/ 4185557 h 4490369"/>
              <a:gd name="connsiteX785" fmla="*/ 2176504 w 6569151"/>
              <a:gd name="connsiteY785" fmla="*/ 4238915 h 4490369"/>
              <a:gd name="connsiteX786" fmla="*/ 2182432 w 6569151"/>
              <a:gd name="connsiteY786" fmla="*/ 4280414 h 4490369"/>
              <a:gd name="connsiteX787" fmla="*/ 2194289 w 6569151"/>
              <a:gd name="connsiteY787" fmla="*/ 4274486 h 4490369"/>
              <a:gd name="connsiteX788" fmla="*/ 2200216 w 6569151"/>
              <a:gd name="connsiteY788" fmla="*/ 4256700 h 4490369"/>
              <a:gd name="connsiteX789" fmla="*/ 2200216 w 6569151"/>
              <a:gd name="connsiteY789" fmla="*/ 4155915 h 4490369"/>
              <a:gd name="connsiteX790" fmla="*/ 2212073 w 6569151"/>
              <a:gd name="connsiteY790" fmla="*/ 4066986 h 4490369"/>
              <a:gd name="connsiteX791" fmla="*/ 2200216 w 6569151"/>
              <a:gd name="connsiteY791" fmla="*/ 4013629 h 4490369"/>
              <a:gd name="connsiteX792" fmla="*/ 2194289 w 6569151"/>
              <a:gd name="connsiteY792" fmla="*/ 3995844 h 4490369"/>
              <a:gd name="connsiteX793" fmla="*/ 2188361 w 6569151"/>
              <a:gd name="connsiteY793" fmla="*/ 3995844 h 4490369"/>
              <a:gd name="connsiteX794" fmla="*/ 2170577 w 6569151"/>
              <a:gd name="connsiteY794" fmla="*/ 4078844 h 4490369"/>
              <a:gd name="connsiteX795" fmla="*/ 2146865 w 6569151"/>
              <a:gd name="connsiteY795" fmla="*/ 4096629 h 4490369"/>
              <a:gd name="connsiteX796" fmla="*/ 2129081 w 6569151"/>
              <a:gd name="connsiteY796" fmla="*/ 4114415 h 4490369"/>
              <a:gd name="connsiteX797" fmla="*/ 2111296 w 6569151"/>
              <a:gd name="connsiteY797" fmla="*/ 4096629 h 4490369"/>
              <a:gd name="connsiteX798" fmla="*/ 2117224 w 6569151"/>
              <a:gd name="connsiteY798" fmla="*/ 4072915 h 4490369"/>
              <a:gd name="connsiteX799" fmla="*/ 2111296 w 6569151"/>
              <a:gd name="connsiteY799" fmla="*/ 4066986 h 4490369"/>
              <a:gd name="connsiteX800" fmla="*/ 2105369 w 6569151"/>
              <a:gd name="connsiteY800" fmla="*/ 4078844 h 4490369"/>
              <a:gd name="connsiteX801" fmla="*/ 2111296 w 6569151"/>
              <a:gd name="connsiteY801" fmla="*/ 4096629 h 4490369"/>
              <a:gd name="connsiteX802" fmla="*/ 2105369 w 6569151"/>
              <a:gd name="connsiteY802" fmla="*/ 4120343 h 4490369"/>
              <a:gd name="connsiteX803" fmla="*/ 2075729 w 6569151"/>
              <a:gd name="connsiteY803" fmla="*/ 4155915 h 4490369"/>
              <a:gd name="connsiteX804" fmla="*/ 2052017 w 6569151"/>
              <a:gd name="connsiteY804" fmla="*/ 4167772 h 4490369"/>
              <a:gd name="connsiteX805" fmla="*/ 2046089 w 6569151"/>
              <a:gd name="connsiteY805" fmla="*/ 4126272 h 4490369"/>
              <a:gd name="connsiteX806" fmla="*/ 2069801 w 6569151"/>
              <a:gd name="connsiteY806" fmla="*/ 4108486 h 4490369"/>
              <a:gd name="connsiteX807" fmla="*/ 2052017 w 6569151"/>
              <a:gd name="connsiteY807" fmla="*/ 4102558 h 4490369"/>
              <a:gd name="connsiteX808" fmla="*/ 2034233 w 6569151"/>
              <a:gd name="connsiteY808" fmla="*/ 4096629 h 4490369"/>
              <a:gd name="connsiteX809" fmla="*/ 2028305 w 6569151"/>
              <a:gd name="connsiteY809" fmla="*/ 4144058 h 4490369"/>
              <a:gd name="connsiteX810" fmla="*/ 2028305 w 6569151"/>
              <a:gd name="connsiteY810" fmla="*/ 4197415 h 4490369"/>
              <a:gd name="connsiteX811" fmla="*/ 2016449 w 6569151"/>
              <a:gd name="connsiteY811" fmla="*/ 4215200 h 4490369"/>
              <a:gd name="connsiteX812" fmla="*/ 1992737 w 6569151"/>
              <a:gd name="connsiteY812" fmla="*/ 4227057 h 4490369"/>
              <a:gd name="connsiteX813" fmla="*/ 1974953 w 6569151"/>
              <a:gd name="connsiteY813" fmla="*/ 4244843 h 4490369"/>
              <a:gd name="connsiteX814" fmla="*/ 1957169 w 6569151"/>
              <a:gd name="connsiteY814" fmla="*/ 4227057 h 4490369"/>
              <a:gd name="connsiteX815" fmla="*/ 1945313 w 6569151"/>
              <a:gd name="connsiteY815" fmla="*/ 4232986 h 4490369"/>
              <a:gd name="connsiteX816" fmla="*/ 1939385 w 6569151"/>
              <a:gd name="connsiteY816" fmla="*/ 4274486 h 4490369"/>
              <a:gd name="connsiteX817" fmla="*/ 1933457 w 6569151"/>
              <a:gd name="connsiteY817" fmla="*/ 4280414 h 4490369"/>
              <a:gd name="connsiteX818" fmla="*/ 1927529 w 6569151"/>
              <a:gd name="connsiteY818" fmla="*/ 4232986 h 4490369"/>
              <a:gd name="connsiteX819" fmla="*/ 1921601 w 6569151"/>
              <a:gd name="connsiteY819" fmla="*/ 4191486 h 4490369"/>
              <a:gd name="connsiteX820" fmla="*/ 1921601 w 6569151"/>
              <a:gd name="connsiteY820" fmla="*/ 4149986 h 4490369"/>
              <a:gd name="connsiteX821" fmla="*/ 1915673 w 6569151"/>
              <a:gd name="connsiteY821" fmla="*/ 4108486 h 4490369"/>
              <a:gd name="connsiteX822" fmla="*/ 1909745 w 6569151"/>
              <a:gd name="connsiteY822" fmla="*/ 4149986 h 4490369"/>
              <a:gd name="connsiteX823" fmla="*/ 1903817 w 6569151"/>
              <a:gd name="connsiteY823" fmla="*/ 4185557 h 4490369"/>
              <a:gd name="connsiteX824" fmla="*/ 1909745 w 6569151"/>
              <a:gd name="connsiteY824" fmla="*/ 4227057 h 4490369"/>
              <a:gd name="connsiteX825" fmla="*/ 1903817 w 6569151"/>
              <a:gd name="connsiteY825" fmla="*/ 4262629 h 4490369"/>
              <a:gd name="connsiteX826" fmla="*/ 1915673 w 6569151"/>
              <a:gd name="connsiteY826" fmla="*/ 4292272 h 4490369"/>
              <a:gd name="connsiteX827" fmla="*/ 1868249 w 6569151"/>
              <a:gd name="connsiteY827" fmla="*/ 4339700 h 4490369"/>
              <a:gd name="connsiteX828" fmla="*/ 1814897 w 6569151"/>
              <a:gd name="connsiteY828" fmla="*/ 4393057 h 4490369"/>
              <a:gd name="connsiteX829" fmla="*/ 1808969 w 6569151"/>
              <a:gd name="connsiteY829" fmla="*/ 4363414 h 4490369"/>
              <a:gd name="connsiteX830" fmla="*/ 1838609 w 6569151"/>
              <a:gd name="connsiteY830" fmla="*/ 4351557 h 4490369"/>
              <a:gd name="connsiteX831" fmla="*/ 1850465 w 6569151"/>
              <a:gd name="connsiteY831" fmla="*/ 4327843 h 4490369"/>
              <a:gd name="connsiteX832" fmla="*/ 1868249 w 6569151"/>
              <a:gd name="connsiteY832" fmla="*/ 4310057 h 4490369"/>
              <a:gd name="connsiteX833" fmla="*/ 1874177 w 6569151"/>
              <a:gd name="connsiteY833" fmla="*/ 4298200 h 4490369"/>
              <a:gd name="connsiteX834" fmla="*/ 1886033 w 6569151"/>
              <a:gd name="connsiteY834" fmla="*/ 4244843 h 4490369"/>
              <a:gd name="connsiteX835" fmla="*/ 1880105 w 6569151"/>
              <a:gd name="connsiteY835" fmla="*/ 4167772 h 4490369"/>
              <a:gd name="connsiteX836" fmla="*/ 1880105 w 6569151"/>
              <a:gd name="connsiteY836" fmla="*/ 4126272 h 4490369"/>
              <a:gd name="connsiteX837" fmla="*/ 1891961 w 6569151"/>
              <a:gd name="connsiteY837" fmla="*/ 4102558 h 4490369"/>
              <a:gd name="connsiteX838" fmla="*/ 1868249 w 6569151"/>
              <a:gd name="connsiteY838" fmla="*/ 4096629 h 4490369"/>
              <a:gd name="connsiteX839" fmla="*/ 1862321 w 6569151"/>
              <a:gd name="connsiteY839" fmla="*/ 4120343 h 4490369"/>
              <a:gd name="connsiteX840" fmla="*/ 1862321 w 6569151"/>
              <a:gd name="connsiteY840" fmla="*/ 4161843 h 4490369"/>
              <a:gd name="connsiteX841" fmla="*/ 1850465 w 6569151"/>
              <a:gd name="connsiteY841" fmla="*/ 4173700 h 4490369"/>
              <a:gd name="connsiteX842" fmla="*/ 1844537 w 6569151"/>
              <a:gd name="connsiteY842" fmla="*/ 4161843 h 4490369"/>
              <a:gd name="connsiteX843" fmla="*/ 1838609 w 6569151"/>
              <a:gd name="connsiteY843" fmla="*/ 4138129 h 4490369"/>
              <a:gd name="connsiteX844" fmla="*/ 1820825 w 6569151"/>
              <a:gd name="connsiteY844" fmla="*/ 4173700 h 4490369"/>
              <a:gd name="connsiteX845" fmla="*/ 1838609 w 6569151"/>
              <a:gd name="connsiteY845" fmla="*/ 4209272 h 4490369"/>
              <a:gd name="connsiteX846" fmla="*/ 1856393 w 6569151"/>
              <a:gd name="connsiteY846" fmla="*/ 4203343 h 4490369"/>
              <a:gd name="connsiteX847" fmla="*/ 1856393 w 6569151"/>
              <a:gd name="connsiteY847" fmla="*/ 4215200 h 4490369"/>
              <a:gd name="connsiteX848" fmla="*/ 1838609 w 6569151"/>
              <a:gd name="connsiteY848" fmla="*/ 4227057 h 4490369"/>
              <a:gd name="connsiteX849" fmla="*/ 1832681 w 6569151"/>
              <a:gd name="connsiteY849" fmla="*/ 4238915 h 4490369"/>
              <a:gd name="connsiteX850" fmla="*/ 1826753 w 6569151"/>
              <a:gd name="connsiteY850" fmla="*/ 4286343 h 4490369"/>
              <a:gd name="connsiteX851" fmla="*/ 1814897 w 6569151"/>
              <a:gd name="connsiteY851" fmla="*/ 4339700 h 4490369"/>
              <a:gd name="connsiteX852" fmla="*/ 1785257 w 6569151"/>
              <a:gd name="connsiteY852" fmla="*/ 4333771 h 4490369"/>
              <a:gd name="connsiteX853" fmla="*/ 1779329 w 6569151"/>
              <a:gd name="connsiteY853" fmla="*/ 4422700 h 4490369"/>
              <a:gd name="connsiteX854" fmla="*/ 1767473 w 6569151"/>
              <a:gd name="connsiteY854" fmla="*/ 4428628 h 4490369"/>
              <a:gd name="connsiteX855" fmla="*/ 1749689 w 6569151"/>
              <a:gd name="connsiteY855" fmla="*/ 4416771 h 4490369"/>
              <a:gd name="connsiteX856" fmla="*/ 1737833 w 6569151"/>
              <a:gd name="connsiteY856" fmla="*/ 4416771 h 4490369"/>
              <a:gd name="connsiteX857" fmla="*/ 1725977 w 6569151"/>
              <a:gd name="connsiteY857" fmla="*/ 4458271 h 4490369"/>
              <a:gd name="connsiteX858" fmla="*/ 1714121 w 6569151"/>
              <a:gd name="connsiteY858" fmla="*/ 4470128 h 4490369"/>
              <a:gd name="connsiteX859" fmla="*/ 1714121 w 6569151"/>
              <a:gd name="connsiteY859" fmla="*/ 4387128 h 4490369"/>
              <a:gd name="connsiteX860" fmla="*/ 1714121 w 6569151"/>
              <a:gd name="connsiteY860" fmla="*/ 4363414 h 4490369"/>
              <a:gd name="connsiteX861" fmla="*/ 1714121 w 6569151"/>
              <a:gd name="connsiteY861" fmla="*/ 4292272 h 4490369"/>
              <a:gd name="connsiteX862" fmla="*/ 1702265 w 6569151"/>
              <a:gd name="connsiteY862" fmla="*/ 4280414 h 4490369"/>
              <a:gd name="connsiteX863" fmla="*/ 1708193 w 6569151"/>
              <a:gd name="connsiteY863" fmla="*/ 4232986 h 4490369"/>
              <a:gd name="connsiteX864" fmla="*/ 1702265 w 6569151"/>
              <a:gd name="connsiteY864" fmla="*/ 4221129 h 4490369"/>
              <a:gd name="connsiteX865" fmla="*/ 1690409 w 6569151"/>
              <a:gd name="connsiteY865" fmla="*/ 4221129 h 4490369"/>
              <a:gd name="connsiteX866" fmla="*/ 1690409 w 6569151"/>
              <a:gd name="connsiteY866" fmla="*/ 4238915 h 4490369"/>
              <a:gd name="connsiteX867" fmla="*/ 1690409 w 6569151"/>
              <a:gd name="connsiteY867" fmla="*/ 4256700 h 4490369"/>
              <a:gd name="connsiteX868" fmla="*/ 1648913 w 6569151"/>
              <a:gd name="connsiteY868" fmla="*/ 4244843 h 4490369"/>
              <a:gd name="connsiteX869" fmla="*/ 1619273 w 6569151"/>
              <a:gd name="connsiteY869" fmla="*/ 4227057 h 4490369"/>
              <a:gd name="connsiteX870" fmla="*/ 1601489 w 6569151"/>
              <a:gd name="connsiteY870" fmla="*/ 4268557 h 4490369"/>
              <a:gd name="connsiteX871" fmla="*/ 1583705 w 6569151"/>
              <a:gd name="connsiteY871" fmla="*/ 4256700 h 4490369"/>
              <a:gd name="connsiteX872" fmla="*/ 1565921 w 6569151"/>
              <a:gd name="connsiteY872" fmla="*/ 4304129 h 4490369"/>
              <a:gd name="connsiteX873" fmla="*/ 1554065 w 6569151"/>
              <a:gd name="connsiteY873" fmla="*/ 4286343 h 4490369"/>
              <a:gd name="connsiteX874" fmla="*/ 1548137 w 6569151"/>
              <a:gd name="connsiteY874" fmla="*/ 4250772 h 4490369"/>
              <a:gd name="connsiteX875" fmla="*/ 1559993 w 6569151"/>
              <a:gd name="connsiteY875" fmla="*/ 4209272 h 4490369"/>
              <a:gd name="connsiteX876" fmla="*/ 1548137 w 6569151"/>
              <a:gd name="connsiteY876" fmla="*/ 4167772 h 4490369"/>
              <a:gd name="connsiteX877" fmla="*/ 1554065 w 6569151"/>
              <a:gd name="connsiteY877" fmla="*/ 4126272 h 4490369"/>
              <a:gd name="connsiteX878" fmla="*/ 1559993 w 6569151"/>
              <a:gd name="connsiteY878" fmla="*/ 4114415 h 4490369"/>
              <a:gd name="connsiteX879" fmla="*/ 1571849 w 6569151"/>
              <a:gd name="connsiteY879" fmla="*/ 4132200 h 4490369"/>
              <a:gd name="connsiteX880" fmla="*/ 1577777 w 6569151"/>
              <a:gd name="connsiteY880" fmla="*/ 4191486 h 4490369"/>
              <a:gd name="connsiteX881" fmla="*/ 1589633 w 6569151"/>
              <a:gd name="connsiteY881" fmla="*/ 4197415 h 4490369"/>
              <a:gd name="connsiteX882" fmla="*/ 1583705 w 6569151"/>
              <a:gd name="connsiteY882" fmla="*/ 4072915 h 4490369"/>
              <a:gd name="connsiteX883" fmla="*/ 1571849 w 6569151"/>
              <a:gd name="connsiteY883" fmla="*/ 4072915 h 4490369"/>
              <a:gd name="connsiteX884" fmla="*/ 1565921 w 6569151"/>
              <a:gd name="connsiteY884" fmla="*/ 4078844 h 4490369"/>
              <a:gd name="connsiteX885" fmla="*/ 1559993 w 6569151"/>
              <a:gd name="connsiteY885" fmla="*/ 4078844 h 4490369"/>
              <a:gd name="connsiteX886" fmla="*/ 1542209 w 6569151"/>
              <a:gd name="connsiteY886" fmla="*/ 4037344 h 4490369"/>
              <a:gd name="connsiteX887" fmla="*/ 1536281 w 6569151"/>
              <a:gd name="connsiteY887" fmla="*/ 4078844 h 4490369"/>
              <a:gd name="connsiteX888" fmla="*/ 1536281 w 6569151"/>
              <a:gd name="connsiteY888" fmla="*/ 4120343 h 4490369"/>
              <a:gd name="connsiteX889" fmla="*/ 1530353 w 6569151"/>
              <a:gd name="connsiteY889" fmla="*/ 4155915 h 4490369"/>
              <a:gd name="connsiteX890" fmla="*/ 1524425 w 6569151"/>
              <a:gd name="connsiteY890" fmla="*/ 4179629 h 4490369"/>
              <a:gd name="connsiteX891" fmla="*/ 1512569 w 6569151"/>
              <a:gd name="connsiteY891" fmla="*/ 4161843 h 4490369"/>
              <a:gd name="connsiteX892" fmla="*/ 1512569 w 6569151"/>
              <a:gd name="connsiteY892" fmla="*/ 4102558 h 4490369"/>
              <a:gd name="connsiteX893" fmla="*/ 1506641 w 6569151"/>
              <a:gd name="connsiteY893" fmla="*/ 4078844 h 4490369"/>
              <a:gd name="connsiteX894" fmla="*/ 1512569 w 6569151"/>
              <a:gd name="connsiteY894" fmla="*/ 4037344 h 4490369"/>
              <a:gd name="connsiteX895" fmla="*/ 1506641 w 6569151"/>
              <a:gd name="connsiteY895" fmla="*/ 4007701 h 4490369"/>
              <a:gd name="connsiteX896" fmla="*/ 1524425 w 6569151"/>
              <a:gd name="connsiteY896" fmla="*/ 3942487 h 4490369"/>
              <a:gd name="connsiteX897" fmla="*/ 1506641 w 6569151"/>
              <a:gd name="connsiteY897" fmla="*/ 3924701 h 4490369"/>
              <a:gd name="connsiteX898" fmla="*/ 1524425 w 6569151"/>
              <a:gd name="connsiteY898" fmla="*/ 3895058 h 4490369"/>
              <a:gd name="connsiteX899" fmla="*/ 1536281 w 6569151"/>
              <a:gd name="connsiteY899" fmla="*/ 3942487 h 4490369"/>
              <a:gd name="connsiteX900" fmla="*/ 1536281 w 6569151"/>
              <a:gd name="connsiteY900" fmla="*/ 3989915 h 4490369"/>
              <a:gd name="connsiteX901" fmla="*/ 1554065 w 6569151"/>
              <a:gd name="connsiteY901" fmla="*/ 3954344 h 4490369"/>
              <a:gd name="connsiteX902" fmla="*/ 1559993 w 6569151"/>
              <a:gd name="connsiteY902" fmla="*/ 3918773 h 4490369"/>
              <a:gd name="connsiteX903" fmla="*/ 1583705 w 6569151"/>
              <a:gd name="connsiteY903" fmla="*/ 3912844 h 4490369"/>
              <a:gd name="connsiteX904" fmla="*/ 1583705 w 6569151"/>
              <a:gd name="connsiteY904" fmla="*/ 3847630 h 4490369"/>
              <a:gd name="connsiteX905" fmla="*/ 1589633 w 6569151"/>
              <a:gd name="connsiteY905" fmla="*/ 3823916 h 4490369"/>
              <a:gd name="connsiteX906" fmla="*/ 1595561 w 6569151"/>
              <a:gd name="connsiteY906" fmla="*/ 3800202 h 4490369"/>
              <a:gd name="connsiteX907" fmla="*/ 1583705 w 6569151"/>
              <a:gd name="connsiteY907" fmla="*/ 3770559 h 4490369"/>
              <a:gd name="connsiteX908" fmla="*/ 1577777 w 6569151"/>
              <a:gd name="connsiteY908" fmla="*/ 3734988 h 4490369"/>
              <a:gd name="connsiteX909" fmla="*/ 1559993 w 6569151"/>
              <a:gd name="connsiteY909" fmla="*/ 3723130 h 4490369"/>
              <a:gd name="connsiteX910" fmla="*/ 1559993 w 6569151"/>
              <a:gd name="connsiteY910" fmla="*/ 3634202 h 4490369"/>
              <a:gd name="connsiteX911" fmla="*/ 1571849 w 6569151"/>
              <a:gd name="connsiteY911" fmla="*/ 3610488 h 4490369"/>
              <a:gd name="connsiteX912" fmla="*/ 1577777 w 6569151"/>
              <a:gd name="connsiteY912" fmla="*/ 3646059 h 4490369"/>
              <a:gd name="connsiteX913" fmla="*/ 1571849 w 6569151"/>
              <a:gd name="connsiteY913" fmla="*/ 3699416 h 4490369"/>
              <a:gd name="connsiteX914" fmla="*/ 1571849 w 6569151"/>
              <a:gd name="connsiteY914" fmla="*/ 3711273 h 4490369"/>
              <a:gd name="connsiteX915" fmla="*/ 1589633 w 6569151"/>
              <a:gd name="connsiteY915" fmla="*/ 3717202 h 4490369"/>
              <a:gd name="connsiteX916" fmla="*/ 1601489 w 6569151"/>
              <a:gd name="connsiteY916" fmla="*/ 3687559 h 4490369"/>
              <a:gd name="connsiteX917" fmla="*/ 1607417 w 6569151"/>
              <a:gd name="connsiteY917" fmla="*/ 3693488 h 4490369"/>
              <a:gd name="connsiteX918" fmla="*/ 1619273 w 6569151"/>
              <a:gd name="connsiteY918" fmla="*/ 3740916 h 4490369"/>
              <a:gd name="connsiteX919" fmla="*/ 1625201 w 6569151"/>
              <a:gd name="connsiteY919" fmla="*/ 3752773 h 4490369"/>
              <a:gd name="connsiteX920" fmla="*/ 1666697 w 6569151"/>
              <a:gd name="connsiteY920" fmla="*/ 3746845 h 4490369"/>
              <a:gd name="connsiteX921" fmla="*/ 1672625 w 6569151"/>
              <a:gd name="connsiteY921" fmla="*/ 3699416 h 4490369"/>
              <a:gd name="connsiteX922" fmla="*/ 1666697 w 6569151"/>
              <a:gd name="connsiteY922" fmla="*/ 3687559 h 4490369"/>
              <a:gd name="connsiteX923" fmla="*/ 1654841 w 6569151"/>
              <a:gd name="connsiteY923" fmla="*/ 3699416 h 4490369"/>
              <a:gd name="connsiteX924" fmla="*/ 1654841 w 6569151"/>
              <a:gd name="connsiteY924" fmla="*/ 3723130 h 4490369"/>
              <a:gd name="connsiteX925" fmla="*/ 1648913 w 6569151"/>
              <a:gd name="connsiteY925" fmla="*/ 3734988 h 4490369"/>
              <a:gd name="connsiteX926" fmla="*/ 1637057 w 6569151"/>
              <a:gd name="connsiteY926" fmla="*/ 3729059 h 4490369"/>
              <a:gd name="connsiteX927" fmla="*/ 1631129 w 6569151"/>
              <a:gd name="connsiteY927" fmla="*/ 3717202 h 4490369"/>
              <a:gd name="connsiteX928" fmla="*/ 1631129 w 6569151"/>
              <a:gd name="connsiteY928" fmla="*/ 3675702 h 4490369"/>
              <a:gd name="connsiteX929" fmla="*/ 1637057 w 6569151"/>
              <a:gd name="connsiteY929" fmla="*/ 3634202 h 4490369"/>
              <a:gd name="connsiteX930" fmla="*/ 1637057 w 6569151"/>
              <a:gd name="connsiteY930" fmla="*/ 3610488 h 4490369"/>
              <a:gd name="connsiteX931" fmla="*/ 1625201 w 6569151"/>
              <a:gd name="connsiteY931" fmla="*/ 3551202 h 4490369"/>
              <a:gd name="connsiteX932" fmla="*/ 1619273 w 6569151"/>
              <a:gd name="connsiteY932" fmla="*/ 3545274 h 4490369"/>
              <a:gd name="connsiteX933" fmla="*/ 1613345 w 6569151"/>
              <a:gd name="connsiteY933" fmla="*/ 3580845 h 4490369"/>
              <a:gd name="connsiteX934" fmla="*/ 1595561 w 6569151"/>
              <a:gd name="connsiteY934" fmla="*/ 3610488 h 4490369"/>
              <a:gd name="connsiteX935" fmla="*/ 1571849 w 6569151"/>
              <a:gd name="connsiteY935" fmla="*/ 3610488 h 4490369"/>
              <a:gd name="connsiteX936" fmla="*/ 1559993 w 6569151"/>
              <a:gd name="connsiteY936" fmla="*/ 3586774 h 4490369"/>
              <a:gd name="connsiteX937" fmla="*/ 1565921 w 6569151"/>
              <a:gd name="connsiteY937" fmla="*/ 3568988 h 4490369"/>
              <a:gd name="connsiteX938" fmla="*/ 1583705 w 6569151"/>
              <a:gd name="connsiteY938" fmla="*/ 3580845 h 4490369"/>
              <a:gd name="connsiteX939" fmla="*/ 1589633 w 6569151"/>
              <a:gd name="connsiteY939" fmla="*/ 3574917 h 4490369"/>
              <a:gd name="connsiteX940" fmla="*/ 1589633 w 6569151"/>
              <a:gd name="connsiteY940" fmla="*/ 3545274 h 4490369"/>
              <a:gd name="connsiteX941" fmla="*/ 1595561 w 6569151"/>
              <a:gd name="connsiteY941" fmla="*/ 3480060 h 4490369"/>
              <a:gd name="connsiteX942" fmla="*/ 1619273 w 6569151"/>
              <a:gd name="connsiteY942" fmla="*/ 3474131 h 4490369"/>
              <a:gd name="connsiteX943" fmla="*/ 1637057 w 6569151"/>
              <a:gd name="connsiteY943" fmla="*/ 3444489 h 4490369"/>
              <a:gd name="connsiteX944" fmla="*/ 1625201 w 6569151"/>
              <a:gd name="connsiteY944" fmla="*/ 3414846 h 4490369"/>
              <a:gd name="connsiteX945" fmla="*/ 1631129 w 6569151"/>
              <a:gd name="connsiteY945" fmla="*/ 3397060 h 4490369"/>
              <a:gd name="connsiteX946" fmla="*/ 1672625 w 6569151"/>
              <a:gd name="connsiteY946" fmla="*/ 3397060 h 4490369"/>
              <a:gd name="connsiteX947" fmla="*/ 1666697 w 6569151"/>
              <a:gd name="connsiteY947" fmla="*/ 3373346 h 4490369"/>
              <a:gd name="connsiteX948" fmla="*/ 1684481 w 6569151"/>
              <a:gd name="connsiteY948" fmla="*/ 3361489 h 4490369"/>
              <a:gd name="connsiteX949" fmla="*/ 1678553 w 6569151"/>
              <a:gd name="connsiteY949" fmla="*/ 3325917 h 4490369"/>
              <a:gd name="connsiteX950" fmla="*/ 1672625 w 6569151"/>
              <a:gd name="connsiteY950" fmla="*/ 3296275 h 4490369"/>
              <a:gd name="connsiteX951" fmla="*/ 1690409 w 6569151"/>
              <a:gd name="connsiteY951" fmla="*/ 3302203 h 4490369"/>
              <a:gd name="connsiteX952" fmla="*/ 1702265 w 6569151"/>
              <a:gd name="connsiteY952" fmla="*/ 3314060 h 4490369"/>
              <a:gd name="connsiteX953" fmla="*/ 1714121 w 6569151"/>
              <a:gd name="connsiteY953" fmla="*/ 3302203 h 4490369"/>
              <a:gd name="connsiteX954" fmla="*/ 1714121 w 6569151"/>
              <a:gd name="connsiteY954" fmla="*/ 3248846 h 4490369"/>
              <a:gd name="connsiteX955" fmla="*/ 1720049 w 6569151"/>
              <a:gd name="connsiteY955" fmla="*/ 3225132 h 4490369"/>
              <a:gd name="connsiteX956" fmla="*/ 1761545 w 6569151"/>
              <a:gd name="connsiteY956" fmla="*/ 3225132 h 4490369"/>
              <a:gd name="connsiteX957" fmla="*/ 1791185 w 6569151"/>
              <a:gd name="connsiteY957" fmla="*/ 3225132 h 4490369"/>
              <a:gd name="connsiteX958" fmla="*/ 1808969 w 6569151"/>
              <a:gd name="connsiteY958" fmla="*/ 3195489 h 4490369"/>
              <a:gd name="connsiteX959" fmla="*/ 1808969 w 6569151"/>
              <a:gd name="connsiteY959" fmla="*/ 3094704 h 4490369"/>
              <a:gd name="connsiteX960" fmla="*/ 1814897 w 6569151"/>
              <a:gd name="connsiteY960" fmla="*/ 3070990 h 4490369"/>
              <a:gd name="connsiteX961" fmla="*/ 1820825 w 6569151"/>
              <a:gd name="connsiteY961" fmla="*/ 3047276 h 4490369"/>
              <a:gd name="connsiteX962" fmla="*/ 1838609 w 6569151"/>
              <a:gd name="connsiteY962" fmla="*/ 3088775 h 4490369"/>
              <a:gd name="connsiteX963" fmla="*/ 1832681 w 6569151"/>
              <a:gd name="connsiteY963" fmla="*/ 3112490 h 4490369"/>
              <a:gd name="connsiteX964" fmla="*/ 1850465 w 6569151"/>
              <a:gd name="connsiteY964" fmla="*/ 3148061 h 4490369"/>
              <a:gd name="connsiteX965" fmla="*/ 1891961 w 6569151"/>
              <a:gd name="connsiteY965" fmla="*/ 3112490 h 4490369"/>
              <a:gd name="connsiteX966" fmla="*/ 1880105 w 6569151"/>
              <a:gd name="connsiteY966" fmla="*/ 3106561 h 4490369"/>
              <a:gd name="connsiteX967" fmla="*/ 1868249 w 6569151"/>
              <a:gd name="connsiteY967" fmla="*/ 3124347 h 4490369"/>
              <a:gd name="connsiteX968" fmla="*/ 1862321 w 6569151"/>
              <a:gd name="connsiteY968" fmla="*/ 3130275 h 4490369"/>
              <a:gd name="connsiteX969" fmla="*/ 1856393 w 6569151"/>
              <a:gd name="connsiteY969" fmla="*/ 3130275 h 4490369"/>
              <a:gd name="connsiteX970" fmla="*/ 1856393 w 6569151"/>
              <a:gd name="connsiteY970" fmla="*/ 3124347 h 4490369"/>
              <a:gd name="connsiteX971" fmla="*/ 1868249 w 6569151"/>
              <a:gd name="connsiteY971" fmla="*/ 3076918 h 4490369"/>
              <a:gd name="connsiteX972" fmla="*/ 1891961 w 6569151"/>
              <a:gd name="connsiteY972" fmla="*/ 3053204 h 4490369"/>
              <a:gd name="connsiteX973" fmla="*/ 1891961 w 6569151"/>
              <a:gd name="connsiteY973" fmla="*/ 3005776 h 4490369"/>
              <a:gd name="connsiteX974" fmla="*/ 1897889 w 6569151"/>
              <a:gd name="connsiteY974" fmla="*/ 2993919 h 4490369"/>
              <a:gd name="connsiteX975" fmla="*/ 1903817 w 6569151"/>
              <a:gd name="connsiteY975" fmla="*/ 2993919 h 4490369"/>
              <a:gd name="connsiteX976" fmla="*/ 1921601 w 6569151"/>
              <a:gd name="connsiteY976" fmla="*/ 3017633 h 4490369"/>
              <a:gd name="connsiteX977" fmla="*/ 1933457 w 6569151"/>
              <a:gd name="connsiteY977" fmla="*/ 2976133 h 4490369"/>
              <a:gd name="connsiteX978" fmla="*/ 1933457 w 6569151"/>
              <a:gd name="connsiteY978" fmla="*/ 2958347 h 4490369"/>
              <a:gd name="connsiteX979" fmla="*/ 1945313 w 6569151"/>
              <a:gd name="connsiteY979" fmla="*/ 2910919 h 4490369"/>
              <a:gd name="connsiteX980" fmla="*/ 1957169 w 6569151"/>
              <a:gd name="connsiteY980" fmla="*/ 2887205 h 4490369"/>
              <a:gd name="connsiteX981" fmla="*/ 2004593 w 6569151"/>
              <a:gd name="connsiteY981" fmla="*/ 2857562 h 4490369"/>
              <a:gd name="connsiteX982" fmla="*/ 2004593 w 6569151"/>
              <a:gd name="connsiteY982" fmla="*/ 2816062 h 4490369"/>
              <a:gd name="connsiteX983" fmla="*/ 1980881 w 6569151"/>
              <a:gd name="connsiteY983" fmla="*/ 2786419 h 4490369"/>
              <a:gd name="connsiteX984" fmla="*/ 1957169 w 6569151"/>
              <a:gd name="connsiteY984" fmla="*/ 2738991 h 4490369"/>
              <a:gd name="connsiteX985" fmla="*/ 1939385 w 6569151"/>
              <a:gd name="connsiteY985" fmla="*/ 2727134 h 4490369"/>
              <a:gd name="connsiteX986" fmla="*/ 1933457 w 6569151"/>
              <a:gd name="connsiteY986" fmla="*/ 2691562 h 4490369"/>
              <a:gd name="connsiteX987" fmla="*/ 1933457 w 6569151"/>
              <a:gd name="connsiteY987" fmla="*/ 2661920 h 4490369"/>
              <a:gd name="connsiteX988" fmla="*/ 1927529 w 6569151"/>
              <a:gd name="connsiteY988" fmla="*/ 2632277 h 4490369"/>
              <a:gd name="connsiteX989" fmla="*/ 1915673 w 6569151"/>
              <a:gd name="connsiteY989" fmla="*/ 2679705 h 4490369"/>
              <a:gd name="connsiteX990" fmla="*/ 1903817 w 6569151"/>
              <a:gd name="connsiteY990" fmla="*/ 2721205 h 4490369"/>
              <a:gd name="connsiteX991" fmla="*/ 1897889 w 6569151"/>
              <a:gd name="connsiteY991" fmla="*/ 2721205 h 4490369"/>
              <a:gd name="connsiteX992" fmla="*/ 1891961 w 6569151"/>
              <a:gd name="connsiteY992" fmla="*/ 2685634 h 4490369"/>
              <a:gd name="connsiteX993" fmla="*/ 1903817 w 6569151"/>
              <a:gd name="connsiteY993" fmla="*/ 2650063 h 4490369"/>
              <a:gd name="connsiteX994" fmla="*/ 1886033 w 6569151"/>
              <a:gd name="connsiteY994" fmla="*/ 2632277 h 4490369"/>
              <a:gd name="connsiteX995" fmla="*/ 1874177 w 6569151"/>
              <a:gd name="connsiteY995" fmla="*/ 2679705 h 4490369"/>
              <a:gd name="connsiteX996" fmla="*/ 1850465 w 6569151"/>
              <a:gd name="connsiteY996" fmla="*/ 2709348 h 4490369"/>
              <a:gd name="connsiteX997" fmla="*/ 1844537 w 6569151"/>
              <a:gd name="connsiteY997" fmla="*/ 2768634 h 4490369"/>
              <a:gd name="connsiteX998" fmla="*/ 1862321 w 6569151"/>
              <a:gd name="connsiteY998" fmla="*/ 2738991 h 4490369"/>
              <a:gd name="connsiteX999" fmla="*/ 1850465 w 6569151"/>
              <a:gd name="connsiteY999" fmla="*/ 2709348 h 4490369"/>
              <a:gd name="connsiteX1000" fmla="*/ 1874177 w 6569151"/>
              <a:gd name="connsiteY1000" fmla="*/ 2709348 h 4490369"/>
              <a:gd name="connsiteX1001" fmla="*/ 1862321 w 6569151"/>
              <a:gd name="connsiteY1001" fmla="*/ 2792348 h 4490369"/>
              <a:gd name="connsiteX1002" fmla="*/ 1862321 w 6569151"/>
              <a:gd name="connsiteY1002" fmla="*/ 2786419 h 4490369"/>
              <a:gd name="connsiteX1003" fmla="*/ 1838609 w 6569151"/>
              <a:gd name="connsiteY1003" fmla="*/ 2792348 h 4490369"/>
              <a:gd name="connsiteX1004" fmla="*/ 1826753 w 6569151"/>
              <a:gd name="connsiteY1004" fmla="*/ 2804205 h 4490369"/>
              <a:gd name="connsiteX1005" fmla="*/ 1808969 w 6569151"/>
              <a:gd name="connsiteY1005" fmla="*/ 2810134 h 4490369"/>
              <a:gd name="connsiteX1006" fmla="*/ 1779329 w 6569151"/>
              <a:gd name="connsiteY1006" fmla="*/ 2827919 h 4490369"/>
              <a:gd name="connsiteX1007" fmla="*/ 1767473 w 6569151"/>
              <a:gd name="connsiteY1007" fmla="*/ 2821991 h 4490369"/>
              <a:gd name="connsiteX1008" fmla="*/ 1755617 w 6569151"/>
              <a:gd name="connsiteY1008" fmla="*/ 2821991 h 4490369"/>
              <a:gd name="connsiteX1009" fmla="*/ 1743761 w 6569151"/>
              <a:gd name="connsiteY1009" fmla="*/ 2863490 h 4490369"/>
              <a:gd name="connsiteX1010" fmla="*/ 1737833 w 6569151"/>
              <a:gd name="connsiteY1010" fmla="*/ 2881276 h 4490369"/>
              <a:gd name="connsiteX1011" fmla="*/ 1714121 w 6569151"/>
              <a:gd name="connsiteY1011" fmla="*/ 2887205 h 4490369"/>
              <a:gd name="connsiteX1012" fmla="*/ 1684481 w 6569151"/>
              <a:gd name="connsiteY1012" fmla="*/ 2958347 h 4490369"/>
              <a:gd name="connsiteX1013" fmla="*/ 1678553 w 6569151"/>
              <a:gd name="connsiteY1013" fmla="*/ 2964276 h 4490369"/>
              <a:gd name="connsiteX1014" fmla="*/ 1660769 w 6569151"/>
              <a:gd name="connsiteY1014" fmla="*/ 2952419 h 4490369"/>
              <a:gd name="connsiteX1015" fmla="*/ 1648913 w 6569151"/>
              <a:gd name="connsiteY1015" fmla="*/ 2958347 h 4490369"/>
              <a:gd name="connsiteX1016" fmla="*/ 1648913 w 6569151"/>
              <a:gd name="connsiteY1016" fmla="*/ 2982062 h 4490369"/>
              <a:gd name="connsiteX1017" fmla="*/ 1648913 w 6569151"/>
              <a:gd name="connsiteY1017" fmla="*/ 2993919 h 4490369"/>
              <a:gd name="connsiteX1018" fmla="*/ 1619273 w 6569151"/>
              <a:gd name="connsiteY1018" fmla="*/ 3017633 h 4490369"/>
              <a:gd name="connsiteX1019" fmla="*/ 1613345 w 6569151"/>
              <a:gd name="connsiteY1019" fmla="*/ 3041347 h 4490369"/>
              <a:gd name="connsiteX1020" fmla="*/ 1589633 w 6569151"/>
              <a:gd name="connsiteY1020" fmla="*/ 3035418 h 4490369"/>
              <a:gd name="connsiteX1021" fmla="*/ 1536281 w 6569151"/>
              <a:gd name="connsiteY1021" fmla="*/ 3088775 h 4490369"/>
              <a:gd name="connsiteX1022" fmla="*/ 1477001 w 6569151"/>
              <a:gd name="connsiteY1022" fmla="*/ 3136204 h 4490369"/>
              <a:gd name="connsiteX1023" fmla="*/ 1453289 w 6569151"/>
              <a:gd name="connsiteY1023" fmla="*/ 3201418 h 4490369"/>
              <a:gd name="connsiteX1024" fmla="*/ 1441433 w 6569151"/>
              <a:gd name="connsiteY1024" fmla="*/ 3207346 h 4490369"/>
              <a:gd name="connsiteX1025" fmla="*/ 1376225 w 6569151"/>
              <a:gd name="connsiteY1025" fmla="*/ 3213275 h 4490369"/>
              <a:gd name="connsiteX1026" fmla="*/ 1370297 w 6569151"/>
              <a:gd name="connsiteY1026" fmla="*/ 3189561 h 4490369"/>
              <a:gd name="connsiteX1027" fmla="*/ 1388081 w 6569151"/>
              <a:gd name="connsiteY1027" fmla="*/ 3171775 h 4490369"/>
              <a:gd name="connsiteX1028" fmla="*/ 1388081 w 6569151"/>
              <a:gd name="connsiteY1028" fmla="*/ 3183632 h 4490369"/>
              <a:gd name="connsiteX1029" fmla="*/ 1399937 w 6569151"/>
              <a:gd name="connsiteY1029" fmla="*/ 3183632 h 4490369"/>
              <a:gd name="connsiteX1030" fmla="*/ 1399937 w 6569151"/>
              <a:gd name="connsiteY1030" fmla="*/ 3177704 h 4490369"/>
              <a:gd name="connsiteX1031" fmla="*/ 1388081 w 6569151"/>
              <a:gd name="connsiteY1031" fmla="*/ 3171775 h 4490369"/>
              <a:gd name="connsiteX1032" fmla="*/ 1394009 w 6569151"/>
              <a:gd name="connsiteY1032" fmla="*/ 3148061 h 4490369"/>
              <a:gd name="connsiteX1033" fmla="*/ 1364369 w 6569151"/>
              <a:gd name="connsiteY1033" fmla="*/ 3153989 h 4490369"/>
              <a:gd name="connsiteX1034" fmla="*/ 1352513 w 6569151"/>
              <a:gd name="connsiteY1034" fmla="*/ 3201418 h 4490369"/>
              <a:gd name="connsiteX1035" fmla="*/ 1352513 w 6569151"/>
              <a:gd name="connsiteY1035" fmla="*/ 3236989 h 4490369"/>
              <a:gd name="connsiteX1036" fmla="*/ 1352513 w 6569151"/>
              <a:gd name="connsiteY1036" fmla="*/ 3242918 h 4490369"/>
              <a:gd name="connsiteX1037" fmla="*/ 1340657 w 6569151"/>
              <a:gd name="connsiteY1037" fmla="*/ 3331846 h 4490369"/>
              <a:gd name="connsiteX1038" fmla="*/ 1293233 w 6569151"/>
              <a:gd name="connsiteY1038" fmla="*/ 3349632 h 4490369"/>
              <a:gd name="connsiteX1039" fmla="*/ 1281377 w 6569151"/>
              <a:gd name="connsiteY1039" fmla="*/ 3373346 h 4490369"/>
              <a:gd name="connsiteX1040" fmla="*/ 1257665 w 6569151"/>
              <a:gd name="connsiteY1040" fmla="*/ 3361489 h 4490369"/>
              <a:gd name="connsiteX1041" fmla="*/ 1245809 w 6569151"/>
              <a:gd name="connsiteY1041" fmla="*/ 3367417 h 4490369"/>
              <a:gd name="connsiteX1042" fmla="*/ 1222097 w 6569151"/>
              <a:gd name="connsiteY1042" fmla="*/ 3314060 h 4490369"/>
              <a:gd name="connsiteX1043" fmla="*/ 1216169 w 6569151"/>
              <a:gd name="connsiteY1043" fmla="*/ 3314060 h 4490369"/>
              <a:gd name="connsiteX1044" fmla="*/ 1180601 w 6569151"/>
              <a:gd name="connsiteY1044" fmla="*/ 3349632 h 4490369"/>
              <a:gd name="connsiteX1045" fmla="*/ 1168745 w 6569151"/>
              <a:gd name="connsiteY1045" fmla="*/ 3379274 h 4490369"/>
              <a:gd name="connsiteX1046" fmla="*/ 1174673 w 6569151"/>
              <a:gd name="connsiteY1046" fmla="*/ 3397060 h 4490369"/>
              <a:gd name="connsiteX1047" fmla="*/ 1162817 w 6569151"/>
              <a:gd name="connsiteY1047" fmla="*/ 3420774 h 4490369"/>
              <a:gd name="connsiteX1048" fmla="*/ 1150961 w 6569151"/>
              <a:gd name="connsiteY1048" fmla="*/ 3438560 h 4490369"/>
              <a:gd name="connsiteX1049" fmla="*/ 1145033 w 6569151"/>
              <a:gd name="connsiteY1049" fmla="*/ 3432631 h 4490369"/>
              <a:gd name="connsiteX1050" fmla="*/ 1139105 w 6569151"/>
              <a:gd name="connsiteY1050" fmla="*/ 3408917 h 4490369"/>
              <a:gd name="connsiteX1051" fmla="*/ 1139105 w 6569151"/>
              <a:gd name="connsiteY1051" fmla="*/ 3397060 h 4490369"/>
              <a:gd name="connsiteX1052" fmla="*/ 1145033 w 6569151"/>
              <a:gd name="connsiteY1052" fmla="*/ 3385203 h 4490369"/>
              <a:gd name="connsiteX1053" fmla="*/ 1133177 w 6569151"/>
              <a:gd name="connsiteY1053" fmla="*/ 3379274 h 4490369"/>
              <a:gd name="connsiteX1054" fmla="*/ 1115393 w 6569151"/>
              <a:gd name="connsiteY1054" fmla="*/ 3385203 h 4490369"/>
              <a:gd name="connsiteX1055" fmla="*/ 1097609 w 6569151"/>
              <a:gd name="connsiteY1055" fmla="*/ 3379274 h 4490369"/>
              <a:gd name="connsiteX1056" fmla="*/ 1097453 w 6569151"/>
              <a:gd name="connsiteY1056" fmla="*/ 3378182 h 4490369"/>
              <a:gd name="connsiteX1057" fmla="*/ 1097609 w 6569151"/>
              <a:gd name="connsiteY1057" fmla="*/ 3373346 h 4490369"/>
              <a:gd name="connsiteX1058" fmla="*/ 1091681 w 6569151"/>
              <a:gd name="connsiteY1058" fmla="*/ 3373346 h 4490369"/>
              <a:gd name="connsiteX1059" fmla="*/ 1096868 w 6569151"/>
              <a:gd name="connsiteY1059" fmla="*/ 3374087 h 4490369"/>
              <a:gd name="connsiteX1060" fmla="*/ 1097453 w 6569151"/>
              <a:gd name="connsiteY1060" fmla="*/ 3378182 h 4490369"/>
              <a:gd name="connsiteX1061" fmla="*/ 1096868 w 6569151"/>
              <a:gd name="connsiteY1061" fmla="*/ 3396319 h 4490369"/>
              <a:gd name="connsiteX1062" fmla="*/ 1091681 w 6569151"/>
              <a:gd name="connsiteY1062" fmla="*/ 3414846 h 4490369"/>
              <a:gd name="connsiteX1063" fmla="*/ 1091681 w 6569151"/>
              <a:gd name="connsiteY1063" fmla="*/ 3462274 h 4490369"/>
              <a:gd name="connsiteX1064" fmla="*/ 1121321 w 6569151"/>
              <a:gd name="connsiteY1064" fmla="*/ 3480060 h 4490369"/>
              <a:gd name="connsiteX1065" fmla="*/ 1109465 w 6569151"/>
              <a:gd name="connsiteY1065" fmla="*/ 3551202 h 4490369"/>
              <a:gd name="connsiteX1066" fmla="*/ 1097609 w 6569151"/>
              <a:gd name="connsiteY1066" fmla="*/ 3521560 h 4490369"/>
              <a:gd name="connsiteX1067" fmla="*/ 1103537 w 6569151"/>
              <a:gd name="connsiteY1067" fmla="*/ 3515631 h 4490369"/>
              <a:gd name="connsiteX1068" fmla="*/ 1097609 w 6569151"/>
              <a:gd name="connsiteY1068" fmla="*/ 3509703 h 4490369"/>
              <a:gd name="connsiteX1069" fmla="*/ 1097609 w 6569151"/>
              <a:gd name="connsiteY1069" fmla="*/ 3515631 h 4490369"/>
              <a:gd name="connsiteX1070" fmla="*/ 1097609 w 6569151"/>
              <a:gd name="connsiteY1070" fmla="*/ 3521560 h 4490369"/>
              <a:gd name="connsiteX1071" fmla="*/ 1085753 w 6569151"/>
              <a:gd name="connsiteY1071" fmla="*/ 3539345 h 4490369"/>
              <a:gd name="connsiteX1072" fmla="*/ 1085753 w 6569151"/>
              <a:gd name="connsiteY1072" fmla="*/ 3574917 h 4490369"/>
              <a:gd name="connsiteX1073" fmla="*/ 1067969 w 6569151"/>
              <a:gd name="connsiteY1073" fmla="*/ 3580845 h 4490369"/>
              <a:gd name="connsiteX1074" fmla="*/ 1067969 w 6569151"/>
              <a:gd name="connsiteY1074" fmla="*/ 3551202 h 4490369"/>
              <a:gd name="connsiteX1075" fmla="*/ 1050185 w 6569151"/>
              <a:gd name="connsiteY1075" fmla="*/ 3551202 h 4490369"/>
              <a:gd name="connsiteX1076" fmla="*/ 1020545 w 6569151"/>
              <a:gd name="connsiteY1076" fmla="*/ 3574917 h 4490369"/>
              <a:gd name="connsiteX1077" fmla="*/ 1002761 w 6569151"/>
              <a:gd name="connsiteY1077" fmla="*/ 3539345 h 4490369"/>
              <a:gd name="connsiteX1078" fmla="*/ 967193 w 6569151"/>
              <a:gd name="connsiteY1078" fmla="*/ 3551202 h 4490369"/>
              <a:gd name="connsiteX1079" fmla="*/ 955337 w 6569151"/>
              <a:gd name="connsiteY1079" fmla="*/ 3574917 h 4490369"/>
              <a:gd name="connsiteX1080" fmla="*/ 931625 w 6569151"/>
              <a:gd name="connsiteY1080" fmla="*/ 3586774 h 4490369"/>
              <a:gd name="connsiteX1081" fmla="*/ 919769 w 6569151"/>
              <a:gd name="connsiteY1081" fmla="*/ 3616417 h 4490369"/>
              <a:gd name="connsiteX1082" fmla="*/ 925697 w 6569151"/>
              <a:gd name="connsiteY1082" fmla="*/ 3640131 h 4490369"/>
              <a:gd name="connsiteX1083" fmla="*/ 907913 w 6569151"/>
              <a:gd name="connsiteY1083" fmla="*/ 3669773 h 4490369"/>
              <a:gd name="connsiteX1084" fmla="*/ 890129 w 6569151"/>
              <a:gd name="connsiteY1084" fmla="*/ 3663845 h 4490369"/>
              <a:gd name="connsiteX1085" fmla="*/ 872345 w 6569151"/>
              <a:gd name="connsiteY1085" fmla="*/ 3693488 h 4490369"/>
              <a:gd name="connsiteX1086" fmla="*/ 860489 w 6569151"/>
              <a:gd name="connsiteY1086" fmla="*/ 3693488 h 4490369"/>
              <a:gd name="connsiteX1087" fmla="*/ 854561 w 6569151"/>
              <a:gd name="connsiteY1087" fmla="*/ 3669773 h 4490369"/>
              <a:gd name="connsiteX1088" fmla="*/ 854561 w 6569151"/>
              <a:gd name="connsiteY1088" fmla="*/ 3663845 h 4490369"/>
              <a:gd name="connsiteX1089" fmla="*/ 830849 w 6569151"/>
              <a:gd name="connsiteY1089" fmla="*/ 3669773 h 4490369"/>
              <a:gd name="connsiteX1090" fmla="*/ 801209 w 6569151"/>
              <a:gd name="connsiteY1090" fmla="*/ 3663845 h 4490369"/>
              <a:gd name="connsiteX1091" fmla="*/ 789353 w 6569151"/>
              <a:gd name="connsiteY1091" fmla="*/ 3681631 h 4490369"/>
              <a:gd name="connsiteX1092" fmla="*/ 771569 w 6569151"/>
              <a:gd name="connsiteY1092" fmla="*/ 3705345 h 4490369"/>
              <a:gd name="connsiteX1093" fmla="*/ 765641 w 6569151"/>
              <a:gd name="connsiteY1093" fmla="*/ 3705345 h 4490369"/>
              <a:gd name="connsiteX1094" fmla="*/ 765641 w 6569151"/>
              <a:gd name="connsiteY1094" fmla="*/ 3693488 h 4490369"/>
              <a:gd name="connsiteX1095" fmla="*/ 777497 w 6569151"/>
              <a:gd name="connsiteY1095" fmla="*/ 3657916 h 4490369"/>
              <a:gd name="connsiteX1096" fmla="*/ 777497 w 6569151"/>
              <a:gd name="connsiteY1096" fmla="*/ 3628274 h 4490369"/>
              <a:gd name="connsiteX1097" fmla="*/ 783425 w 6569151"/>
              <a:gd name="connsiteY1097" fmla="*/ 3610488 h 4490369"/>
              <a:gd name="connsiteX1098" fmla="*/ 795281 w 6569151"/>
              <a:gd name="connsiteY1098" fmla="*/ 3610488 h 4490369"/>
              <a:gd name="connsiteX1099" fmla="*/ 807137 w 6569151"/>
              <a:gd name="connsiteY1099" fmla="*/ 3640131 h 4490369"/>
              <a:gd name="connsiteX1100" fmla="*/ 824921 w 6569151"/>
              <a:gd name="connsiteY1100" fmla="*/ 3598631 h 4490369"/>
              <a:gd name="connsiteX1101" fmla="*/ 818993 w 6569151"/>
              <a:gd name="connsiteY1101" fmla="*/ 3545274 h 4490369"/>
              <a:gd name="connsiteX1102" fmla="*/ 830849 w 6569151"/>
              <a:gd name="connsiteY1102" fmla="*/ 3527488 h 4490369"/>
              <a:gd name="connsiteX1103" fmla="*/ 854561 w 6569151"/>
              <a:gd name="connsiteY1103" fmla="*/ 3491917 h 4490369"/>
              <a:gd name="connsiteX1104" fmla="*/ 848633 w 6569151"/>
              <a:gd name="connsiteY1104" fmla="*/ 3450417 h 4490369"/>
              <a:gd name="connsiteX1105" fmla="*/ 807137 w 6569151"/>
              <a:gd name="connsiteY1105" fmla="*/ 3462274 h 4490369"/>
              <a:gd name="connsiteX1106" fmla="*/ 783425 w 6569151"/>
              <a:gd name="connsiteY1106" fmla="*/ 3503774 h 4490369"/>
              <a:gd name="connsiteX1107" fmla="*/ 777497 w 6569151"/>
              <a:gd name="connsiteY1107" fmla="*/ 3539345 h 4490369"/>
              <a:gd name="connsiteX1108" fmla="*/ 747857 w 6569151"/>
              <a:gd name="connsiteY1108" fmla="*/ 3539345 h 4490369"/>
              <a:gd name="connsiteX1109" fmla="*/ 730073 w 6569151"/>
              <a:gd name="connsiteY1109" fmla="*/ 3509703 h 4490369"/>
              <a:gd name="connsiteX1110" fmla="*/ 759713 w 6569151"/>
              <a:gd name="connsiteY1110" fmla="*/ 3397060 h 4490369"/>
              <a:gd name="connsiteX1111" fmla="*/ 771569 w 6569151"/>
              <a:gd name="connsiteY1111" fmla="*/ 3361489 h 4490369"/>
              <a:gd name="connsiteX1112" fmla="*/ 824921 w 6569151"/>
              <a:gd name="connsiteY1112" fmla="*/ 3260703 h 4490369"/>
              <a:gd name="connsiteX1113" fmla="*/ 830849 w 6569151"/>
              <a:gd name="connsiteY1113" fmla="*/ 3225132 h 4490369"/>
              <a:gd name="connsiteX1114" fmla="*/ 830849 w 6569151"/>
              <a:gd name="connsiteY1114" fmla="*/ 3153989 h 4490369"/>
              <a:gd name="connsiteX1115" fmla="*/ 830849 w 6569151"/>
              <a:gd name="connsiteY1115" fmla="*/ 3094704 h 4490369"/>
              <a:gd name="connsiteX1116" fmla="*/ 842705 w 6569151"/>
              <a:gd name="connsiteY1116" fmla="*/ 3088775 h 4490369"/>
              <a:gd name="connsiteX1117" fmla="*/ 866417 w 6569151"/>
              <a:gd name="connsiteY1117" fmla="*/ 3112490 h 4490369"/>
              <a:gd name="connsiteX1118" fmla="*/ 878273 w 6569151"/>
              <a:gd name="connsiteY1118" fmla="*/ 3088775 h 4490369"/>
              <a:gd name="connsiteX1119" fmla="*/ 890129 w 6569151"/>
              <a:gd name="connsiteY1119" fmla="*/ 3088775 h 4490369"/>
              <a:gd name="connsiteX1120" fmla="*/ 901985 w 6569151"/>
              <a:gd name="connsiteY1120" fmla="*/ 3065061 h 4490369"/>
              <a:gd name="connsiteX1121" fmla="*/ 896057 w 6569151"/>
              <a:gd name="connsiteY1121" fmla="*/ 3005776 h 4490369"/>
              <a:gd name="connsiteX1122" fmla="*/ 913841 w 6569151"/>
              <a:gd name="connsiteY1122" fmla="*/ 2958347 h 4490369"/>
              <a:gd name="connsiteX1123" fmla="*/ 919769 w 6569151"/>
              <a:gd name="connsiteY1123" fmla="*/ 2910919 h 4490369"/>
              <a:gd name="connsiteX1124" fmla="*/ 943481 w 6569151"/>
              <a:gd name="connsiteY1124" fmla="*/ 2934633 h 4490369"/>
              <a:gd name="connsiteX1125" fmla="*/ 931625 w 6569151"/>
              <a:gd name="connsiteY1125" fmla="*/ 2976133 h 4490369"/>
              <a:gd name="connsiteX1126" fmla="*/ 937553 w 6569151"/>
              <a:gd name="connsiteY1126" fmla="*/ 2993919 h 4490369"/>
              <a:gd name="connsiteX1127" fmla="*/ 943481 w 6569151"/>
              <a:gd name="connsiteY1127" fmla="*/ 3017633 h 4490369"/>
              <a:gd name="connsiteX1128" fmla="*/ 967193 w 6569151"/>
              <a:gd name="connsiteY1128" fmla="*/ 2987990 h 4490369"/>
              <a:gd name="connsiteX1129" fmla="*/ 979049 w 6569151"/>
              <a:gd name="connsiteY1129" fmla="*/ 2952419 h 4490369"/>
              <a:gd name="connsiteX1130" fmla="*/ 961265 w 6569151"/>
              <a:gd name="connsiteY1130" fmla="*/ 2928705 h 4490369"/>
              <a:gd name="connsiteX1131" fmla="*/ 967193 w 6569151"/>
              <a:gd name="connsiteY1131" fmla="*/ 2904990 h 4490369"/>
              <a:gd name="connsiteX1132" fmla="*/ 1020545 w 6569151"/>
              <a:gd name="connsiteY1132" fmla="*/ 2910919 h 4490369"/>
              <a:gd name="connsiteX1133" fmla="*/ 1026473 w 6569151"/>
              <a:gd name="connsiteY1133" fmla="*/ 2899062 h 4490369"/>
              <a:gd name="connsiteX1134" fmla="*/ 1014617 w 6569151"/>
              <a:gd name="connsiteY1134" fmla="*/ 2869419 h 4490369"/>
              <a:gd name="connsiteX1135" fmla="*/ 1020545 w 6569151"/>
              <a:gd name="connsiteY1135" fmla="*/ 2869419 h 4490369"/>
              <a:gd name="connsiteX1136" fmla="*/ 1020545 w 6569151"/>
              <a:gd name="connsiteY1136" fmla="*/ 2863490 h 4490369"/>
              <a:gd name="connsiteX1137" fmla="*/ 1014617 w 6569151"/>
              <a:gd name="connsiteY1137" fmla="*/ 2869419 h 4490369"/>
              <a:gd name="connsiteX1138" fmla="*/ 1002761 w 6569151"/>
              <a:gd name="connsiteY1138" fmla="*/ 2863490 h 4490369"/>
              <a:gd name="connsiteX1139" fmla="*/ 984977 w 6569151"/>
              <a:gd name="connsiteY1139" fmla="*/ 2839776 h 4490369"/>
              <a:gd name="connsiteX1140" fmla="*/ 996833 w 6569151"/>
              <a:gd name="connsiteY1140" fmla="*/ 2798276 h 4490369"/>
              <a:gd name="connsiteX1141" fmla="*/ 1014617 w 6569151"/>
              <a:gd name="connsiteY1141" fmla="*/ 2792348 h 4490369"/>
              <a:gd name="connsiteX1142" fmla="*/ 1026473 w 6569151"/>
              <a:gd name="connsiteY1142" fmla="*/ 2792348 h 4490369"/>
              <a:gd name="connsiteX1143" fmla="*/ 1038329 w 6569151"/>
              <a:gd name="connsiteY1143" fmla="*/ 2750848 h 4490369"/>
              <a:gd name="connsiteX1144" fmla="*/ 1020545 w 6569151"/>
              <a:gd name="connsiteY1144" fmla="*/ 2727134 h 4490369"/>
              <a:gd name="connsiteX1145" fmla="*/ 1044257 w 6569151"/>
              <a:gd name="connsiteY1145" fmla="*/ 2685634 h 4490369"/>
              <a:gd name="connsiteX1146" fmla="*/ 1050185 w 6569151"/>
              <a:gd name="connsiteY1146" fmla="*/ 2727134 h 4490369"/>
              <a:gd name="connsiteX1147" fmla="*/ 1056113 w 6569151"/>
              <a:gd name="connsiteY1147" fmla="*/ 2727134 h 4490369"/>
              <a:gd name="connsiteX1148" fmla="*/ 1085753 w 6569151"/>
              <a:gd name="connsiteY1148" fmla="*/ 2679705 h 4490369"/>
              <a:gd name="connsiteX1149" fmla="*/ 1073897 w 6569151"/>
              <a:gd name="connsiteY1149" fmla="*/ 2632277 h 4490369"/>
              <a:gd name="connsiteX1150" fmla="*/ 1091681 w 6569151"/>
              <a:gd name="connsiteY1150" fmla="*/ 2590777 h 4490369"/>
              <a:gd name="connsiteX1151" fmla="*/ 1109465 w 6569151"/>
              <a:gd name="connsiteY1151" fmla="*/ 2602634 h 4490369"/>
              <a:gd name="connsiteX1152" fmla="*/ 1103537 w 6569151"/>
              <a:gd name="connsiteY1152" fmla="*/ 2661920 h 4490369"/>
              <a:gd name="connsiteX1153" fmla="*/ 1150961 w 6569151"/>
              <a:gd name="connsiteY1153" fmla="*/ 2697491 h 4490369"/>
              <a:gd name="connsiteX1154" fmla="*/ 1162817 w 6569151"/>
              <a:gd name="connsiteY1154" fmla="*/ 2644134 h 4490369"/>
              <a:gd name="connsiteX1155" fmla="*/ 1150961 w 6569151"/>
              <a:gd name="connsiteY1155" fmla="*/ 2626348 h 4490369"/>
              <a:gd name="connsiteX1156" fmla="*/ 1139105 w 6569151"/>
              <a:gd name="connsiteY1156" fmla="*/ 2655991 h 4490369"/>
              <a:gd name="connsiteX1157" fmla="*/ 1133177 w 6569151"/>
              <a:gd name="connsiteY1157" fmla="*/ 2655991 h 4490369"/>
              <a:gd name="connsiteX1158" fmla="*/ 1127249 w 6569151"/>
              <a:gd name="connsiteY1158" fmla="*/ 2638206 h 4490369"/>
              <a:gd name="connsiteX1159" fmla="*/ 1127249 w 6569151"/>
              <a:gd name="connsiteY1159" fmla="*/ 2614491 h 4490369"/>
              <a:gd name="connsiteX1160" fmla="*/ 1121321 w 6569151"/>
              <a:gd name="connsiteY1160" fmla="*/ 2578920 h 4490369"/>
              <a:gd name="connsiteX1161" fmla="*/ 1133177 w 6569151"/>
              <a:gd name="connsiteY1161" fmla="*/ 2537420 h 4490369"/>
              <a:gd name="connsiteX1162" fmla="*/ 1156889 w 6569151"/>
              <a:gd name="connsiteY1162" fmla="*/ 2537420 h 4490369"/>
              <a:gd name="connsiteX1163" fmla="*/ 1162817 w 6569151"/>
              <a:gd name="connsiteY1163" fmla="*/ 2525563 h 4490369"/>
              <a:gd name="connsiteX1164" fmla="*/ 1162817 w 6569151"/>
              <a:gd name="connsiteY1164" fmla="*/ 2478135 h 4490369"/>
              <a:gd name="connsiteX1165" fmla="*/ 1162817 w 6569151"/>
              <a:gd name="connsiteY1165" fmla="*/ 2436635 h 4490369"/>
              <a:gd name="connsiteX1166" fmla="*/ 1168745 w 6569151"/>
              <a:gd name="connsiteY1166" fmla="*/ 2424778 h 4490369"/>
              <a:gd name="connsiteX1167" fmla="*/ 1186529 w 6569151"/>
              <a:gd name="connsiteY1167" fmla="*/ 2430706 h 4490369"/>
              <a:gd name="connsiteX1168" fmla="*/ 1192457 w 6569151"/>
              <a:gd name="connsiteY1168" fmla="*/ 2442563 h 4490369"/>
              <a:gd name="connsiteX1169" fmla="*/ 1180601 w 6569151"/>
              <a:gd name="connsiteY1169" fmla="*/ 2495920 h 4490369"/>
              <a:gd name="connsiteX1170" fmla="*/ 1204313 w 6569151"/>
              <a:gd name="connsiteY1170" fmla="*/ 2495920 h 4490369"/>
              <a:gd name="connsiteX1171" fmla="*/ 1198385 w 6569151"/>
              <a:gd name="connsiteY1171" fmla="*/ 2472206 h 4490369"/>
              <a:gd name="connsiteX1172" fmla="*/ 1216169 w 6569151"/>
              <a:gd name="connsiteY1172" fmla="*/ 2442563 h 4490369"/>
              <a:gd name="connsiteX1173" fmla="*/ 1228025 w 6569151"/>
              <a:gd name="connsiteY1173" fmla="*/ 2448492 h 4490369"/>
              <a:gd name="connsiteX1174" fmla="*/ 1233953 w 6569151"/>
              <a:gd name="connsiteY1174" fmla="*/ 2484063 h 4490369"/>
              <a:gd name="connsiteX1175" fmla="*/ 1233953 w 6569151"/>
              <a:gd name="connsiteY1175" fmla="*/ 2531492 h 4490369"/>
              <a:gd name="connsiteX1176" fmla="*/ 1251737 w 6569151"/>
              <a:gd name="connsiteY1176" fmla="*/ 2495920 h 4490369"/>
              <a:gd name="connsiteX1177" fmla="*/ 1269521 w 6569151"/>
              <a:gd name="connsiteY1177" fmla="*/ 2489992 h 4490369"/>
              <a:gd name="connsiteX1178" fmla="*/ 1263593 w 6569151"/>
              <a:gd name="connsiteY1178" fmla="*/ 2472206 h 4490369"/>
              <a:gd name="connsiteX1179" fmla="*/ 1269521 w 6569151"/>
              <a:gd name="connsiteY1179" fmla="*/ 2460349 h 4490369"/>
              <a:gd name="connsiteX1180" fmla="*/ 1245809 w 6569151"/>
              <a:gd name="connsiteY1180" fmla="*/ 2430706 h 4490369"/>
              <a:gd name="connsiteX1181" fmla="*/ 1251737 w 6569151"/>
              <a:gd name="connsiteY1181" fmla="*/ 2401063 h 4490369"/>
              <a:gd name="connsiteX1182" fmla="*/ 1245809 w 6569151"/>
              <a:gd name="connsiteY1182" fmla="*/ 2371421 h 4490369"/>
              <a:gd name="connsiteX1183" fmla="*/ 1251737 w 6569151"/>
              <a:gd name="connsiteY1183" fmla="*/ 2365492 h 4490369"/>
              <a:gd name="connsiteX1184" fmla="*/ 1281377 w 6569151"/>
              <a:gd name="connsiteY1184" fmla="*/ 2377349 h 4490369"/>
              <a:gd name="connsiteX1185" fmla="*/ 1287305 w 6569151"/>
              <a:gd name="connsiteY1185" fmla="*/ 2347706 h 4490369"/>
              <a:gd name="connsiteX1186" fmla="*/ 1263593 w 6569151"/>
              <a:gd name="connsiteY1186" fmla="*/ 2312135 h 4490369"/>
              <a:gd name="connsiteX1187" fmla="*/ 1263593 w 6569151"/>
              <a:gd name="connsiteY1187" fmla="*/ 2306207 h 4490369"/>
              <a:gd name="connsiteX1188" fmla="*/ 1281377 w 6569151"/>
              <a:gd name="connsiteY1188" fmla="*/ 2300278 h 4490369"/>
              <a:gd name="connsiteX1189" fmla="*/ 1275449 w 6569151"/>
              <a:gd name="connsiteY1189" fmla="*/ 2270635 h 4490369"/>
              <a:gd name="connsiteX1190" fmla="*/ 1281377 w 6569151"/>
              <a:gd name="connsiteY1190" fmla="*/ 2246921 h 4490369"/>
              <a:gd name="connsiteX1191" fmla="*/ 1263593 w 6569151"/>
              <a:gd name="connsiteY1191" fmla="*/ 2246921 h 4490369"/>
              <a:gd name="connsiteX1192" fmla="*/ 1263593 w 6569151"/>
              <a:gd name="connsiteY1192" fmla="*/ 2276564 h 4490369"/>
              <a:gd name="connsiteX1193" fmla="*/ 1216169 w 6569151"/>
              <a:gd name="connsiteY1193" fmla="*/ 2294350 h 4490369"/>
              <a:gd name="connsiteX1194" fmla="*/ 1216169 w 6569151"/>
              <a:gd name="connsiteY1194" fmla="*/ 2318064 h 4490369"/>
              <a:gd name="connsiteX1195" fmla="*/ 1186529 w 6569151"/>
              <a:gd name="connsiteY1195" fmla="*/ 2318064 h 4490369"/>
              <a:gd name="connsiteX1196" fmla="*/ 1180601 w 6569151"/>
              <a:gd name="connsiteY1196" fmla="*/ 2335849 h 4490369"/>
              <a:gd name="connsiteX1197" fmla="*/ 1192457 w 6569151"/>
              <a:gd name="connsiteY1197" fmla="*/ 2347706 h 4490369"/>
              <a:gd name="connsiteX1198" fmla="*/ 1216169 w 6569151"/>
              <a:gd name="connsiteY1198" fmla="*/ 2347706 h 4490369"/>
              <a:gd name="connsiteX1199" fmla="*/ 1216169 w 6569151"/>
              <a:gd name="connsiteY1199" fmla="*/ 2395135 h 4490369"/>
              <a:gd name="connsiteX1200" fmla="*/ 1198385 w 6569151"/>
              <a:gd name="connsiteY1200" fmla="*/ 2395135 h 4490369"/>
              <a:gd name="connsiteX1201" fmla="*/ 1204313 w 6569151"/>
              <a:gd name="connsiteY1201" fmla="*/ 2371421 h 4490369"/>
              <a:gd name="connsiteX1202" fmla="*/ 1198385 w 6569151"/>
              <a:gd name="connsiteY1202" fmla="*/ 2371421 h 4490369"/>
              <a:gd name="connsiteX1203" fmla="*/ 1174673 w 6569151"/>
              <a:gd name="connsiteY1203" fmla="*/ 2383278 h 4490369"/>
              <a:gd name="connsiteX1204" fmla="*/ 1145033 w 6569151"/>
              <a:gd name="connsiteY1204" fmla="*/ 2359564 h 4490369"/>
              <a:gd name="connsiteX1205" fmla="*/ 1115393 w 6569151"/>
              <a:gd name="connsiteY1205" fmla="*/ 2377349 h 4490369"/>
              <a:gd name="connsiteX1206" fmla="*/ 1097609 w 6569151"/>
              <a:gd name="connsiteY1206" fmla="*/ 2406992 h 4490369"/>
              <a:gd name="connsiteX1207" fmla="*/ 1073897 w 6569151"/>
              <a:gd name="connsiteY1207" fmla="*/ 2406992 h 4490369"/>
              <a:gd name="connsiteX1208" fmla="*/ 1056113 w 6569151"/>
              <a:gd name="connsiteY1208" fmla="*/ 2424778 h 4490369"/>
              <a:gd name="connsiteX1209" fmla="*/ 1050185 w 6569151"/>
              <a:gd name="connsiteY1209" fmla="*/ 2484063 h 4490369"/>
              <a:gd name="connsiteX1210" fmla="*/ 1038329 w 6569151"/>
              <a:gd name="connsiteY1210" fmla="*/ 2489992 h 4490369"/>
              <a:gd name="connsiteX1211" fmla="*/ 1032401 w 6569151"/>
              <a:gd name="connsiteY1211" fmla="*/ 2484063 h 4490369"/>
              <a:gd name="connsiteX1212" fmla="*/ 1032401 w 6569151"/>
              <a:gd name="connsiteY1212" fmla="*/ 2472206 h 4490369"/>
              <a:gd name="connsiteX1213" fmla="*/ 1020545 w 6569151"/>
              <a:gd name="connsiteY1213" fmla="*/ 2460349 h 4490369"/>
              <a:gd name="connsiteX1214" fmla="*/ 1002761 w 6569151"/>
              <a:gd name="connsiteY1214" fmla="*/ 2489992 h 4490369"/>
              <a:gd name="connsiteX1215" fmla="*/ 943481 w 6569151"/>
              <a:gd name="connsiteY1215" fmla="*/ 2537420 h 4490369"/>
              <a:gd name="connsiteX1216" fmla="*/ 896057 w 6569151"/>
              <a:gd name="connsiteY1216" fmla="*/ 2578920 h 4490369"/>
              <a:gd name="connsiteX1217" fmla="*/ 884201 w 6569151"/>
              <a:gd name="connsiteY1217" fmla="*/ 2620420 h 4490369"/>
              <a:gd name="connsiteX1218" fmla="*/ 890129 w 6569151"/>
              <a:gd name="connsiteY1218" fmla="*/ 2644134 h 4490369"/>
              <a:gd name="connsiteX1219" fmla="*/ 878273 w 6569151"/>
              <a:gd name="connsiteY1219" fmla="*/ 2667848 h 4490369"/>
              <a:gd name="connsiteX1220" fmla="*/ 848633 w 6569151"/>
              <a:gd name="connsiteY1220" fmla="*/ 2650063 h 4490369"/>
              <a:gd name="connsiteX1221" fmla="*/ 824921 w 6569151"/>
              <a:gd name="connsiteY1221" fmla="*/ 2661920 h 4490369"/>
              <a:gd name="connsiteX1222" fmla="*/ 813065 w 6569151"/>
              <a:gd name="connsiteY1222" fmla="*/ 2685634 h 4490369"/>
              <a:gd name="connsiteX1223" fmla="*/ 818993 w 6569151"/>
              <a:gd name="connsiteY1223" fmla="*/ 2721205 h 4490369"/>
              <a:gd name="connsiteX1224" fmla="*/ 783425 w 6569151"/>
              <a:gd name="connsiteY1224" fmla="*/ 2709348 h 4490369"/>
              <a:gd name="connsiteX1225" fmla="*/ 777497 w 6569151"/>
              <a:gd name="connsiteY1225" fmla="*/ 2703420 h 4490369"/>
              <a:gd name="connsiteX1226" fmla="*/ 753785 w 6569151"/>
              <a:gd name="connsiteY1226" fmla="*/ 2738991 h 4490369"/>
              <a:gd name="connsiteX1227" fmla="*/ 724145 w 6569151"/>
              <a:gd name="connsiteY1227" fmla="*/ 2750848 h 4490369"/>
              <a:gd name="connsiteX1228" fmla="*/ 712289 w 6569151"/>
              <a:gd name="connsiteY1228" fmla="*/ 2792348 h 4490369"/>
              <a:gd name="connsiteX1229" fmla="*/ 682649 w 6569151"/>
              <a:gd name="connsiteY1229" fmla="*/ 2792348 h 4490369"/>
              <a:gd name="connsiteX1230" fmla="*/ 658937 w 6569151"/>
              <a:gd name="connsiteY1230" fmla="*/ 2810134 h 4490369"/>
              <a:gd name="connsiteX1231" fmla="*/ 641153 w 6569151"/>
              <a:gd name="connsiteY1231" fmla="*/ 2804205 h 4490369"/>
              <a:gd name="connsiteX1232" fmla="*/ 617441 w 6569151"/>
              <a:gd name="connsiteY1232" fmla="*/ 2816062 h 4490369"/>
              <a:gd name="connsiteX1233" fmla="*/ 593729 w 6569151"/>
              <a:gd name="connsiteY1233" fmla="*/ 2798276 h 4490369"/>
              <a:gd name="connsiteX1234" fmla="*/ 617441 w 6569151"/>
              <a:gd name="connsiteY1234" fmla="*/ 2780491 h 4490369"/>
              <a:gd name="connsiteX1235" fmla="*/ 641153 w 6569151"/>
              <a:gd name="connsiteY1235" fmla="*/ 2762705 h 4490369"/>
              <a:gd name="connsiteX1236" fmla="*/ 647081 w 6569151"/>
              <a:gd name="connsiteY1236" fmla="*/ 2744919 h 4490369"/>
              <a:gd name="connsiteX1237" fmla="*/ 653009 w 6569151"/>
              <a:gd name="connsiteY1237" fmla="*/ 2715277 h 4490369"/>
              <a:gd name="connsiteX1238" fmla="*/ 641894 w 6569151"/>
              <a:gd name="connsiteY1238" fmla="*/ 2696750 h 4490369"/>
              <a:gd name="connsiteX1239" fmla="*/ 636145 w 6569151"/>
              <a:gd name="connsiteY1239" fmla="*/ 2676946 h 4490369"/>
              <a:gd name="connsiteX1240" fmla="*/ 637342 w 6569151"/>
              <a:gd name="connsiteY1240" fmla="*/ 2673353 h 4490369"/>
              <a:gd name="connsiteX1241" fmla="*/ 638930 w 6569151"/>
              <a:gd name="connsiteY1241" fmla="*/ 2673036 h 4490369"/>
              <a:gd name="connsiteX1242" fmla="*/ 647081 w 6569151"/>
              <a:gd name="connsiteY1242" fmla="*/ 2667848 h 4490369"/>
              <a:gd name="connsiteX1243" fmla="*/ 641153 w 6569151"/>
              <a:gd name="connsiteY1243" fmla="*/ 2661920 h 4490369"/>
              <a:gd name="connsiteX1244" fmla="*/ 637342 w 6569151"/>
              <a:gd name="connsiteY1244" fmla="*/ 2673353 h 4490369"/>
              <a:gd name="connsiteX1245" fmla="*/ 635225 w 6569151"/>
              <a:gd name="connsiteY1245" fmla="*/ 2673777 h 4490369"/>
              <a:gd name="connsiteX1246" fmla="*/ 636145 w 6569151"/>
              <a:gd name="connsiteY1246" fmla="*/ 2676946 h 4490369"/>
              <a:gd name="connsiteX1247" fmla="*/ 635225 w 6569151"/>
              <a:gd name="connsiteY1247" fmla="*/ 2679705 h 4490369"/>
              <a:gd name="connsiteX1248" fmla="*/ 587801 w 6569151"/>
              <a:gd name="connsiteY1248" fmla="*/ 2709348 h 4490369"/>
              <a:gd name="connsiteX1249" fmla="*/ 564089 w 6569151"/>
              <a:gd name="connsiteY1249" fmla="*/ 2715277 h 4490369"/>
              <a:gd name="connsiteX1250" fmla="*/ 540377 w 6569151"/>
              <a:gd name="connsiteY1250" fmla="*/ 2709348 h 4490369"/>
              <a:gd name="connsiteX1251" fmla="*/ 552233 w 6569151"/>
              <a:gd name="connsiteY1251" fmla="*/ 2673777 h 4490369"/>
              <a:gd name="connsiteX1252" fmla="*/ 570017 w 6569151"/>
              <a:gd name="connsiteY1252" fmla="*/ 2679705 h 4490369"/>
              <a:gd name="connsiteX1253" fmla="*/ 605585 w 6569151"/>
              <a:gd name="connsiteY1253" fmla="*/ 2673777 h 4490369"/>
              <a:gd name="connsiteX1254" fmla="*/ 605585 w 6569151"/>
              <a:gd name="connsiteY1254" fmla="*/ 2661920 h 4490369"/>
              <a:gd name="connsiteX1255" fmla="*/ 593729 w 6569151"/>
              <a:gd name="connsiteY1255" fmla="*/ 2655991 h 4490369"/>
              <a:gd name="connsiteX1256" fmla="*/ 570017 w 6569151"/>
              <a:gd name="connsiteY1256" fmla="*/ 2650063 h 4490369"/>
              <a:gd name="connsiteX1257" fmla="*/ 522593 w 6569151"/>
              <a:gd name="connsiteY1257" fmla="*/ 2650063 h 4490369"/>
              <a:gd name="connsiteX1258" fmla="*/ 487025 w 6569151"/>
              <a:gd name="connsiteY1258" fmla="*/ 2661920 h 4490369"/>
              <a:gd name="connsiteX1259" fmla="*/ 481097 w 6569151"/>
              <a:gd name="connsiteY1259" fmla="*/ 2703420 h 4490369"/>
              <a:gd name="connsiteX1260" fmla="*/ 510737 w 6569151"/>
              <a:gd name="connsiteY1260" fmla="*/ 2721205 h 4490369"/>
              <a:gd name="connsiteX1261" fmla="*/ 504809 w 6569151"/>
              <a:gd name="connsiteY1261" fmla="*/ 2733062 h 4490369"/>
              <a:gd name="connsiteX1262" fmla="*/ 492953 w 6569151"/>
              <a:gd name="connsiteY1262" fmla="*/ 2727134 h 4490369"/>
              <a:gd name="connsiteX1263" fmla="*/ 487025 w 6569151"/>
              <a:gd name="connsiteY1263" fmla="*/ 2762705 h 4490369"/>
              <a:gd name="connsiteX1264" fmla="*/ 552233 w 6569151"/>
              <a:gd name="connsiteY1264" fmla="*/ 2762705 h 4490369"/>
              <a:gd name="connsiteX1265" fmla="*/ 564089 w 6569151"/>
              <a:gd name="connsiteY1265" fmla="*/ 2798276 h 4490369"/>
              <a:gd name="connsiteX1266" fmla="*/ 546305 w 6569151"/>
              <a:gd name="connsiteY1266" fmla="*/ 2821991 h 4490369"/>
              <a:gd name="connsiteX1267" fmla="*/ 516665 w 6569151"/>
              <a:gd name="connsiteY1267" fmla="*/ 2816062 h 4490369"/>
              <a:gd name="connsiteX1268" fmla="*/ 516665 w 6569151"/>
              <a:gd name="connsiteY1268" fmla="*/ 2845705 h 4490369"/>
              <a:gd name="connsiteX1269" fmla="*/ 546305 w 6569151"/>
              <a:gd name="connsiteY1269" fmla="*/ 2851633 h 4490369"/>
              <a:gd name="connsiteX1270" fmla="*/ 558161 w 6569151"/>
              <a:gd name="connsiteY1270" fmla="*/ 2857562 h 4490369"/>
              <a:gd name="connsiteX1271" fmla="*/ 587801 w 6569151"/>
              <a:gd name="connsiteY1271" fmla="*/ 2851633 h 4490369"/>
              <a:gd name="connsiteX1272" fmla="*/ 611513 w 6569151"/>
              <a:gd name="connsiteY1272" fmla="*/ 2845705 h 4490369"/>
              <a:gd name="connsiteX1273" fmla="*/ 617441 w 6569151"/>
              <a:gd name="connsiteY1273" fmla="*/ 2875348 h 4490369"/>
              <a:gd name="connsiteX1274" fmla="*/ 558161 w 6569151"/>
              <a:gd name="connsiteY1274" fmla="*/ 2910919 h 4490369"/>
              <a:gd name="connsiteX1275" fmla="*/ 570017 w 6569151"/>
              <a:gd name="connsiteY1275" fmla="*/ 2922776 h 4490369"/>
              <a:gd name="connsiteX1276" fmla="*/ 581873 w 6569151"/>
              <a:gd name="connsiteY1276" fmla="*/ 2928705 h 4490369"/>
              <a:gd name="connsiteX1277" fmla="*/ 570017 w 6569151"/>
              <a:gd name="connsiteY1277" fmla="*/ 2946490 h 4490369"/>
              <a:gd name="connsiteX1278" fmla="*/ 558161 w 6569151"/>
              <a:gd name="connsiteY1278" fmla="*/ 2952419 h 4490369"/>
              <a:gd name="connsiteX1279" fmla="*/ 552233 w 6569151"/>
              <a:gd name="connsiteY1279" fmla="*/ 2976133 h 4490369"/>
              <a:gd name="connsiteX1280" fmla="*/ 528521 w 6569151"/>
              <a:gd name="connsiteY1280" fmla="*/ 2993919 h 4490369"/>
              <a:gd name="connsiteX1281" fmla="*/ 510737 w 6569151"/>
              <a:gd name="connsiteY1281" fmla="*/ 2964276 h 4490369"/>
              <a:gd name="connsiteX1282" fmla="*/ 498881 w 6569151"/>
              <a:gd name="connsiteY1282" fmla="*/ 2952419 h 4490369"/>
              <a:gd name="connsiteX1283" fmla="*/ 475169 w 6569151"/>
              <a:gd name="connsiteY1283" fmla="*/ 2964276 h 4490369"/>
              <a:gd name="connsiteX1284" fmla="*/ 469241 w 6569151"/>
              <a:gd name="connsiteY1284" fmla="*/ 2964276 h 4490369"/>
              <a:gd name="connsiteX1285" fmla="*/ 433673 w 6569151"/>
              <a:gd name="connsiteY1285" fmla="*/ 2940562 h 4490369"/>
              <a:gd name="connsiteX1286" fmla="*/ 409961 w 6569151"/>
              <a:gd name="connsiteY1286" fmla="*/ 2893133 h 4490369"/>
              <a:gd name="connsiteX1287" fmla="*/ 380321 w 6569151"/>
              <a:gd name="connsiteY1287" fmla="*/ 2869419 h 4490369"/>
              <a:gd name="connsiteX1288" fmla="*/ 368465 w 6569151"/>
              <a:gd name="connsiteY1288" fmla="*/ 2821991 h 4490369"/>
              <a:gd name="connsiteX1289" fmla="*/ 350681 w 6569151"/>
              <a:gd name="connsiteY1289" fmla="*/ 2833848 h 4490369"/>
              <a:gd name="connsiteX1290" fmla="*/ 332897 w 6569151"/>
              <a:gd name="connsiteY1290" fmla="*/ 2816062 h 4490369"/>
              <a:gd name="connsiteX1291" fmla="*/ 321041 w 6569151"/>
              <a:gd name="connsiteY1291" fmla="*/ 2821991 h 4490369"/>
              <a:gd name="connsiteX1292" fmla="*/ 309185 w 6569151"/>
              <a:gd name="connsiteY1292" fmla="*/ 2845705 h 4490369"/>
              <a:gd name="connsiteX1293" fmla="*/ 291401 w 6569151"/>
              <a:gd name="connsiteY1293" fmla="*/ 2804205 h 4490369"/>
              <a:gd name="connsiteX1294" fmla="*/ 285473 w 6569151"/>
              <a:gd name="connsiteY1294" fmla="*/ 2839776 h 4490369"/>
              <a:gd name="connsiteX1295" fmla="*/ 261761 w 6569151"/>
              <a:gd name="connsiteY1295" fmla="*/ 2875348 h 4490369"/>
              <a:gd name="connsiteX1296" fmla="*/ 220265 w 6569151"/>
              <a:gd name="connsiteY1296" fmla="*/ 2845705 h 4490369"/>
              <a:gd name="connsiteX1297" fmla="*/ 202481 w 6569151"/>
              <a:gd name="connsiteY1297" fmla="*/ 2810134 h 4490369"/>
              <a:gd name="connsiteX1298" fmla="*/ 178769 w 6569151"/>
              <a:gd name="connsiteY1298" fmla="*/ 2792348 h 4490369"/>
              <a:gd name="connsiteX1299" fmla="*/ 155057 w 6569151"/>
              <a:gd name="connsiteY1299" fmla="*/ 2744919 h 4490369"/>
              <a:gd name="connsiteX1300" fmla="*/ 95777 w 6569151"/>
              <a:gd name="connsiteY1300" fmla="*/ 2661920 h 4490369"/>
              <a:gd name="connsiteX1301" fmla="*/ 48353 w 6569151"/>
              <a:gd name="connsiteY1301" fmla="*/ 2561134 h 4490369"/>
              <a:gd name="connsiteX1302" fmla="*/ 36497 w 6569151"/>
              <a:gd name="connsiteY1302" fmla="*/ 2507777 h 4490369"/>
              <a:gd name="connsiteX1303" fmla="*/ 929 w 6569151"/>
              <a:gd name="connsiteY1303" fmla="*/ 2401063 h 4490369"/>
              <a:gd name="connsiteX1304" fmla="*/ 18713 w 6569151"/>
              <a:gd name="connsiteY1304" fmla="*/ 2371421 h 4490369"/>
              <a:gd name="connsiteX1305" fmla="*/ 30569 w 6569151"/>
              <a:gd name="connsiteY1305" fmla="*/ 2365492 h 4490369"/>
              <a:gd name="connsiteX1306" fmla="*/ 42425 w 6569151"/>
              <a:gd name="connsiteY1306" fmla="*/ 2359564 h 4490369"/>
              <a:gd name="connsiteX1307" fmla="*/ 107633 w 6569151"/>
              <a:gd name="connsiteY1307" fmla="*/ 2323992 h 4490369"/>
              <a:gd name="connsiteX1308" fmla="*/ 125417 w 6569151"/>
              <a:gd name="connsiteY1308" fmla="*/ 2335849 h 4490369"/>
              <a:gd name="connsiteX1309" fmla="*/ 137273 w 6569151"/>
              <a:gd name="connsiteY1309" fmla="*/ 2323992 h 4490369"/>
              <a:gd name="connsiteX1310" fmla="*/ 119489 w 6569151"/>
              <a:gd name="connsiteY1310" fmla="*/ 2294350 h 4490369"/>
              <a:gd name="connsiteX1311" fmla="*/ 149129 w 6569151"/>
              <a:gd name="connsiteY1311" fmla="*/ 2140207 h 4490369"/>
              <a:gd name="connsiteX1312" fmla="*/ 202481 w 6569151"/>
              <a:gd name="connsiteY1312" fmla="*/ 2039422 h 4490369"/>
              <a:gd name="connsiteX1313" fmla="*/ 249905 w 6569151"/>
              <a:gd name="connsiteY1313" fmla="*/ 1968279 h 4490369"/>
              <a:gd name="connsiteX1314" fmla="*/ 309185 w 6569151"/>
              <a:gd name="connsiteY1314" fmla="*/ 1891208 h 4490369"/>
              <a:gd name="connsiteX1315" fmla="*/ 344753 w 6569151"/>
              <a:gd name="connsiteY1315" fmla="*/ 1867494 h 4490369"/>
              <a:gd name="connsiteX1316" fmla="*/ 362537 w 6569151"/>
              <a:gd name="connsiteY1316" fmla="*/ 1867494 h 4490369"/>
              <a:gd name="connsiteX1317" fmla="*/ 404033 w 6569151"/>
              <a:gd name="connsiteY1317" fmla="*/ 1855637 h 4490369"/>
              <a:gd name="connsiteX1318" fmla="*/ 415889 w 6569151"/>
              <a:gd name="connsiteY1318" fmla="*/ 1831923 h 4490369"/>
              <a:gd name="connsiteX1319" fmla="*/ 409961 w 6569151"/>
              <a:gd name="connsiteY1319" fmla="*/ 1802280 h 4490369"/>
              <a:gd name="connsiteX1320" fmla="*/ 433673 w 6569151"/>
              <a:gd name="connsiteY1320" fmla="*/ 1760780 h 4490369"/>
              <a:gd name="connsiteX1321" fmla="*/ 481097 w 6569151"/>
              <a:gd name="connsiteY1321" fmla="*/ 1737066 h 4490369"/>
              <a:gd name="connsiteX1322" fmla="*/ 498881 w 6569151"/>
              <a:gd name="connsiteY1322" fmla="*/ 1742994 h 4490369"/>
              <a:gd name="connsiteX1323" fmla="*/ 528521 w 6569151"/>
              <a:gd name="connsiteY1323" fmla="*/ 1719280 h 4490369"/>
              <a:gd name="connsiteX1324" fmla="*/ 510737 w 6569151"/>
              <a:gd name="connsiteY1324" fmla="*/ 1689637 h 4490369"/>
              <a:gd name="connsiteX1325" fmla="*/ 504809 w 6569151"/>
              <a:gd name="connsiteY1325" fmla="*/ 1648137 h 4490369"/>
              <a:gd name="connsiteX1326" fmla="*/ 534449 w 6569151"/>
              <a:gd name="connsiteY1326" fmla="*/ 1636281 h 4490369"/>
              <a:gd name="connsiteX1327" fmla="*/ 546305 w 6569151"/>
              <a:gd name="connsiteY1327" fmla="*/ 1600709 h 4490369"/>
              <a:gd name="connsiteX1328" fmla="*/ 558161 w 6569151"/>
              <a:gd name="connsiteY1328" fmla="*/ 1594781 h 4490369"/>
              <a:gd name="connsiteX1329" fmla="*/ 605585 w 6569151"/>
              <a:gd name="connsiteY1329" fmla="*/ 1576995 h 4490369"/>
              <a:gd name="connsiteX1330" fmla="*/ 658937 w 6569151"/>
              <a:gd name="connsiteY1330" fmla="*/ 1588852 h 4490369"/>
              <a:gd name="connsiteX1331" fmla="*/ 706361 w 6569151"/>
              <a:gd name="connsiteY1331" fmla="*/ 1582923 h 4490369"/>
              <a:gd name="connsiteX1332" fmla="*/ 718217 w 6569151"/>
              <a:gd name="connsiteY1332" fmla="*/ 1565138 h 4490369"/>
              <a:gd name="connsiteX1333" fmla="*/ 712289 w 6569151"/>
              <a:gd name="connsiteY1333" fmla="*/ 1547352 h 4490369"/>
              <a:gd name="connsiteX1334" fmla="*/ 676721 w 6569151"/>
              <a:gd name="connsiteY1334" fmla="*/ 1535495 h 4490369"/>
              <a:gd name="connsiteX1335" fmla="*/ 682649 w 6569151"/>
              <a:gd name="connsiteY1335" fmla="*/ 1517709 h 4490369"/>
              <a:gd name="connsiteX1336" fmla="*/ 724145 w 6569151"/>
              <a:gd name="connsiteY1336" fmla="*/ 1493995 h 4490369"/>
              <a:gd name="connsiteX1337" fmla="*/ 741929 w 6569151"/>
              <a:gd name="connsiteY1337" fmla="*/ 1517709 h 4490369"/>
              <a:gd name="connsiteX1338" fmla="*/ 730073 w 6569151"/>
              <a:gd name="connsiteY1338" fmla="*/ 1535495 h 4490369"/>
              <a:gd name="connsiteX1339" fmla="*/ 741929 w 6569151"/>
              <a:gd name="connsiteY1339" fmla="*/ 1576995 h 4490369"/>
              <a:gd name="connsiteX1340" fmla="*/ 771569 w 6569151"/>
              <a:gd name="connsiteY1340" fmla="*/ 1565138 h 4490369"/>
              <a:gd name="connsiteX1341" fmla="*/ 795281 w 6569151"/>
              <a:gd name="connsiteY1341" fmla="*/ 1553281 h 4490369"/>
              <a:gd name="connsiteX1342" fmla="*/ 795281 w 6569151"/>
              <a:gd name="connsiteY1342" fmla="*/ 1541424 h 4490369"/>
              <a:gd name="connsiteX1343" fmla="*/ 765641 w 6569151"/>
              <a:gd name="connsiteY1343" fmla="*/ 1529566 h 4490369"/>
              <a:gd name="connsiteX1344" fmla="*/ 753785 w 6569151"/>
              <a:gd name="connsiteY1344" fmla="*/ 1488067 h 4490369"/>
              <a:gd name="connsiteX1345" fmla="*/ 777497 w 6569151"/>
              <a:gd name="connsiteY1345" fmla="*/ 1464352 h 4490369"/>
              <a:gd name="connsiteX1346" fmla="*/ 795281 w 6569151"/>
              <a:gd name="connsiteY1346" fmla="*/ 1493995 h 4490369"/>
              <a:gd name="connsiteX1347" fmla="*/ 813065 w 6569151"/>
              <a:gd name="connsiteY1347" fmla="*/ 1488067 h 4490369"/>
              <a:gd name="connsiteX1348" fmla="*/ 813065 w 6569151"/>
              <a:gd name="connsiteY1348" fmla="*/ 1470281 h 4490369"/>
              <a:gd name="connsiteX1349" fmla="*/ 795281 w 6569151"/>
              <a:gd name="connsiteY1349" fmla="*/ 1434710 h 4490369"/>
              <a:gd name="connsiteX1350" fmla="*/ 813065 w 6569151"/>
              <a:gd name="connsiteY1350" fmla="*/ 1399138 h 4490369"/>
              <a:gd name="connsiteX1351" fmla="*/ 830849 w 6569151"/>
              <a:gd name="connsiteY1351" fmla="*/ 1434710 h 4490369"/>
              <a:gd name="connsiteX1352" fmla="*/ 836777 w 6569151"/>
              <a:gd name="connsiteY1352" fmla="*/ 1476209 h 4490369"/>
              <a:gd name="connsiteX1353" fmla="*/ 878273 w 6569151"/>
              <a:gd name="connsiteY1353" fmla="*/ 1464352 h 4490369"/>
              <a:gd name="connsiteX1354" fmla="*/ 878273 w 6569151"/>
              <a:gd name="connsiteY1354" fmla="*/ 1452495 h 4490369"/>
              <a:gd name="connsiteX1355" fmla="*/ 854561 w 6569151"/>
              <a:gd name="connsiteY1355" fmla="*/ 1440638 h 4490369"/>
              <a:gd name="connsiteX1356" fmla="*/ 842705 w 6569151"/>
              <a:gd name="connsiteY1356" fmla="*/ 1416924 h 4490369"/>
              <a:gd name="connsiteX1357" fmla="*/ 842705 w 6569151"/>
              <a:gd name="connsiteY1357" fmla="*/ 1410995 h 4490369"/>
              <a:gd name="connsiteX1358" fmla="*/ 842705 w 6569151"/>
              <a:gd name="connsiteY1358" fmla="*/ 1357638 h 4490369"/>
              <a:gd name="connsiteX1359" fmla="*/ 854561 w 6569151"/>
              <a:gd name="connsiteY1359" fmla="*/ 1316139 h 4490369"/>
              <a:gd name="connsiteX1360" fmla="*/ 872345 w 6569151"/>
              <a:gd name="connsiteY1360" fmla="*/ 1316139 h 4490369"/>
              <a:gd name="connsiteX1361" fmla="*/ 872345 w 6569151"/>
              <a:gd name="connsiteY1361" fmla="*/ 1345781 h 4490369"/>
              <a:gd name="connsiteX1362" fmla="*/ 872345 w 6569151"/>
              <a:gd name="connsiteY1362" fmla="*/ 1375424 h 4490369"/>
              <a:gd name="connsiteX1363" fmla="*/ 896057 w 6569151"/>
              <a:gd name="connsiteY1363" fmla="*/ 1399138 h 4490369"/>
              <a:gd name="connsiteX1364" fmla="*/ 890129 w 6569151"/>
              <a:gd name="connsiteY1364" fmla="*/ 1428781 h 4490369"/>
              <a:gd name="connsiteX1365" fmla="*/ 919769 w 6569151"/>
              <a:gd name="connsiteY1365" fmla="*/ 1422853 h 4490369"/>
              <a:gd name="connsiteX1366" fmla="*/ 919769 w 6569151"/>
              <a:gd name="connsiteY1366" fmla="*/ 1387281 h 4490369"/>
              <a:gd name="connsiteX1367" fmla="*/ 896057 w 6569151"/>
              <a:gd name="connsiteY1367" fmla="*/ 1363567 h 4490369"/>
              <a:gd name="connsiteX1368" fmla="*/ 919769 w 6569151"/>
              <a:gd name="connsiteY1368" fmla="*/ 1351710 h 4490369"/>
              <a:gd name="connsiteX1369" fmla="*/ 943481 w 6569151"/>
              <a:gd name="connsiteY1369" fmla="*/ 1387281 h 4490369"/>
              <a:gd name="connsiteX1370" fmla="*/ 955337 w 6569151"/>
              <a:gd name="connsiteY1370" fmla="*/ 1393210 h 4490369"/>
              <a:gd name="connsiteX1371" fmla="*/ 943481 w 6569151"/>
              <a:gd name="connsiteY1371" fmla="*/ 1416924 h 4490369"/>
              <a:gd name="connsiteX1372" fmla="*/ 979049 w 6569151"/>
              <a:gd name="connsiteY1372" fmla="*/ 1399138 h 4490369"/>
              <a:gd name="connsiteX1373" fmla="*/ 1002761 w 6569151"/>
              <a:gd name="connsiteY1373" fmla="*/ 1375424 h 4490369"/>
              <a:gd name="connsiteX1374" fmla="*/ 996833 w 6569151"/>
              <a:gd name="connsiteY1374" fmla="*/ 1339853 h 4490369"/>
              <a:gd name="connsiteX1375" fmla="*/ 990905 w 6569151"/>
              <a:gd name="connsiteY1375" fmla="*/ 1345781 h 4490369"/>
              <a:gd name="connsiteX1376" fmla="*/ 961265 w 6569151"/>
              <a:gd name="connsiteY1376" fmla="*/ 1363567 h 4490369"/>
              <a:gd name="connsiteX1377" fmla="*/ 949409 w 6569151"/>
              <a:gd name="connsiteY1377" fmla="*/ 1357638 h 4490369"/>
              <a:gd name="connsiteX1378" fmla="*/ 925697 w 6569151"/>
              <a:gd name="connsiteY1378" fmla="*/ 1327996 h 4490369"/>
              <a:gd name="connsiteX1379" fmla="*/ 896057 w 6569151"/>
              <a:gd name="connsiteY1379" fmla="*/ 1310210 h 4490369"/>
              <a:gd name="connsiteX1380" fmla="*/ 896057 w 6569151"/>
              <a:gd name="connsiteY1380" fmla="*/ 1274639 h 4490369"/>
              <a:gd name="connsiteX1381" fmla="*/ 907913 w 6569151"/>
              <a:gd name="connsiteY1381" fmla="*/ 1256853 h 4490369"/>
              <a:gd name="connsiteX1382" fmla="*/ 925697 w 6569151"/>
              <a:gd name="connsiteY1382" fmla="*/ 1203496 h 4490369"/>
              <a:gd name="connsiteX1383" fmla="*/ 925697 w 6569151"/>
              <a:gd name="connsiteY1383" fmla="*/ 1167925 h 4490369"/>
              <a:gd name="connsiteX1384" fmla="*/ 937553 w 6569151"/>
              <a:gd name="connsiteY1384" fmla="*/ 1161996 h 4490369"/>
              <a:gd name="connsiteX1385" fmla="*/ 943481 w 6569151"/>
              <a:gd name="connsiteY1385" fmla="*/ 1215353 h 4490369"/>
              <a:gd name="connsiteX1386" fmla="*/ 955337 w 6569151"/>
              <a:gd name="connsiteY1386" fmla="*/ 1209425 h 4490369"/>
              <a:gd name="connsiteX1387" fmla="*/ 967193 w 6569151"/>
              <a:gd name="connsiteY1387" fmla="*/ 1156068 h 4490369"/>
              <a:gd name="connsiteX1388" fmla="*/ 979049 w 6569151"/>
              <a:gd name="connsiteY1388" fmla="*/ 1161996 h 4490369"/>
              <a:gd name="connsiteX1389" fmla="*/ 979049 w 6569151"/>
              <a:gd name="connsiteY1389" fmla="*/ 1179782 h 4490369"/>
              <a:gd name="connsiteX1390" fmla="*/ 990905 w 6569151"/>
              <a:gd name="connsiteY1390" fmla="*/ 1179782 h 4490369"/>
              <a:gd name="connsiteX1391" fmla="*/ 990905 w 6569151"/>
              <a:gd name="connsiteY1391" fmla="*/ 1138282 h 4490369"/>
              <a:gd name="connsiteX1392" fmla="*/ 973121 w 6569151"/>
              <a:gd name="connsiteY1392" fmla="*/ 1114568 h 4490369"/>
              <a:gd name="connsiteX1393" fmla="*/ 973121 w 6569151"/>
              <a:gd name="connsiteY1393" fmla="*/ 1096782 h 4490369"/>
              <a:gd name="connsiteX1394" fmla="*/ 984977 w 6569151"/>
              <a:gd name="connsiteY1394" fmla="*/ 1096782 h 4490369"/>
              <a:gd name="connsiteX1395" fmla="*/ 996833 w 6569151"/>
              <a:gd name="connsiteY1395" fmla="*/ 1061211 h 4490369"/>
              <a:gd name="connsiteX1396" fmla="*/ 984977 w 6569151"/>
              <a:gd name="connsiteY1396" fmla="*/ 995997 h 4490369"/>
              <a:gd name="connsiteX1397" fmla="*/ 1008689 w 6569151"/>
              <a:gd name="connsiteY1397" fmla="*/ 936711 h 4490369"/>
              <a:gd name="connsiteX1398" fmla="*/ 1014617 w 6569151"/>
              <a:gd name="connsiteY1398" fmla="*/ 930783 h 4490369"/>
              <a:gd name="connsiteX1399" fmla="*/ 1020545 w 6569151"/>
              <a:gd name="connsiteY1399" fmla="*/ 936711 h 4490369"/>
              <a:gd name="connsiteX1400" fmla="*/ 1026473 w 6569151"/>
              <a:gd name="connsiteY1400" fmla="*/ 995997 h 4490369"/>
              <a:gd name="connsiteX1401" fmla="*/ 1026473 w 6569151"/>
              <a:gd name="connsiteY1401" fmla="*/ 1084925 h 4490369"/>
              <a:gd name="connsiteX1402" fmla="*/ 1026473 w 6569151"/>
              <a:gd name="connsiteY1402" fmla="*/ 1126425 h 4490369"/>
              <a:gd name="connsiteX1403" fmla="*/ 1032401 w 6569151"/>
              <a:gd name="connsiteY1403" fmla="*/ 1120496 h 4490369"/>
              <a:gd name="connsiteX1404" fmla="*/ 1050185 w 6569151"/>
              <a:gd name="connsiteY1404" fmla="*/ 1084925 h 4490369"/>
              <a:gd name="connsiteX1405" fmla="*/ 1079825 w 6569151"/>
              <a:gd name="connsiteY1405" fmla="*/ 1067139 h 4490369"/>
              <a:gd name="connsiteX1406" fmla="*/ 1085753 w 6569151"/>
              <a:gd name="connsiteY1406" fmla="*/ 1061211 h 4490369"/>
              <a:gd name="connsiteX1407" fmla="*/ 1073897 w 6569151"/>
              <a:gd name="connsiteY1407" fmla="*/ 936711 h 4490369"/>
              <a:gd name="connsiteX1408" fmla="*/ 1097609 w 6569151"/>
              <a:gd name="connsiteY1408" fmla="*/ 871497 h 4490369"/>
              <a:gd name="connsiteX1409" fmla="*/ 1109465 w 6569151"/>
              <a:gd name="connsiteY1409" fmla="*/ 859640 h 4490369"/>
              <a:gd name="connsiteX1410" fmla="*/ 1145033 w 6569151"/>
              <a:gd name="connsiteY1410" fmla="*/ 841854 h 4490369"/>
              <a:gd name="connsiteX1411" fmla="*/ 1156889 w 6569151"/>
              <a:gd name="connsiteY1411" fmla="*/ 824069 h 4490369"/>
              <a:gd name="connsiteX1412" fmla="*/ 1156889 w 6569151"/>
              <a:gd name="connsiteY1412" fmla="*/ 800355 h 4490369"/>
              <a:gd name="connsiteX1413" fmla="*/ 1156889 w 6569151"/>
              <a:gd name="connsiteY1413" fmla="*/ 770712 h 4490369"/>
              <a:gd name="connsiteX1414" fmla="*/ 1168745 w 6569151"/>
              <a:gd name="connsiteY1414" fmla="*/ 741069 h 4490369"/>
              <a:gd name="connsiteX1415" fmla="*/ 1186529 w 6569151"/>
              <a:gd name="connsiteY1415" fmla="*/ 788497 h 4490369"/>
              <a:gd name="connsiteX1416" fmla="*/ 1192457 w 6569151"/>
              <a:gd name="connsiteY1416" fmla="*/ 788497 h 4490369"/>
              <a:gd name="connsiteX1417" fmla="*/ 1210241 w 6569151"/>
              <a:gd name="connsiteY1417" fmla="*/ 746998 h 4490369"/>
              <a:gd name="connsiteX1418" fmla="*/ 1210241 w 6569151"/>
              <a:gd name="connsiteY1418" fmla="*/ 717355 h 4490369"/>
              <a:gd name="connsiteX1419" fmla="*/ 1210241 w 6569151"/>
              <a:gd name="connsiteY1419" fmla="*/ 711426 h 4490369"/>
              <a:gd name="connsiteX1420" fmla="*/ 1245809 w 6569151"/>
              <a:gd name="connsiteY1420" fmla="*/ 675855 h 4490369"/>
              <a:gd name="connsiteX1421" fmla="*/ 1257665 w 6569151"/>
              <a:gd name="connsiteY1421" fmla="*/ 693641 h 4490369"/>
              <a:gd name="connsiteX1422" fmla="*/ 1269521 w 6569151"/>
              <a:gd name="connsiteY1422" fmla="*/ 711426 h 4490369"/>
              <a:gd name="connsiteX1423" fmla="*/ 1311017 w 6569151"/>
              <a:gd name="connsiteY1423" fmla="*/ 693641 h 4490369"/>
              <a:gd name="connsiteX1424" fmla="*/ 1328801 w 6569151"/>
              <a:gd name="connsiteY1424" fmla="*/ 675855 h 4490369"/>
              <a:gd name="connsiteX1425" fmla="*/ 1399937 w 6569151"/>
              <a:gd name="connsiteY1425" fmla="*/ 652141 h 4490369"/>
              <a:gd name="connsiteX1426" fmla="*/ 1405865 w 6569151"/>
              <a:gd name="connsiteY1426" fmla="*/ 640284 h 4490369"/>
              <a:gd name="connsiteX1427" fmla="*/ 1405865 w 6569151"/>
              <a:gd name="connsiteY1427" fmla="*/ 604712 h 4490369"/>
              <a:gd name="connsiteX1428" fmla="*/ 1417721 w 6569151"/>
              <a:gd name="connsiteY1428" fmla="*/ 592855 h 4490369"/>
              <a:gd name="connsiteX1429" fmla="*/ 1435505 w 6569151"/>
              <a:gd name="connsiteY1429" fmla="*/ 598784 h 4490369"/>
              <a:gd name="connsiteX1430" fmla="*/ 1429577 w 6569151"/>
              <a:gd name="connsiteY1430" fmla="*/ 634355 h 4490369"/>
              <a:gd name="connsiteX1431" fmla="*/ 1441433 w 6569151"/>
              <a:gd name="connsiteY1431" fmla="*/ 658069 h 4490369"/>
              <a:gd name="connsiteX1432" fmla="*/ 1471073 w 6569151"/>
              <a:gd name="connsiteY1432" fmla="*/ 675855 h 4490369"/>
              <a:gd name="connsiteX1433" fmla="*/ 1518497 w 6569151"/>
              <a:gd name="connsiteY1433" fmla="*/ 652141 h 4490369"/>
              <a:gd name="connsiteX1434" fmla="*/ 1530353 w 6569151"/>
              <a:gd name="connsiteY1434" fmla="*/ 628427 h 4490369"/>
              <a:gd name="connsiteX1435" fmla="*/ 1524425 w 6569151"/>
              <a:gd name="connsiteY1435" fmla="*/ 598784 h 4490369"/>
              <a:gd name="connsiteX1436" fmla="*/ 1530353 w 6569151"/>
              <a:gd name="connsiteY1436" fmla="*/ 545427 h 4490369"/>
              <a:gd name="connsiteX1437" fmla="*/ 1506641 w 6569151"/>
              <a:gd name="connsiteY1437" fmla="*/ 527641 h 4490369"/>
              <a:gd name="connsiteX1438" fmla="*/ 1506641 w 6569151"/>
              <a:gd name="connsiteY1438" fmla="*/ 515784 h 4490369"/>
              <a:gd name="connsiteX1439" fmla="*/ 1548137 w 6569151"/>
              <a:gd name="connsiteY1439" fmla="*/ 503927 h 4490369"/>
              <a:gd name="connsiteX1440" fmla="*/ 1583705 w 6569151"/>
              <a:gd name="connsiteY1440" fmla="*/ 497998 h 4490369"/>
              <a:gd name="connsiteX1441" fmla="*/ 1631129 w 6569151"/>
              <a:gd name="connsiteY1441" fmla="*/ 509856 h 4490369"/>
              <a:gd name="connsiteX1442" fmla="*/ 1637057 w 6569151"/>
              <a:gd name="connsiteY1442" fmla="*/ 551355 h 4490369"/>
              <a:gd name="connsiteX1443" fmla="*/ 1631129 w 6569151"/>
              <a:gd name="connsiteY1443" fmla="*/ 610641 h 4490369"/>
              <a:gd name="connsiteX1444" fmla="*/ 1625201 w 6569151"/>
              <a:gd name="connsiteY1444" fmla="*/ 675855 h 4490369"/>
              <a:gd name="connsiteX1445" fmla="*/ 1607417 w 6569151"/>
              <a:gd name="connsiteY1445" fmla="*/ 699569 h 4490369"/>
              <a:gd name="connsiteX1446" fmla="*/ 1619273 w 6569151"/>
              <a:gd name="connsiteY1446" fmla="*/ 717355 h 4490369"/>
              <a:gd name="connsiteX1447" fmla="*/ 1595561 w 6569151"/>
              <a:gd name="connsiteY1447" fmla="*/ 746998 h 4490369"/>
              <a:gd name="connsiteX1448" fmla="*/ 1595561 w 6569151"/>
              <a:gd name="connsiteY1448" fmla="*/ 752926 h 4490369"/>
              <a:gd name="connsiteX1449" fmla="*/ 1589633 w 6569151"/>
              <a:gd name="connsiteY1449" fmla="*/ 806283 h 4490369"/>
              <a:gd name="connsiteX1450" fmla="*/ 1554065 w 6569151"/>
              <a:gd name="connsiteY1450" fmla="*/ 812212 h 4490369"/>
              <a:gd name="connsiteX1451" fmla="*/ 1548137 w 6569151"/>
              <a:gd name="connsiteY1451" fmla="*/ 865569 h 4490369"/>
              <a:gd name="connsiteX1452" fmla="*/ 1559993 w 6569151"/>
              <a:gd name="connsiteY1452" fmla="*/ 859640 h 4490369"/>
              <a:gd name="connsiteX1453" fmla="*/ 1577777 w 6569151"/>
              <a:gd name="connsiteY1453" fmla="*/ 841854 h 4490369"/>
              <a:gd name="connsiteX1454" fmla="*/ 1583705 w 6569151"/>
              <a:gd name="connsiteY1454" fmla="*/ 847783 h 4490369"/>
              <a:gd name="connsiteX1455" fmla="*/ 1571849 w 6569151"/>
              <a:gd name="connsiteY1455" fmla="*/ 889283 h 4490369"/>
              <a:gd name="connsiteX1456" fmla="*/ 1548137 w 6569151"/>
              <a:gd name="connsiteY1456" fmla="*/ 901140 h 4490369"/>
              <a:gd name="connsiteX1457" fmla="*/ 1530353 w 6569151"/>
              <a:gd name="connsiteY1457" fmla="*/ 924854 h 4490369"/>
              <a:gd name="connsiteX1458" fmla="*/ 1488857 w 6569151"/>
              <a:gd name="connsiteY1458" fmla="*/ 966354 h 4490369"/>
              <a:gd name="connsiteX1459" fmla="*/ 1506641 w 6569151"/>
              <a:gd name="connsiteY1459" fmla="*/ 978211 h 4490369"/>
              <a:gd name="connsiteX1460" fmla="*/ 1524425 w 6569151"/>
              <a:gd name="connsiteY1460" fmla="*/ 954497 h 4490369"/>
              <a:gd name="connsiteX1461" fmla="*/ 1536281 w 6569151"/>
              <a:gd name="connsiteY1461" fmla="*/ 954497 h 4490369"/>
              <a:gd name="connsiteX1462" fmla="*/ 1565921 w 6569151"/>
              <a:gd name="connsiteY1462" fmla="*/ 978211 h 4490369"/>
              <a:gd name="connsiteX1463" fmla="*/ 1571849 w 6569151"/>
              <a:gd name="connsiteY1463" fmla="*/ 918926 h 4490369"/>
              <a:gd name="connsiteX1464" fmla="*/ 1577777 w 6569151"/>
              <a:gd name="connsiteY1464" fmla="*/ 918926 h 4490369"/>
              <a:gd name="connsiteX1465" fmla="*/ 1583705 w 6569151"/>
              <a:gd name="connsiteY1465" fmla="*/ 936711 h 4490369"/>
              <a:gd name="connsiteX1466" fmla="*/ 1589633 w 6569151"/>
              <a:gd name="connsiteY1466" fmla="*/ 942640 h 4490369"/>
              <a:gd name="connsiteX1467" fmla="*/ 1601489 w 6569151"/>
              <a:gd name="connsiteY1467" fmla="*/ 930783 h 4490369"/>
              <a:gd name="connsiteX1468" fmla="*/ 1619273 w 6569151"/>
              <a:gd name="connsiteY1468" fmla="*/ 847783 h 4490369"/>
              <a:gd name="connsiteX1469" fmla="*/ 1637057 w 6569151"/>
              <a:gd name="connsiteY1469" fmla="*/ 865569 h 4490369"/>
              <a:gd name="connsiteX1470" fmla="*/ 1666697 w 6569151"/>
              <a:gd name="connsiteY1470" fmla="*/ 865569 h 4490369"/>
              <a:gd name="connsiteX1471" fmla="*/ 1684481 w 6569151"/>
              <a:gd name="connsiteY1471" fmla="*/ 865569 h 4490369"/>
              <a:gd name="connsiteX1472" fmla="*/ 1690409 w 6569151"/>
              <a:gd name="connsiteY1472" fmla="*/ 853712 h 4490369"/>
              <a:gd name="connsiteX1473" fmla="*/ 1690409 w 6569151"/>
              <a:gd name="connsiteY1473" fmla="*/ 788497 h 4490369"/>
              <a:gd name="connsiteX1474" fmla="*/ 1690409 w 6569151"/>
              <a:gd name="connsiteY1474" fmla="*/ 758855 h 4490369"/>
              <a:gd name="connsiteX1475" fmla="*/ 1684481 w 6569151"/>
              <a:gd name="connsiteY1475" fmla="*/ 723283 h 4490369"/>
              <a:gd name="connsiteX1476" fmla="*/ 1702265 w 6569151"/>
              <a:gd name="connsiteY1476" fmla="*/ 699569 h 4490369"/>
              <a:gd name="connsiteX1477" fmla="*/ 1696337 w 6569151"/>
              <a:gd name="connsiteY1477" fmla="*/ 652141 h 4490369"/>
              <a:gd name="connsiteX1478" fmla="*/ 1690409 w 6569151"/>
              <a:gd name="connsiteY1478" fmla="*/ 610641 h 4490369"/>
              <a:gd name="connsiteX1479" fmla="*/ 1672625 w 6569151"/>
              <a:gd name="connsiteY1479" fmla="*/ 610641 h 4490369"/>
              <a:gd name="connsiteX1480" fmla="*/ 1660769 w 6569151"/>
              <a:gd name="connsiteY1480" fmla="*/ 646212 h 4490369"/>
              <a:gd name="connsiteX1481" fmla="*/ 1654841 w 6569151"/>
              <a:gd name="connsiteY1481" fmla="*/ 640284 h 4490369"/>
              <a:gd name="connsiteX1482" fmla="*/ 1654841 w 6569151"/>
              <a:gd name="connsiteY1482" fmla="*/ 575070 h 4490369"/>
              <a:gd name="connsiteX1483" fmla="*/ 1684481 w 6569151"/>
              <a:gd name="connsiteY1483" fmla="*/ 586927 h 4490369"/>
              <a:gd name="connsiteX1484" fmla="*/ 1690409 w 6569151"/>
              <a:gd name="connsiteY1484" fmla="*/ 575070 h 4490369"/>
              <a:gd name="connsiteX1485" fmla="*/ 1696337 w 6569151"/>
              <a:gd name="connsiteY1485" fmla="*/ 527641 h 4490369"/>
              <a:gd name="connsiteX1486" fmla="*/ 1725977 w 6569151"/>
              <a:gd name="connsiteY1486" fmla="*/ 533570 h 4490369"/>
              <a:gd name="connsiteX1487" fmla="*/ 1749689 w 6569151"/>
              <a:gd name="connsiteY1487" fmla="*/ 486141 h 4490369"/>
              <a:gd name="connsiteX1488" fmla="*/ 1761545 w 6569151"/>
              <a:gd name="connsiteY1488" fmla="*/ 515784 h 4490369"/>
              <a:gd name="connsiteX1489" fmla="*/ 1743761 w 6569151"/>
              <a:gd name="connsiteY1489" fmla="*/ 545427 h 4490369"/>
              <a:gd name="connsiteX1490" fmla="*/ 1725977 w 6569151"/>
              <a:gd name="connsiteY1490" fmla="*/ 563213 h 4490369"/>
              <a:gd name="connsiteX1491" fmla="*/ 1708193 w 6569151"/>
              <a:gd name="connsiteY1491" fmla="*/ 616570 h 4490369"/>
              <a:gd name="connsiteX1492" fmla="*/ 1714121 w 6569151"/>
              <a:gd name="connsiteY1492" fmla="*/ 640284 h 4490369"/>
              <a:gd name="connsiteX1493" fmla="*/ 1708193 w 6569151"/>
              <a:gd name="connsiteY1493" fmla="*/ 663998 h 4490369"/>
              <a:gd name="connsiteX1494" fmla="*/ 1720049 w 6569151"/>
              <a:gd name="connsiteY1494" fmla="*/ 693641 h 4490369"/>
              <a:gd name="connsiteX1495" fmla="*/ 1731905 w 6569151"/>
              <a:gd name="connsiteY1495" fmla="*/ 598784 h 4490369"/>
              <a:gd name="connsiteX1496" fmla="*/ 1743761 w 6569151"/>
              <a:gd name="connsiteY1496" fmla="*/ 580998 h 4490369"/>
              <a:gd name="connsiteX1497" fmla="*/ 1761545 w 6569151"/>
              <a:gd name="connsiteY1497" fmla="*/ 592855 h 4490369"/>
              <a:gd name="connsiteX1498" fmla="*/ 1755617 w 6569151"/>
              <a:gd name="connsiteY1498" fmla="*/ 663998 h 4490369"/>
              <a:gd name="connsiteX1499" fmla="*/ 1808969 w 6569151"/>
              <a:gd name="connsiteY1499" fmla="*/ 675855 h 4490369"/>
              <a:gd name="connsiteX1500" fmla="*/ 1832681 w 6569151"/>
              <a:gd name="connsiteY1500" fmla="*/ 669926 h 4490369"/>
              <a:gd name="connsiteX1501" fmla="*/ 1874177 w 6569151"/>
              <a:gd name="connsiteY1501" fmla="*/ 628427 h 4490369"/>
              <a:gd name="connsiteX1502" fmla="*/ 1868249 w 6569151"/>
              <a:gd name="connsiteY1502" fmla="*/ 675855 h 4490369"/>
              <a:gd name="connsiteX1503" fmla="*/ 1826753 w 6569151"/>
              <a:gd name="connsiteY1503" fmla="*/ 717355 h 4490369"/>
              <a:gd name="connsiteX1504" fmla="*/ 1767473 w 6569151"/>
              <a:gd name="connsiteY1504" fmla="*/ 735141 h 4490369"/>
              <a:gd name="connsiteX1505" fmla="*/ 1749689 w 6569151"/>
              <a:gd name="connsiteY1505" fmla="*/ 794426 h 4490369"/>
              <a:gd name="connsiteX1506" fmla="*/ 1725977 w 6569151"/>
              <a:gd name="connsiteY1506" fmla="*/ 770712 h 4490369"/>
              <a:gd name="connsiteX1507" fmla="*/ 1737833 w 6569151"/>
              <a:gd name="connsiteY1507" fmla="*/ 735141 h 4490369"/>
              <a:gd name="connsiteX1508" fmla="*/ 1725977 w 6569151"/>
              <a:gd name="connsiteY1508" fmla="*/ 729212 h 4490369"/>
              <a:gd name="connsiteX1509" fmla="*/ 1720049 w 6569151"/>
              <a:gd name="connsiteY1509" fmla="*/ 735141 h 4490369"/>
              <a:gd name="connsiteX1510" fmla="*/ 1725977 w 6569151"/>
              <a:gd name="connsiteY1510" fmla="*/ 770712 h 4490369"/>
              <a:gd name="connsiteX1511" fmla="*/ 1708193 w 6569151"/>
              <a:gd name="connsiteY1511" fmla="*/ 818140 h 4490369"/>
              <a:gd name="connsiteX1512" fmla="*/ 1714121 w 6569151"/>
              <a:gd name="connsiteY1512" fmla="*/ 829997 h 4490369"/>
              <a:gd name="connsiteX1513" fmla="*/ 1743761 w 6569151"/>
              <a:gd name="connsiteY1513" fmla="*/ 829997 h 4490369"/>
              <a:gd name="connsiteX1514" fmla="*/ 1743761 w 6569151"/>
              <a:gd name="connsiteY1514" fmla="*/ 853712 h 4490369"/>
              <a:gd name="connsiteX1515" fmla="*/ 1755617 w 6569151"/>
              <a:gd name="connsiteY1515" fmla="*/ 877426 h 4490369"/>
              <a:gd name="connsiteX1516" fmla="*/ 1749689 w 6569151"/>
              <a:gd name="connsiteY1516" fmla="*/ 901140 h 4490369"/>
              <a:gd name="connsiteX1517" fmla="*/ 1761545 w 6569151"/>
              <a:gd name="connsiteY1517" fmla="*/ 918926 h 4490369"/>
              <a:gd name="connsiteX1518" fmla="*/ 1761545 w 6569151"/>
              <a:gd name="connsiteY1518" fmla="*/ 936711 h 4490369"/>
              <a:gd name="connsiteX1519" fmla="*/ 1767473 w 6569151"/>
              <a:gd name="connsiteY1519" fmla="*/ 942640 h 4490369"/>
              <a:gd name="connsiteX1520" fmla="*/ 1808969 w 6569151"/>
              <a:gd name="connsiteY1520" fmla="*/ 948568 h 4490369"/>
              <a:gd name="connsiteX1521" fmla="*/ 1844537 w 6569151"/>
              <a:gd name="connsiteY1521" fmla="*/ 936711 h 4490369"/>
              <a:gd name="connsiteX1522" fmla="*/ 1826753 w 6569151"/>
              <a:gd name="connsiteY1522" fmla="*/ 912997 h 4490369"/>
              <a:gd name="connsiteX1523" fmla="*/ 1850465 w 6569151"/>
              <a:gd name="connsiteY1523" fmla="*/ 907068 h 4490369"/>
              <a:gd name="connsiteX1524" fmla="*/ 1856393 w 6569151"/>
              <a:gd name="connsiteY1524" fmla="*/ 901140 h 4490369"/>
              <a:gd name="connsiteX1525" fmla="*/ 1874177 w 6569151"/>
              <a:gd name="connsiteY1525" fmla="*/ 859640 h 4490369"/>
              <a:gd name="connsiteX1526" fmla="*/ 1903817 w 6569151"/>
              <a:gd name="connsiteY1526" fmla="*/ 859640 h 4490369"/>
              <a:gd name="connsiteX1527" fmla="*/ 1921601 w 6569151"/>
              <a:gd name="connsiteY1527" fmla="*/ 871497 h 4490369"/>
              <a:gd name="connsiteX1528" fmla="*/ 1969025 w 6569151"/>
              <a:gd name="connsiteY1528" fmla="*/ 859640 h 4490369"/>
              <a:gd name="connsiteX1529" fmla="*/ 1986809 w 6569151"/>
              <a:gd name="connsiteY1529" fmla="*/ 835926 h 4490369"/>
              <a:gd name="connsiteX1530" fmla="*/ 2016449 w 6569151"/>
              <a:gd name="connsiteY1530" fmla="*/ 829997 h 4490369"/>
              <a:gd name="connsiteX1531" fmla="*/ 2022377 w 6569151"/>
              <a:gd name="connsiteY1531" fmla="*/ 800355 h 4490369"/>
              <a:gd name="connsiteX1532" fmla="*/ 2052017 w 6569151"/>
              <a:gd name="connsiteY1532" fmla="*/ 782569 h 4490369"/>
              <a:gd name="connsiteX1533" fmla="*/ 2063873 w 6569151"/>
              <a:gd name="connsiteY1533" fmla="*/ 764783 h 4490369"/>
              <a:gd name="connsiteX1534" fmla="*/ 2069801 w 6569151"/>
              <a:gd name="connsiteY1534" fmla="*/ 764783 h 4490369"/>
              <a:gd name="connsiteX1535" fmla="*/ 2093512 w 6569151"/>
              <a:gd name="connsiteY1535" fmla="*/ 788497 h 4490369"/>
              <a:gd name="connsiteX1536" fmla="*/ 2146865 w 6569151"/>
              <a:gd name="connsiteY1536" fmla="*/ 752926 h 4490369"/>
              <a:gd name="connsiteX1537" fmla="*/ 2170577 w 6569151"/>
              <a:gd name="connsiteY1537" fmla="*/ 752926 h 4490369"/>
              <a:gd name="connsiteX1538" fmla="*/ 2182432 w 6569151"/>
              <a:gd name="connsiteY1538" fmla="*/ 723283 h 4490369"/>
              <a:gd name="connsiteX1539" fmla="*/ 2212073 w 6569151"/>
              <a:gd name="connsiteY1539" fmla="*/ 711426 h 4490369"/>
              <a:gd name="connsiteX1540" fmla="*/ 2223928 w 6569151"/>
              <a:gd name="connsiteY1540" fmla="*/ 681784 h 4490369"/>
              <a:gd name="connsiteX1541" fmla="*/ 2318777 w 6569151"/>
              <a:gd name="connsiteY1541" fmla="*/ 669926 h 4490369"/>
              <a:gd name="connsiteX1542" fmla="*/ 2318777 w 6569151"/>
              <a:gd name="connsiteY1542" fmla="*/ 634355 h 4490369"/>
              <a:gd name="connsiteX1543" fmla="*/ 2295065 w 6569151"/>
              <a:gd name="connsiteY1543" fmla="*/ 640284 h 4490369"/>
              <a:gd name="connsiteX1544" fmla="*/ 2283209 w 6569151"/>
              <a:gd name="connsiteY1544" fmla="*/ 628427 h 4490369"/>
              <a:gd name="connsiteX1545" fmla="*/ 2289136 w 6569151"/>
              <a:gd name="connsiteY1545" fmla="*/ 610641 h 4490369"/>
              <a:gd name="connsiteX1546" fmla="*/ 2312848 w 6569151"/>
              <a:gd name="connsiteY1546" fmla="*/ 598784 h 4490369"/>
              <a:gd name="connsiteX1547" fmla="*/ 2336560 w 6569151"/>
              <a:gd name="connsiteY1547" fmla="*/ 592855 h 4490369"/>
              <a:gd name="connsiteX1548" fmla="*/ 2360273 w 6569151"/>
              <a:gd name="connsiteY1548" fmla="*/ 586927 h 4490369"/>
              <a:gd name="connsiteX1549" fmla="*/ 2369905 w 6569151"/>
              <a:gd name="connsiteY1549" fmla="*/ 563954 h 4490369"/>
              <a:gd name="connsiteX1550" fmla="*/ 2383795 w 6569151"/>
              <a:gd name="connsiteY1550" fmla="*/ 545676 h 4490369"/>
              <a:gd name="connsiteX1551" fmla="*/ 2395100 w 6569151"/>
              <a:gd name="connsiteY1551" fmla="*/ 546168 h 4490369"/>
              <a:gd name="connsiteX1552" fmla="*/ 2407697 w 6569151"/>
              <a:gd name="connsiteY1552" fmla="*/ 551355 h 4490369"/>
              <a:gd name="connsiteX1553" fmla="*/ 2431409 w 6569151"/>
              <a:gd name="connsiteY1553" fmla="*/ 586927 h 4490369"/>
              <a:gd name="connsiteX1554" fmla="*/ 2443264 w 6569151"/>
              <a:gd name="connsiteY1554" fmla="*/ 580998 h 4490369"/>
              <a:gd name="connsiteX1555" fmla="*/ 2443264 w 6569151"/>
              <a:gd name="connsiteY1555" fmla="*/ 545427 h 4490369"/>
              <a:gd name="connsiteX1556" fmla="*/ 2431409 w 6569151"/>
              <a:gd name="connsiteY1556" fmla="*/ 527641 h 4490369"/>
              <a:gd name="connsiteX1557" fmla="*/ 2449193 w 6569151"/>
              <a:gd name="connsiteY1557" fmla="*/ 509856 h 4490369"/>
              <a:gd name="connsiteX1558" fmla="*/ 2472905 w 6569151"/>
              <a:gd name="connsiteY1558" fmla="*/ 509856 h 4490369"/>
              <a:gd name="connsiteX1559" fmla="*/ 2478833 w 6569151"/>
              <a:gd name="connsiteY1559" fmla="*/ 515784 h 4490369"/>
              <a:gd name="connsiteX1560" fmla="*/ 2472905 w 6569151"/>
              <a:gd name="connsiteY1560" fmla="*/ 509856 h 4490369"/>
              <a:gd name="connsiteX1561" fmla="*/ 2466976 w 6569151"/>
              <a:gd name="connsiteY1561" fmla="*/ 497998 h 4490369"/>
              <a:gd name="connsiteX1562" fmla="*/ 2425481 w 6569151"/>
              <a:gd name="connsiteY1562" fmla="*/ 480213 h 4490369"/>
              <a:gd name="connsiteX1563" fmla="*/ 2443264 w 6569151"/>
              <a:gd name="connsiteY1563" fmla="*/ 450570 h 4490369"/>
              <a:gd name="connsiteX1564" fmla="*/ 2484760 w 6569151"/>
              <a:gd name="connsiteY1564" fmla="*/ 438713 h 4490369"/>
              <a:gd name="connsiteX1565" fmla="*/ 2490689 w 6569151"/>
              <a:gd name="connsiteY1565" fmla="*/ 438713 h 4490369"/>
              <a:gd name="connsiteX1566" fmla="*/ 2472905 w 6569151"/>
              <a:gd name="connsiteY1566" fmla="*/ 456499 h 4490369"/>
              <a:gd name="connsiteX1567" fmla="*/ 2478833 w 6569151"/>
              <a:gd name="connsiteY1567" fmla="*/ 468356 h 4490369"/>
              <a:gd name="connsiteX1568" fmla="*/ 2493653 w 6569151"/>
              <a:gd name="connsiteY1568" fmla="*/ 462427 h 4490369"/>
              <a:gd name="connsiteX1569" fmla="*/ 2507061 w 6569151"/>
              <a:gd name="connsiteY1569" fmla="*/ 457063 h 4490369"/>
              <a:gd name="connsiteX1570" fmla="*/ 2508472 w 6569151"/>
              <a:gd name="connsiteY1570" fmla="*/ 457240 h 4490369"/>
              <a:gd name="connsiteX1571" fmla="*/ 2508472 w 6569151"/>
              <a:gd name="connsiteY1571" fmla="*/ 459463 h 4490369"/>
              <a:gd name="connsiteX1572" fmla="*/ 2508472 w 6569151"/>
              <a:gd name="connsiteY1572" fmla="*/ 462427 h 4490369"/>
              <a:gd name="connsiteX1573" fmla="*/ 2514401 w 6569151"/>
              <a:gd name="connsiteY1573" fmla="*/ 462427 h 4490369"/>
              <a:gd name="connsiteX1574" fmla="*/ 2508472 w 6569151"/>
              <a:gd name="connsiteY1574" fmla="*/ 457240 h 4490369"/>
              <a:gd name="connsiteX1575" fmla="*/ 2508472 w 6569151"/>
              <a:gd name="connsiteY1575" fmla="*/ 456499 h 4490369"/>
              <a:gd name="connsiteX1576" fmla="*/ 2507061 w 6569151"/>
              <a:gd name="connsiteY1576" fmla="*/ 457063 h 4490369"/>
              <a:gd name="connsiteX1577" fmla="*/ 2502545 w 6569151"/>
              <a:gd name="connsiteY1577" fmla="*/ 456499 h 4490369"/>
              <a:gd name="connsiteX1578" fmla="*/ 2514401 w 6569151"/>
              <a:gd name="connsiteY1578" fmla="*/ 444641 h 4490369"/>
              <a:gd name="connsiteX1579" fmla="*/ 2555896 w 6569151"/>
              <a:gd name="connsiteY1579" fmla="*/ 426856 h 4490369"/>
              <a:gd name="connsiteX1580" fmla="*/ 2561825 w 6569151"/>
              <a:gd name="connsiteY1580" fmla="*/ 414999 h 4490369"/>
              <a:gd name="connsiteX1581" fmla="*/ 2567753 w 6569151"/>
              <a:gd name="connsiteY1581" fmla="*/ 373499 h 4490369"/>
              <a:gd name="connsiteX1582" fmla="*/ 2585537 w 6569151"/>
              <a:gd name="connsiteY1582" fmla="*/ 391284 h 4490369"/>
              <a:gd name="connsiteX1583" fmla="*/ 2597392 w 6569151"/>
              <a:gd name="connsiteY1583" fmla="*/ 373499 h 4490369"/>
              <a:gd name="connsiteX1584" fmla="*/ 2621104 w 6569151"/>
              <a:gd name="connsiteY1584" fmla="*/ 361642 h 4490369"/>
              <a:gd name="connsiteX1585" fmla="*/ 2638888 w 6569151"/>
              <a:gd name="connsiteY1585" fmla="*/ 391284 h 4490369"/>
              <a:gd name="connsiteX1586" fmla="*/ 2668529 w 6569151"/>
              <a:gd name="connsiteY1586" fmla="*/ 379427 h 4490369"/>
              <a:gd name="connsiteX1587" fmla="*/ 2680384 w 6569151"/>
              <a:gd name="connsiteY1587" fmla="*/ 361642 h 4490369"/>
              <a:gd name="connsiteX1588" fmla="*/ 2704096 w 6569151"/>
              <a:gd name="connsiteY1588" fmla="*/ 343856 h 4490369"/>
              <a:gd name="connsiteX1589" fmla="*/ 2715953 w 6569151"/>
              <a:gd name="connsiteY1589" fmla="*/ 320142 h 4490369"/>
              <a:gd name="connsiteX1590" fmla="*/ 2704096 w 6569151"/>
              <a:gd name="connsiteY1590" fmla="*/ 296428 h 4490369"/>
              <a:gd name="connsiteX1591" fmla="*/ 2686312 w 6569151"/>
              <a:gd name="connsiteY1591" fmla="*/ 290499 h 4490369"/>
              <a:gd name="connsiteX1592" fmla="*/ 2692241 w 6569151"/>
              <a:gd name="connsiteY1592" fmla="*/ 278642 h 4490369"/>
              <a:gd name="connsiteX1593" fmla="*/ 2715953 w 6569151"/>
              <a:gd name="connsiteY1593" fmla="*/ 278642 h 4490369"/>
              <a:gd name="connsiteX1594" fmla="*/ 2715953 w 6569151"/>
              <a:gd name="connsiteY1594" fmla="*/ 272714 h 4490369"/>
              <a:gd name="connsiteX1595" fmla="*/ 2721880 w 6569151"/>
              <a:gd name="connsiteY1595" fmla="*/ 219357 h 4490369"/>
              <a:gd name="connsiteX1596" fmla="*/ 2727808 w 6569151"/>
              <a:gd name="connsiteY1596" fmla="*/ 201571 h 4490369"/>
              <a:gd name="connsiteX1597" fmla="*/ 2721880 w 6569151"/>
              <a:gd name="connsiteY1597" fmla="*/ 183785 h 4490369"/>
              <a:gd name="connsiteX1598" fmla="*/ 2757449 w 6569151"/>
              <a:gd name="connsiteY1598" fmla="*/ 166000 h 4490369"/>
              <a:gd name="connsiteX1599" fmla="*/ 2769304 w 6569151"/>
              <a:gd name="connsiteY1599" fmla="*/ 177857 h 4490369"/>
              <a:gd name="connsiteX1600" fmla="*/ 2751520 w 6569151"/>
              <a:gd name="connsiteY1600" fmla="*/ 195642 h 4490369"/>
              <a:gd name="connsiteX1601" fmla="*/ 2751520 w 6569151"/>
              <a:gd name="connsiteY1601" fmla="*/ 248999 h 4490369"/>
              <a:gd name="connsiteX1602" fmla="*/ 2745592 w 6569151"/>
              <a:gd name="connsiteY1602" fmla="*/ 308285 h 4490369"/>
              <a:gd name="connsiteX1603" fmla="*/ 2757449 w 6569151"/>
              <a:gd name="connsiteY1603" fmla="*/ 314213 h 4490369"/>
              <a:gd name="connsiteX1604" fmla="*/ 2775233 w 6569151"/>
              <a:gd name="connsiteY1604" fmla="*/ 290499 h 4490369"/>
              <a:gd name="connsiteX1605" fmla="*/ 2810800 w 6569151"/>
              <a:gd name="connsiteY1605" fmla="*/ 272714 h 4490369"/>
              <a:gd name="connsiteX1606" fmla="*/ 2816728 w 6569151"/>
              <a:gd name="connsiteY1606" fmla="*/ 278642 h 4490369"/>
              <a:gd name="connsiteX1607" fmla="*/ 2828585 w 6569151"/>
              <a:gd name="connsiteY1607" fmla="*/ 278642 h 4490369"/>
              <a:gd name="connsiteX1608" fmla="*/ 2822657 w 6569151"/>
              <a:gd name="connsiteY1608" fmla="*/ 266785 h 4490369"/>
              <a:gd name="connsiteX1609" fmla="*/ 2810800 w 6569151"/>
              <a:gd name="connsiteY1609" fmla="*/ 272714 h 4490369"/>
              <a:gd name="connsiteX1610" fmla="*/ 2810800 w 6569151"/>
              <a:gd name="connsiteY1610" fmla="*/ 254928 h 4490369"/>
              <a:gd name="connsiteX1611" fmla="*/ 2858224 w 6569151"/>
              <a:gd name="connsiteY1611" fmla="*/ 201571 h 4490369"/>
              <a:gd name="connsiteX1612" fmla="*/ 2864153 w 6569151"/>
              <a:gd name="connsiteY1612" fmla="*/ 213428 h 4490369"/>
              <a:gd name="connsiteX1613" fmla="*/ 2858224 w 6569151"/>
              <a:gd name="connsiteY1613" fmla="*/ 231214 h 4490369"/>
              <a:gd name="connsiteX1614" fmla="*/ 2887864 w 6569151"/>
              <a:gd name="connsiteY1614" fmla="*/ 231214 h 4490369"/>
              <a:gd name="connsiteX1615" fmla="*/ 2929360 w 6569151"/>
              <a:gd name="connsiteY1615" fmla="*/ 243071 h 4490369"/>
              <a:gd name="connsiteX1616" fmla="*/ 2905648 w 6569151"/>
              <a:gd name="connsiteY1616" fmla="*/ 260856 h 4490369"/>
              <a:gd name="connsiteX1617" fmla="*/ 2893792 w 6569151"/>
              <a:gd name="connsiteY1617" fmla="*/ 296428 h 4490369"/>
              <a:gd name="connsiteX1618" fmla="*/ 2834512 w 6569151"/>
              <a:gd name="connsiteY1618" fmla="*/ 349785 h 4490369"/>
              <a:gd name="connsiteX1619" fmla="*/ 2798945 w 6569151"/>
              <a:gd name="connsiteY1619" fmla="*/ 367570 h 4490369"/>
              <a:gd name="connsiteX1620" fmla="*/ 2798517 w 6569151"/>
              <a:gd name="connsiteY1620" fmla="*/ 363511 h 4490369"/>
              <a:gd name="connsiteX1621" fmla="*/ 2798945 w 6569151"/>
              <a:gd name="connsiteY1621" fmla="*/ 361642 h 4490369"/>
              <a:gd name="connsiteX1622" fmla="*/ 2798321 w 6569151"/>
              <a:gd name="connsiteY1622" fmla="*/ 361642 h 4490369"/>
              <a:gd name="connsiteX1623" fmla="*/ 2797463 w 6569151"/>
              <a:gd name="connsiteY1623" fmla="*/ 353490 h 4490369"/>
              <a:gd name="connsiteX1624" fmla="*/ 2787089 w 6569151"/>
              <a:gd name="connsiteY1624" fmla="*/ 343856 h 4490369"/>
              <a:gd name="connsiteX1625" fmla="*/ 2757449 w 6569151"/>
              <a:gd name="connsiteY1625" fmla="*/ 349785 h 4490369"/>
              <a:gd name="connsiteX1626" fmla="*/ 2715953 w 6569151"/>
              <a:gd name="connsiteY1626" fmla="*/ 397213 h 4490369"/>
              <a:gd name="connsiteX1627" fmla="*/ 2710025 w 6569151"/>
              <a:gd name="connsiteY1627" fmla="*/ 409070 h 4490369"/>
              <a:gd name="connsiteX1628" fmla="*/ 2627033 w 6569151"/>
              <a:gd name="connsiteY1628" fmla="*/ 414999 h 4490369"/>
              <a:gd name="connsiteX1629" fmla="*/ 2579609 w 6569151"/>
              <a:gd name="connsiteY1629" fmla="*/ 426856 h 4490369"/>
              <a:gd name="connsiteX1630" fmla="*/ 2579609 w 6569151"/>
              <a:gd name="connsiteY1630" fmla="*/ 456499 h 4490369"/>
              <a:gd name="connsiteX1631" fmla="*/ 2615176 w 6569151"/>
              <a:gd name="connsiteY1631" fmla="*/ 432784 h 4490369"/>
              <a:gd name="connsiteX1632" fmla="*/ 2638888 w 6569151"/>
              <a:gd name="connsiteY1632" fmla="*/ 438713 h 4490369"/>
              <a:gd name="connsiteX1633" fmla="*/ 2710025 w 6569151"/>
              <a:gd name="connsiteY1633" fmla="*/ 432784 h 4490369"/>
              <a:gd name="connsiteX1634" fmla="*/ 2710025 w 6569151"/>
              <a:gd name="connsiteY1634" fmla="*/ 409070 h 4490369"/>
              <a:gd name="connsiteX1635" fmla="*/ 2751520 w 6569151"/>
              <a:gd name="connsiteY1635" fmla="*/ 397213 h 4490369"/>
              <a:gd name="connsiteX1636" fmla="*/ 2757449 w 6569151"/>
              <a:gd name="connsiteY1636" fmla="*/ 391284 h 4490369"/>
              <a:gd name="connsiteX1637" fmla="*/ 2781161 w 6569151"/>
              <a:gd name="connsiteY1637" fmla="*/ 361642 h 4490369"/>
              <a:gd name="connsiteX1638" fmla="*/ 2798321 w 6569151"/>
              <a:gd name="connsiteY1638" fmla="*/ 361642 h 4490369"/>
              <a:gd name="connsiteX1639" fmla="*/ 2798517 w 6569151"/>
              <a:gd name="connsiteY1639" fmla="*/ 363511 h 4490369"/>
              <a:gd name="connsiteX1640" fmla="*/ 2793016 w 6569151"/>
              <a:gd name="connsiteY1640" fmla="*/ 387579 h 4490369"/>
              <a:gd name="connsiteX1641" fmla="*/ 2787089 w 6569151"/>
              <a:gd name="connsiteY1641" fmla="*/ 409070 h 4490369"/>
              <a:gd name="connsiteX1642" fmla="*/ 2763377 w 6569151"/>
              <a:gd name="connsiteY1642" fmla="*/ 432784 h 4490369"/>
              <a:gd name="connsiteX1643" fmla="*/ 2793016 w 6569151"/>
              <a:gd name="connsiteY1643" fmla="*/ 444641 h 4490369"/>
              <a:gd name="connsiteX1644" fmla="*/ 2834512 w 6569151"/>
              <a:gd name="connsiteY1644" fmla="*/ 420927 h 4490369"/>
              <a:gd name="connsiteX1645" fmla="*/ 2858224 w 6569151"/>
              <a:gd name="connsiteY1645" fmla="*/ 414999 h 4490369"/>
              <a:gd name="connsiteX1646" fmla="*/ 2864153 w 6569151"/>
              <a:gd name="connsiteY1646" fmla="*/ 420927 h 4490369"/>
              <a:gd name="connsiteX1647" fmla="*/ 2864153 w 6569151"/>
              <a:gd name="connsiteY1647" fmla="*/ 426856 h 4490369"/>
              <a:gd name="connsiteX1648" fmla="*/ 2887864 w 6569151"/>
              <a:gd name="connsiteY1648" fmla="*/ 438713 h 4490369"/>
              <a:gd name="connsiteX1649" fmla="*/ 2886382 w 6569151"/>
              <a:gd name="connsiteY1649" fmla="*/ 459463 h 4490369"/>
              <a:gd name="connsiteX1650" fmla="*/ 2878132 w 6569151"/>
              <a:gd name="connsiteY1650" fmla="*/ 475965 h 4490369"/>
              <a:gd name="connsiteX1651" fmla="*/ 2876008 w 6569151"/>
              <a:gd name="connsiteY1651" fmla="*/ 474284 h 4490369"/>
              <a:gd name="connsiteX1652" fmla="*/ 2876008 w 6569151"/>
              <a:gd name="connsiteY1652" fmla="*/ 480213 h 4490369"/>
              <a:gd name="connsiteX1653" fmla="*/ 2878132 w 6569151"/>
              <a:gd name="connsiteY1653" fmla="*/ 475965 h 4490369"/>
              <a:gd name="connsiteX1654" fmla="*/ 2893792 w 6569151"/>
              <a:gd name="connsiteY1654" fmla="*/ 488365 h 4490369"/>
              <a:gd name="connsiteX1655" fmla="*/ 2911576 w 6569151"/>
              <a:gd name="connsiteY1655" fmla="*/ 497998 h 4490369"/>
              <a:gd name="connsiteX1656" fmla="*/ 2959000 w 6569151"/>
              <a:gd name="connsiteY1656" fmla="*/ 480213 h 4490369"/>
              <a:gd name="connsiteX1657" fmla="*/ 2976784 w 6569151"/>
              <a:gd name="connsiteY1657" fmla="*/ 456499 h 4490369"/>
              <a:gd name="connsiteX1658" fmla="*/ 2988640 w 6569151"/>
              <a:gd name="connsiteY1658" fmla="*/ 456499 h 4490369"/>
              <a:gd name="connsiteX1659" fmla="*/ 3036064 w 6569151"/>
              <a:gd name="connsiteY1659" fmla="*/ 468356 h 4490369"/>
              <a:gd name="connsiteX1660" fmla="*/ 3053848 w 6569151"/>
              <a:gd name="connsiteY1660" fmla="*/ 462427 h 4490369"/>
              <a:gd name="connsiteX1661" fmla="*/ 3071632 w 6569151"/>
              <a:gd name="connsiteY1661" fmla="*/ 492070 h 4490369"/>
              <a:gd name="connsiteX1662" fmla="*/ 3053848 w 6569151"/>
              <a:gd name="connsiteY1662" fmla="*/ 503927 h 4490369"/>
              <a:gd name="connsiteX1663" fmla="*/ 3036064 w 6569151"/>
              <a:gd name="connsiteY1663" fmla="*/ 497998 h 4490369"/>
              <a:gd name="connsiteX1664" fmla="*/ 3018280 w 6569151"/>
              <a:gd name="connsiteY1664" fmla="*/ 503927 h 4490369"/>
              <a:gd name="connsiteX1665" fmla="*/ 3006424 w 6569151"/>
              <a:gd name="connsiteY1665" fmla="*/ 480213 h 4490369"/>
              <a:gd name="connsiteX1666" fmla="*/ 3000496 w 6569151"/>
              <a:gd name="connsiteY1666" fmla="*/ 474284 h 4490369"/>
              <a:gd name="connsiteX1667" fmla="*/ 2994568 w 6569151"/>
              <a:gd name="connsiteY1667" fmla="*/ 474284 h 4490369"/>
              <a:gd name="connsiteX1668" fmla="*/ 2994568 w 6569151"/>
              <a:gd name="connsiteY1668" fmla="*/ 515784 h 4490369"/>
              <a:gd name="connsiteX1669" fmla="*/ 3006424 w 6569151"/>
              <a:gd name="connsiteY1669" fmla="*/ 521713 h 4490369"/>
              <a:gd name="connsiteX1670" fmla="*/ 3030136 w 6569151"/>
              <a:gd name="connsiteY1670" fmla="*/ 521713 h 4490369"/>
              <a:gd name="connsiteX1671" fmla="*/ 3065704 w 6569151"/>
              <a:gd name="connsiteY1671" fmla="*/ 533570 h 4490369"/>
              <a:gd name="connsiteX1672" fmla="*/ 3101272 w 6569151"/>
              <a:gd name="connsiteY1672" fmla="*/ 527641 h 4490369"/>
              <a:gd name="connsiteX1673" fmla="*/ 3119056 w 6569151"/>
              <a:gd name="connsiteY1673" fmla="*/ 533570 h 4490369"/>
              <a:gd name="connsiteX1674" fmla="*/ 3124984 w 6569151"/>
              <a:gd name="connsiteY1674" fmla="*/ 515784 h 4490369"/>
              <a:gd name="connsiteX1675" fmla="*/ 3095344 w 6569151"/>
              <a:gd name="connsiteY1675" fmla="*/ 503927 h 4490369"/>
              <a:gd name="connsiteX1676" fmla="*/ 3095344 w 6569151"/>
              <a:gd name="connsiteY1676" fmla="*/ 486141 h 4490369"/>
              <a:gd name="connsiteX1677" fmla="*/ 3083488 w 6569151"/>
              <a:gd name="connsiteY1677" fmla="*/ 468356 h 4490369"/>
              <a:gd name="connsiteX1678" fmla="*/ 3089416 w 6569151"/>
              <a:gd name="connsiteY1678" fmla="*/ 420927 h 4490369"/>
              <a:gd name="connsiteX1679" fmla="*/ 3083488 w 6569151"/>
              <a:gd name="connsiteY1679" fmla="*/ 385356 h 4490369"/>
              <a:gd name="connsiteX1680" fmla="*/ 3101272 w 6569151"/>
              <a:gd name="connsiteY1680" fmla="*/ 379427 h 4490369"/>
              <a:gd name="connsiteX1681" fmla="*/ 3119056 w 6569151"/>
              <a:gd name="connsiteY1681" fmla="*/ 391284 h 4490369"/>
              <a:gd name="connsiteX1682" fmla="*/ 3113128 w 6569151"/>
              <a:gd name="connsiteY1682" fmla="*/ 432784 h 4490369"/>
              <a:gd name="connsiteX1683" fmla="*/ 3142768 w 6569151"/>
              <a:gd name="connsiteY1683" fmla="*/ 456499 h 4490369"/>
              <a:gd name="connsiteX1684" fmla="*/ 3196120 w 6569151"/>
              <a:gd name="connsiteY1684" fmla="*/ 438713 h 4490369"/>
              <a:gd name="connsiteX1685" fmla="*/ 3196120 w 6569151"/>
              <a:gd name="connsiteY1685" fmla="*/ 403142 h 4490369"/>
              <a:gd name="connsiteX1686" fmla="*/ 3172408 w 6569151"/>
              <a:gd name="connsiteY1686" fmla="*/ 397213 h 4490369"/>
              <a:gd name="connsiteX1687" fmla="*/ 3142768 w 6569151"/>
              <a:gd name="connsiteY1687" fmla="*/ 361642 h 4490369"/>
              <a:gd name="connsiteX1688" fmla="*/ 3148696 w 6569151"/>
              <a:gd name="connsiteY1688" fmla="*/ 355713 h 4490369"/>
              <a:gd name="connsiteX1689" fmla="*/ 3213904 w 6569151"/>
              <a:gd name="connsiteY1689" fmla="*/ 385356 h 4490369"/>
              <a:gd name="connsiteX1690" fmla="*/ 3237616 w 6569151"/>
              <a:gd name="connsiteY1690" fmla="*/ 414999 h 4490369"/>
              <a:gd name="connsiteX1691" fmla="*/ 3225760 w 6569151"/>
              <a:gd name="connsiteY1691" fmla="*/ 438713 h 4490369"/>
              <a:gd name="connsiteX1692" fmla="*/ 3237616 w 6569151"/>
              <a:gd name="connsiteY1692" fmla="*/ 450570 h 4490369"/>
              <a:gd name="connsiteX1693" fmla="*/ 3302824 w 6569151"/>
              <a:gd name="connsiteY1693" fmla="*/ 444641 h 4490369"/>
              <a:gd name="connsiteX1694" fmla="*/ 3350248 w 6569151"/>
              <a:gd name="connsiteY1694" fmla="*/ 450570 h 4490369"/>
              <a:gd name="connsiteX1695" fmla="*/ 3391744 w 6569151"/>
              <a:gd name="connsiteY1695" fmla="*/ 462427 h 4490369"/>
              <a:gd name="connsiteX1696" fmla="*/ 3451024 w 6569151"/>
              <a:gd name="connsiteY1696" fmla="*/ 450570 h 4490369"/>
              <a:gd name="connsiteX1697" fmla="*/ 3492520 w 6569151"/>
              <a:gd name="connsiteY1697" fmla="*/ 444641 h 4490369"/>
              <a:gd name="connsiteX1698" fmla="*/ 3528088 w 6569151"/>
              <a:gd name="connsiteY1698" fmla="*/ 444641 h 4490369"/>
              <a:gd name="connsiteX1699" fmla="*/ 3498448 w 6569151"/>
              <a:gd name="connsiteY1699" fmla="*/ 426856 h 4490369"/>
              <a:gd name="connsiteX1700" fmla="*/ 3474736 w 6569151"/>
              <a:gd name="connsiteY1700" fmla="*/ 385356 h 4490369"/>
              <a:gd name="connsiteX1701" fmla="*/ 3492520 w 6569151"/>
              <a:gd name="connsiteY1701" fmla="*/ 367570 h 4490369"/>
              <a:gd name="connsiteX1702" fmla="*/ 3522160 w 6569151"/>
              <a:gd name="connsiteY1702" fmla="*/ 373499 h 4490369"/>
              <a:gd name="connsiteX1703" fmla="*/ 3528088 w 6569151"/>
              <a:gd name="connsiteY1703" fmla="*/ 367570 h 4490369"/>
              <a:gd name="connsiteX1704" fmla="*/ 3528088 w 6569151"/>
              <a:gd name="connsiteY1704" fmla="*/ 343856 h 4490369"/>
              <a:gd name="connsiteX1705" fmla="*/ 3557728 w 6569151"/>
              <a:gd name="connsiteY1705" fmla="*/ 331999 h 4490369"/>
              <a:gd name="connsiteX1706" fmla="*/ 3563656 w 6569151"/>
              <a:gd name="connsiteY1706" fmla="*/ 343856 h 4490369"/>
              <a:gd name="connsiteX1707" fmla="*/ 3557728 w 6569151"/>
              <a:gd name="connsiteY1707" fmla="*/ 403142 h 4490369"/>
              <a:gd name="connsiteX1708" fmla="*/ 3563656 w 6569151"/>
              <a:gd name="connsiteY1708" fmla="*/ 409070 h 4490369"/>
              <a:gd name="connsiteX1709" fmla="*/ 3557728 w 6569151"/>
              <a:gd name="connsiteY1709" fmla="*/ 438713 h 4490369"/>
              <a:gd name="connsiteX1710" fmla="*/ 3569584 w 6569151"/>
              <a:gd name="connsiteY1710" fmla="*/ 444641 h 4490369"/>
              <a:gd name="connsiteX1711" fmla="*/ 3563656 w 6569151"/>
              <a:gd name="connsiteY1711" fmla="*/ 409070 h 4490369"/>
              <a:gd name="connsiteX1712" fmla="*/ 3569584 w 6569151"/>
              <a:gd name="connsiteY1712" fmla="*/ 391284 h 4490369"/>
              <a:gd name="connsiteX1713" fmla="*/ 3622936 w 6569151"/>
              <a:gd name="connsiteY1713" fmla="*/ 373499 h 4490369"/>
              <a:gd name="connsiteX1714" fmla="*/ 3640720 w 6569151"/>
              <a:gd name="connsiteY1714" fmla="*/ 391284 h 4490369"/>
              <a:gd name="connsiteX1715" fmla="*/ 3658504 w 6569151"/>
              <a:gd name="connsiteY1715" fmla="*/ 379427 h 4490369"/>
              <a:gd name="connsiteX1716" fmla="*/ 3652576 w 6569151"/>
              <a:gd name="connsiteY1716" fmla="*/ 367570 h 4490369"/>
              <a:gd name="connsiteX1717" fmla="*/ 3622936 w 6569151"/>
              <a:gd name="connsiteY1717" fmla="*/ 373499 h 4490369"/>
              <a:gd name="connsiteX1718" fmla="*/ 3617008 w 6569151"/>
              <a:gd name="connsiteY1718" fmla="*/ 337928 h 4490369"/>
              <a:gd name="connsiteX1719" fmla="*/ 3599224 w 6569151"/>
              <a:gd name="connsiteY1719" fmla="*/ 331999 h 4490369"/>
              <a:gd name="connsiteX1720" fmla="*/ 3581440 w 6569151"/>
              <a:gd name="connsiteY1720" fmla="*/ 326071 h 4490369"/>
              <a:gd name="connsiteX1721" fmla="*/ 3581440 w 6569151"/>
              <a:gd name="connsiteY1721" fmla="*/ 308285 h 4490369"/>
              <a:gd name="connsiteX1722" fmla="*/ 3628864 w 6569151"/>
              <a:gd name="connsiteY1722" fmla="*/ 296428 h 4490369"/>
              <a:gd name="connsiteX1723" fmla="*/ 3682216 w 6569151"/>
              <a:gd name="connsiteY1723" fmla="*/ 308285 h 4490369"/>
              <a:gd name="connsiteX1724" fmla="*/ 3682216 w 6569151"/>
              <a:gd name="connsiteY1724" fmla="*/ 314213 h 4490369"/>
              <a:gd name="connsiteX1725" fmla="*/ 3658504 w 6569151"/>
              <a:gd name="connsiteY1725" fmla="*/ 320142 h 4490369"/>
              <a:gd name="connsiteX1726" fmla="*/ 3652576 w 6569151"/>
              <a:gd name="connsiteY1726" fmla="*/ 326071 h 4490369"/>
              <a:gd name="connsiteX1727" fmla="*/ 3652576 w 6569151"/>
              <a:gd name="connsiteY1727" fmla="*/ 337928 h 4490369"/>
              <a:gd name="connsiteX1728" fmla="*/ 3717784 w 6569151"/>
              <a:gd name="connsiteY1728" fmla="*/ 337928 h 4490369"/>
              <a:gd name="connsiteX1729" fmla="*/ 3729640 w 6569151"/>
              <a:gd name="connsiteY1729" fmla="*/ 349785 h 4490369"/>
              <a:gd name="connsiteX1730" fmla="*/ 3723712 w 6569151"/>
              <a:gd name="connsiteY1730" fmla="*/ 373499 h 4490369"/>
              <a:gd name="connsiteX1731" fmla="*/ 3747424 w 6569151"/>
              <a:gd name="connsiteY1731" fmla="*/ 385356 h 4490369"/>
              <a:gd name="connsiteX1732" fmla="*/ 3747424 w 6569151"/>
              <a:gd name="connsiteY1732" fmla="*/ 391284 h 4490369"/>
              <a:gd name="connsiteX1733" fmla="*/ 3735568 w 6569151"/>
              <a:gd name="connsiteY1733" fmla="*/ 397213 h 4490369"/>
              <a:gd name="connsiteX1734" fmla="*/ 3688144 w 6569151"/>
              <a:gd name="connsiteY1734" fmla="*/ 403142 h 4490369"/>
              <a:gd name="connsiteX1735" fmla="*/ 3682216 w 6569151"/>
              <a:gd name="connsiteY1735" fmla="*/ 414999 h 4490369"/>
              <a:gd name="connsiteX1736" fmla="*/ 3688144 w 6569151"/>
              <a:gd name="connsiteY1736" fmla="*/ 456499 h 4490369"/>
              <a:gd name="connsiteX1737" fmla="*/ 3664432 w 6569151"/>
              <a:gd name="connsiteY1737" fmla="*/ 474284 h 4490369"/>
              <a:gd name="connsiteX1738" fmla="*/ 3652576 w 6569151"/>
              <a:gd name="connsiteY1738" fmla="*/ 438713 h 4490369"/>
              <a:gd name="connsiteX1739" fmla="*/ 3652576 w 6569151"/>
              <a:gd name="connsiteY1739" fmla="*/ 497998 h 4490369"/>
              <a:gd name="connsiteX1740" fmla="*/ 3634792 w 6569151"/>
              <a:gd name="connsiteY1740" fmla="*/ 521713 h 4490369"/>
              <a:gd name="connsiteX1741" fmla="*/ 3611080 w 6569151"/>
              <a:gd name="connsiteY1741" fmla="*/ 515784 h 4490369"/>
              <a:gd name="connsiteX1742" fmla="*/ 3605152 w 6569151"/>
              <a:gd name="connsiteY1742" fmla="*/ 515784 h 4490369"/>
              <a:gd name="connsiteX1743" fmla="*/ 3545872 w 6569151"/>
              <a:gd name="connsiteY1743" fmla="*/ 533570 h 4490369"/>
              <a:gd name="connsiteX1744" fmla="*/ 3403600 w 6569151"/>
              <a:gd name="connsiteY1744" fmla="*/ 527641 h 4490369"/>
              <a:gd name="connsiteX1745" fmla="*/ 3379888 w 6569151"/>
              <a:gd name="connsiteY1745" fmla="*/ 551355 h 4490369"/>
              <a:gd name="connsiteX1746" fmla="*/ 3362104 w 6569151"/>
              <a:gd name="connsiteY1746" fmla="*/ 551355 h 4490369"/>
              <a:gd name="connsiteX1747" fmla="*/ 3332464 w 6569151"/>
              <a:gd name="connsiteY1747" fmla="*/ 580998 h 4490369"/>
              <a:gd name="connsiteX1748" fmla="*/ 3320608 w 6569151"/>
              <a:gd name="connsiteY1748" fmla="*/ 551355 h 4490369"/>
              <a:gd name="connsiteX1749" fmla="*/ 3350248 w 6569151"/>
              <a:gd name="connsiteY1749" fmla="*/ 527641 h 4490369"/>
              <a:gd name="connsiteX1750" fmla="*/ 3344320 w 6569151"/>
              <a:gd name="connsiteY1750" fmla="*/ 521713 h 4490369"/>
              <a:gd name="connsiteX1751" fmla="*/ 3296896 w 6569151"/>
              <a:gd name="connsiteY1751" fmla="*/ 521713 h 4490369"/>
              <a:gd name="connsiteX1752" fmla="*/ 3279112 w 6569151"/>
              <a:gd name="connsiteY1752" fmla="*/ 515784 h 4490369"/>
              <a:gd name="connsiteX1753" fmla="*/ 3219832 w 6569151"/>
              <a:gd name="connsiteY1753" fmla="*/ 521713 h 4490369"/>
              <a:gd name="connsiteX1754" fmla="*/ 3190192 w 6569151"/>
              <a:gd name="connsiteY1754" fmla="*/ 497998 h 4490369"/>
              <a:gd name="connsiteX1755" fmla="*/ 3154624 w 6569151"/>
              <a:gd name="connsiteY1755" fmla="*/ 515784 h 4490369"/>
              <a:gd name="connsiteX1756" fmla="*/ 3154624 w 6569151"/>
              <a:gd name="connsiteY1756" fmla="*/ 527641 h 4490369"/>
              <a:gd name="connsiteX1757" fmla="*/ 3196120 w 6569151"/>
              <a:gd name="connsiteY1757" fmla="*/ 545427 h 4490369"/>
              <a:gd name="connsiteX1758" fmla="*/ 3190192 w 6569151"/>
              <a:gd name="connsiteY1758" fmla="*/ 557284 h 4490369"/>
              <a:gd name="connsiteX1759" fmla="*/ 3178336 w 6569151"/>
              <a:gd name="connsiteY1759" fmla="*/ 563213 h 4490369"/>
              <a:gd name="connsiteX1760" fmla="*/ 3148696 w 6569151"/>
              <a:gd name="connsiteY1760" fmla="*/ 545427 h 4490369"/>
              <a:gd name="connsiteX1761" fmla="*/ 3124984 w 6569151"/>
              <a:gd name="connsiteY1761" fmla="*/ 557284 h 4490369"/>
              <a:gd name="connsiteX1762" fmla="*/ 3107200 w 6569151"/>
              <a:gd name="connsiteY1762" fmla="*/ 580998 h 4490369"/>
              <a:gd name="connsiteX1763" fmla="*/ 3095344 w 6569151"/>
              <a:gd name="connsiteY1763" fmla="*/ 580998 h 4490369"/>
              <a:gd name="connsiteX1764" fmla="*/ 3083488 w 6569151"/>
              <a:gd name="connsiteY1764" fmla="*/ 569141 h 4490369"/>
              <a:gd name="connsiteX1765" fmla="*/ 3077560 w 6569151"/>
              <a:gd name="connsiteY1765" fmla="*/ 563213 h 4490369"/>
              <a:gd name="connsiteX1766" fmla="*/ 3083488 w 6569151"/>
              <a:gd name="connsiteY1766" fmla="*/ 569141 h 4490369"/>
              <a:gd name="connsiteX1767" fmla="*/ 3071632 w 6569151"/>
              <a:gd name="connsiteY1767" fmla="*/ 616570 h 4490369"/>
              <a:gd name="connsiteX1768" fmla="*/ 3000496 w 6569151"/>
              <a:gd name="connsiteY1768" fmla="*/ 663998 h 4490369"/>
              <a:gd name="connsiteX1769" fmla="*/ 2994568 w 6569151"/>
              <a:gd name="connsiteY1769" fmla="*/ 681784 h 4490369"/>
              <a:gd name="connsiteX1770" fmla="*/ 3036064 w 6569151"/>
              <a:gd name="connsiteY1770" fmla="*/ 699569 h 4490369"/>
              <a:gd name="connsiteX1771" fmla="*/ 3059776 w 6569151"/>
              <a:gd name="connsiteY1771" fmla="*/ 687712 h 4490369"/>
              <a:gd name="connsiteX1772" fmla="*/ 3065704 w 6569151"/>
              <a:gd name="connsiteY1772" fmla="*/ 705498 h 4490369"/>
              <a:gd name="connsiteX1773" fmla="*/ 3036064 w 6569151"/>
              <a:gd name="connsiteY1773" fmla="*/ 723283 h 4490369"/>
              <a:gd name="connsiteX1774" fmla="*/ 3012352 w 6569151"/>
              <a:gd name="connsiteY1774" fmla="*/ 752926 h 4490369"/>
              <a:gd name="connsiteX1775" fmla="*/ 2959000 w 6569151"/>
              <a:gd name="connsiteY1775" fmla="*/ 752926 h 4490369"/>
              <a:gd name="connsiteX1776" fmla="*/ 2959000 w 6569151"/>
              <a:gd name="connsiteY1776" fmla="*/ 735141 h 4490369"/>
              <a:gd name="connsiteX1777" fmla="*/ 3006424 w 6569151"/>
              <a:gd name="connsiteY1777" fmla="*/ 729212 h 4490369"/>
              <a:gd name="connsiteX1778" fmla="*/ 2994568 w 6569151"/>
              <a:gd name="connsiteY1778" fmla="*/ 717355 h 4490369"/>
              <a:gd name="connsiteX1779" fmla="*/ 2959000 w 6569151"/>
              <a:gd name="connsiteY1779" fmla="*/ 723283 h 4490369"/>
              <a:gd name="connsiteX1780" fmla="*/ 2959000 w 6569151"/>
              <a:gd name="connsiteY1780" fmla="*/ 735141 h 4490369"/>
              <a:gd name="connsiteX1781" fmla="*/ 2947144 w 6569151"/>
              <a:gd name="connsiteY1781" fmla="*/ 752926 h 4490369"/>
              <a:gd name="connsiteX1782" fmla="*/ 2941216 w 6569151"/>
              <a:gd name="connsiteY1782" fmla="*/ 794426 h 4490369"/>
              <a:gd name="connsiteX1783" fmla="*/ 2988640 w 6569151"/>
              <a:gd name="connsiteY1783" fmla="*/ 818140 h 4490369"/>
              <a:gd name="connsiteX1784" fmla="*/ 2994568 w 6569151"/>
              <a:gd name="connsiteY1784" fmla="*/ 877426 h 4490369"/>
              <a:gd name="connsiteX1785" fmla="*/ 3000496 w 6569151"/>
              <a:gd name="connsiteY1785" fmla="*/ 859640 h 4490369"/>
              <a:gd name="connsiteX1786" fmla="*/ 3006424 w 6569151"/>
              <a:gd name="connsiteY1786" fmla="*/ 841854 h 4490369"/>
              <a:gd name="connsiteX1787" fmla="*/ 3012352 w 6569151"/>
              <a:gd name="connsiteY1787" fmla="*/ 806283 h 4490369"/>
              <a:gd name="connsiteX1788" fmla="*/ 3006424 w 6569151"/>
              <a:gd name="connsiteY1788" fmla="*/ 782569 h 4490369"/>
              <a:gd name="connsiteX1789" fmla="*/ 3059776 w 6569151"/>
              <a:gd name="connsiteY1789" fmla="*/ 770712 h 4490369"/>
              <a:gd name="connsiteX1790" fmla="*/ 3059776 w 6569151"/>
              <a:gd name="connsiteY1790" fmla="*/ 794426 h 4490369"/>
              <a:gd name="connsiteX1791" fmla="*/ 3036064 w 6569151"/>
              <a:gd name="connsiteY1791" fmla="*/ 788497 h 4490369"/>
              <a:gd name="connsiteX1792" fmla="*/ 3030136 w 6569151"/>
              <a:gd name="connsiteY1792" fmla="*/ 794426 h 4490369"/>
              <a:gd name="connsiteX1793" fmla="*/ 3024208 w 6569151"/>
              <a:gd name="connsiteY1793" fmla="*/ 835926 h 4490369"/>
              <a:gd name="connsiteX1794" fmla="*/ 3053848 w 6569151"/>
              <a:gd name="connsiteY1794" fmla="*/ 835926 h 4490369"/>
              <a:gd name="connsiteX1795" fmla="*/ 3059776 w 6569151"/>
              <a:gd name="connsiteY1795" fmla="*/ 794426 h 4490369"/>
              <a:gd name="connsiteX1796" fmla="*/ 3089416 w 6569151"/>
              <a:gd name="connsiteY1796" fmla="*/ 829997 h 4490369"/>
              <a:gd name="connsiteX1797" fmla="*/ 3095344 w 6569151"/>
              <a:gd name="connsiteY1797" fmla="*/ 812212 h 4490369"/>
              <a:gd name="connsiteX1798" fmla="*/ 3113128 w 6569151"/>
              <a:gd name="connsiteY1798" fmla="*/ 782569 h 4490369"/>
              <a:gd name="connsiteX1799" fmla="*/ 3148696 w 6569151"/>
              <a:gd name="connsiteY1799" fmla="*/ 788497 h 4490369"/>
              <a:gd name="connsiteX1800" fmla="*/ 3160552 w 6569151"/>
              <a:gd name="connsiteY1800" fmla="*/ 764783 h 4490369"/>
              <a:gd name="connsiteX1801" fmla="*/ 3142768 w 6569151"/>
              <a:gd name="connsiteY1801" fmla="*/ 764783 h 4490369"/>
              <a:gd name="connsiteX1802" fmla="*/ 3107200 w 6569151"/>
              <a:gd name="connsiteY1802" fmla="*/ 746998 h 4490369"/>
              <a:gd name="connsiteX1803" fmla="*/ 3101272 w 6569151"/>
              <a:gd name="connsiteY1803" fmla="*/ 746998 h 4490369"/>
              <a:gd name="connsiteX1804" fmla="*/ 3083488 w 6569151"/>
              <a:gd name="connsiteY1804" fmla="*/ 705498 h 4490369"/>
              <a:gd name="connsiteX1805" fmla="*/ 3101272 w 6569151"/>
              <a:gd name="connsiteY1805" fmla="*/ 693641 h 4490369"/>
              <a:gd name="connsiteX1806" fmla="*/ 3124984 w 6569151"/>
              <a:gd name="connsiteY1806" fmla="*/ 699569 h 4490369"/>
              <a:gd name="connsiteX1807" fmla="*/ 3136840 w 6569151"/>
              <a:gd name="connsiteY1807" fmla="*/ 693641 h 4490369"/>
              <a:gd name="connsiteX1808" fmla="*/ 3142768 w 6569151"/>
              <a:gd name="connsiteY1808" fmla="*/ 669926 h 4490369"/>
              <a:gd name="connsiteX1809" fmla="*/ 3184264 w 6569151"/>
              <a:gd name="connsiteY1809" fmla="*/ 663998 h 4490369"/>
              <a:gd name="connsiteX1810" fmla="*/ 3184264 w 6569151"/>
              <a:gd name="connsiteY1810" fmla="*/ 681784 h 4490369"/>
              <a:gd name="connsiteX1811" fmla="*/ 3202048 w 6569151"/>
              <a:gd name="connsiteY1811" fmla="*/ 681784 h 4490369"/>
              <a:gd name="connsiteX1812" fmla="*/ 3202048 w 6569151"/>
              <a:gd name="connsiteY1812" fmla="*/ 646212 h 4490369"/>
              <a:gd name="connsiteX1813" fmla="*/ 3190192 w 6569151"/>
              <a:gd name="connsiteY1813" fmla="*/ 640284 h 4490369"/>
              <a:gd name="connsiteX1814" fmla="*/ 3142768 w 6569151"/>
              <a:gd name="connsiteY1814" fmla="*/ 628427 h 4490369"/>
              <a:gd name="connsiteX1815" fmla="*/ 3166480 w 6569151"/>
              <a:gd name="connsiteY1815" fmla="*/ 604712 h 4490369"/>
              <a:gd name="connsiteX1816" fmla="*/ 3190192 w 6569151"/>
              <a:gd name="connsiteY1816" fmla="*/ 616570 h 4490369"/>
              <a:gd name="connsiteX1817" fmla="*/ 3249472 w 6569151"/>
              <a:gd name="connsiteY1817" fmla="*/ 604712 h 4490369"/>
              <a:gd name="connsiteX1818" fmla="*/ 3273184 w 6569151"/>
              <a:gd name="connsiteY1818" fmla="*/ 610641 h 4490369"/>
              <a:gd name="connsiteX1819" fmla="*/ 3302824 w 6569151"/>
              <a:gd name="connsiteY1819" fmla="*/ 598784 h 4490369"/>
              <a:gd name="connsiteX1820" fmla="*/ 3332464 w 6569151"/>
              <a:gd name="connsiteY1820" fmla="*/ 616570 h 4490369"/>
              <a:gd name="connsiteX1821" fmla="*/ 3362104 w 6569151"/>
              <a:gd name="connsiteY1821" fmla="*/ 616570 h 4490369"/>
              <a:gd name="connsiteX1822" fmla="*/ 3433240 w 6569151"/>
              <a:gd name="connsiteY1822" fmla="*/ 616570 h 4490369"/>
              <a:gd name="connsiteX1823" fmla="*/ 3439168 w 6569151"/>
              <a:gd name="connsiteY1823" fmla="*/ 616570 h 4490369"/>
              <a:gd name="connsiteX1824" fmla="*/ 3451024 w 6569151"/>
              <a:gd name="connsiteY1824" fmla="*/ 604712 h 4490369"/>
              <a:gd name="connsiteX1825" fmla="*/ 3445096 w 6569151"/>
              <a:gd name="connsiteY1825" fmla="*/ 575070 h 4490369"/>
              <a:gd name="connsiteX1826" fmla="*/ 3445096 w 6569151"/>
              <a:gd name="connsiteY1826" fmla="*/ 569141 h 4490369"/>
              <a:gd name="connsiteX1827" fmla="*/ 3409528 w 6569151"/>
              <a:gd name="connsiteY1827" fmla="*/ 557284 h 4490369"/>
              <a:gd name="connsiteX1828" fmla="*/ 3421384 w 6569151"/>
              <a:gd name="connsiteY1828" fmla="*/ 545427 h 4490369"/>
              <a:gd name="connsiteX1829" fmla="*/ 3456952 w 6569151"/>
              <a:gd name="connsiteY1829" fmla="*/ 551355 h 4490369"/>
              <a:gd name="connsiteX1830" fmla="*/ 3468808 w 6569151"/>
              <a:gd name="connsiteY1830" fmla="*/ 610641 h 4490369"/>
              <a:gd name="connsiteX1831" fmla="*/ 3492520 w 6569151"/>
              <a:gd name="connsiteY1831" fmla="*/ 586927 h 4490369"/>
              <a:gd name="connsiteX1832" fmla="*/ 3480664 w 6569151"/>
              <a:gd name="connsiteY1832" fmla="*/ 551355 h 4490369"/>
              <a:gd name="connsiteX1833" fmla="*/ 3504376 w 6569151"/>
              <a:gd name="connsiteY1833" fmla="*/ 533570 h 4490369"/>
              <a:gd name="connsiteX1834" fmla="*/ 3545872 w 6569151"/>
              <a:gd name="connsiteY1834" fmla="*/ 551355 h 4490369"/>
              <a:gd name="connsiteX1835" fmla="*/ 3545872 w 6569151"/>
              <a:gd name="connsiteY1835" fmla="*/ 586927 h 4490369"/>
              <a:gd name="connsiteX1836" fmla="*/ 3516232 w 6569151"/>
              <a:gd name="connsiteY1836" fmla="*/ 598784 h 4490369"/>
              <a:gd name="connsiteX1837" fmla="*/ 3516232 w 6569151"/>
              <a:gd name="connsiteY1837" fmla="*/ 604712 h 4490369"/>
              <a:gd name="connsiteX1838" fmla="*/ 3534016 w 6569151"/>
              <a:gd name="connsiteY1838" fmla="*/ 634355 h 4490369"/>
              <a:gd name="connsiteX1839" fmla="*/ 3510304 w 6569151"/>
              <a:gd name="connsiteY1839" fmla="*/ 646212 h 4490369"/>
              <a:gd name="connsiteX1840" fmla="*/ 3486592 w 6569151"/>
              <a:gd name="connsiteY1840" fmla="*/ 658069 h 4490369"/>
              <a:gd name="connsiteX1841" fmla="*/ 3480664 w 6569151"/>
              <a:gd name="connsiteY1841" fmla="*/ 640284 h 4490369"/>
              <a:gd name="connsiteX1842" fmla="*/ 3474736 w 6569151"/>
              <a:gd name="connsiteY1842" fmla="*/ 640284 h 4490369"/>
              <a:gd name="connsiteX1843" fmla="*/ 3468808 w 6569151"/>
              <a:gd name="connsiteY1843" fmla="*/ 646212 h 4490369"/>
              <a:gd name="connsiteX1844" fmla="*/ 3486592 w 6569151"/>
              <a:gd name="connsiteY1844" fmla="*/ 658069 h 4490369"/>
              <a:gd name="connsiteX1845" fmla="*/ 3462880 w 6569151"/>
              <a:gd name="connsiteY1845" fmla="*/ 681784 h 4490369"/>
              <a:gd name="connsiteX1846" fmla="*/ 3427312 w 6569151"/>
              <a:gd name="connsiteY1846" fmla="*/ 663998 h 4490369"/>
              <a:gd name="connsiteX1847" fmla="*/ 3409528 w 6569151"/>
              <a:gd name="connsiteY1847" fmla="*/ 681784 h 4490369"/>
              <a:gd name="connsiteX1848" fmla="*/ 3421384 w 6569151"/>
              <a:gd name="connsiteY1848" fmla="*/ 681784 h 4490369"/>
              <a:gd name="connsiteX1849" fmla="*/ 3427312 w 6569151"/>
              <a:gd name="connsiteY1849" fmla="*/ 723283 h 4490369"/>
              <a:gd name="connsiteX1850" fmla="*/ 3397672 w 6569151"/>
              <a:gd name="connsiteY1850" fmla="*/ 717355 h 4490369"/>
              <a:gd name="connsiteX1851" fmla="*/ 3391744 w 6569151"/>
              <a:gd name="connsiteY1851" fmla="*/ 735141 h 4490369"/>
              <a:gd name="connsiteX1852" fmla="*/ 3403600 w 6569151"/>
              <a:gd name="connsiteY1852" fmla="*/ 741069 h 4490369"/>
              <a:gd name="connsiteX1853" fmla="*/ 3439168 w 6569151"/>
              <a:gd name="connsiteY1853" fmla="*/ 729212 h 4490369"/>
              <a:gd name="connsiteX1854" fmla="*/ 3456952 w 6569151"/>
              <a:gd name="connsiteY1854" fmla="*/ 699569 h 4490369"/>
              <a:gd name="connsiteX1855" fmla="*/ 3528088 w 6569151"/>
              <a:gd name="connsiteY1855" fmla="*/ 652141 h 4490369"/>
              <a:gd name="connsiteX1856" fmla="*/ 3534016 w 6569151"/>
              <a:gd name="connsiteY1856" fmla="*/ 634355 h 4490369"/>
              <a:gd name="connsiteX1857" fmla="*/ 3587368 w 6569151"/>
              <a:gd name="connsiteY1857" fmla="*/ 598784 h 4490369"/>
              <a:gd name="connsiteX1858" fmla="*/ 3688144 w 6569151"/>
              <a:gd name="connsiteY1858" fmla="*/ 539498 h 4490369"/>
              <a:gd name="connsiteX1859" fmla="*/ 3717784 w 6569151"/>
              <a:gd name="connsiteY1859" fmla="*/ 503927 h 4490369"/>
              <a:gd name="connsiteX1860" fmla="*/ 3729640 w 6569151"/>
              <a:gd name="connsiteY1860" fmla="*/ 503927 h 4490369"/>
              <a:gd name="connsiteX1861" fmla="*/ 3723712 w 6569151"/>
              <a:gd name="connsiteY1861" fmla="*/ 527641 h 4490369"/>
              <a:gd name="connsiteX1862" fmla="*/ 3741496 w 6569151"/>
              <a:gd name="connsiteY1862" fmla="*/ 527641 h 4490369"/>
              <a:gd name="connsiteX1863" fmla="*/ 3759280 w 6569151"/>
              <a:gd name="connsiteY1863" fmla="*/ 497998 h 4490369"/>
              <a:gd name="connsiteX1864" fmla="*/ 3788920 w 6569151"/>
              <a:gd name="connsiteY1864" fmla="*/ 497998 h 4490369"/>
              <a:gd name="connsiteX1865" fmla="*/ 3806704 w 6569151"/>
              <a:gd name="connsiteY1865" fmla="*/ 503927 h 4490369"/>
              <a:gd name="connsiteX1866" fmla="*/ 3800776 w 6569151"/>
              <a:gd name="connsiteY1866" fmla="*/ 515784 h 4490369"/>
              <a:gd name="connsiteX1867" fmla="*/ 3741496 w 6569151"/>
              <a:gd name="connsiteY1867" fmla="*/ 563213 h 4490369"/>
              <a:gd name="connsiteX1868" fmla="*/ 3729640 w 6569151"/>
              <a:gd name="connsiteY1868" fmla="*/ 598784 h 4490369"/>
              <a:gd name="connsiteX1869" fmla="*/ 3735568 w 6569151"/>
              <a:gd name="connsiteY1869" fmla="*/ 604712 h 4490369"/>
              <a:gd name="connsiteX1870" fmla="*/ 3759280 w 6569151"/>
              <a:gd name="connsiteY1870" fmla="*/ 569141 h 4490369"/>
              <a:gd name="connsiteX1871" fmla="*/ 3768913 w 6569151"/>
              <a:gd name="connsiteY1871" fmla="*/ 566918 h 4490369"/>
              <a:gd name="connsiteX1872" fmla="*/ 3777629 w 6569151"/>
              <a:gd name="connsiteY1872" fmla="*/ 568294 h 4490369"/>
              <a:gd name="connsiteX1873" fmla="*/ 3777064 w 6569151"/>
              <a:gd name="connsiteY1873" fmla="*/ 569141 h 4490369"/>
              <a:gd name="connsiteX1874" fmla="*/ 3782992 w 6569151"/>
              <a:gd name="connsiteY1874" fmla="*/ 569141 h 4490369"/>
              <a:gd name="connsiteX1875" fmla="*/ 3777629 w 6569151"/>
              <a:gd name="connsiteY1875" fmla="*/ 568294 h 4490369"/>
              <a:gd name="connsiteX1876" fmla="*/ 3788920 w 6569151"/>
              <a:gd name="connsiteY1876" fmla="*/ 551355 h 4490369"/>
              <a:gd name="connsiteX1877" fmla="*/ 3854128 w 6569151"/>
              <a:gd name="connsiteY1877" fmla="*/ 527641 h 4490369"/>
              <a:gd name="connsiteX1878" fmla="*/ 3860056 w 6569151"/>
              <a:gd name="connsiteY1878" fmla="*/ 509856 h 4490369"/>
              <a:gd name="connsiteX1879" fmla="*/ 3907480 w 6569151"/>
              <a:gd name="connsiteY1879" fmla="*/ 480213 h 4490369"/>
              <a:gd name="connsiteX1880" fmla="*/ 3913408 w 6569151"/>
              <a:gd name="connsiteY1880" fmla="*/ 492070 h 4490369"/>
              <a:gd name="connsiteX1881" fmla="*/ 3901552 w 6569151"/>
              <a:gd name="connsiteY1881" fmla="*/ 509856 h 4490369"/>
              <a:gd name="connsiteX1882" fmla="*/ 3907480 w 6569151"/>
              <a:gd name="connsiteY1882" fmla="*/ 509856 h 4490369"/>
              <a:gd name="connsiteX1883" fmla="*/ 3895624 w 6569151"/>
              <a:gd name="connsiteY1883" fmla="*/ 521713 h 4490369"/>
              <a:gd name="connsiteX1884" fmla="*/ 3889696 w 6569151"/>
              <a:gd name="connsiteY1884" fmla="*/ 545427 h 4490369"/>
              <a:gd name="connsiteX1885" fmla="*/ 3854128 w 6569151"/>
              <a:gd name="connsiteY1885" fmla="*/ 575070 h 4490369"/>
              <a:gd name="connsiteX1886" fmla="*/ 3818560 w 6569151"/>
              <a:gd name="connsiteY1886" fmla="*/ 616570 h 4490369"/>
              <a:gd name="connsiteX1887" fmla="*/ 3860056 w 6569151"/>
              <a:gd name="connsiteY1887" fmla="*/ 616570 h 4490369"/>
              <a:gd name="connsiteX1888" fmla="*/ 3865984 w 6569151"/>
              <a:gd name="connsiteY1888" fmla="*/ 592855 h 4490369"/>
              <a:gd name="connsiteX1889" fmla="*/ 3901552 w 6569151"/>
              <a:gd name="connsiteY1889" fmla="*/ 586927 h 4490369"/>
              <a:gd name="connsiteX1890" fmla="*/ 3919336 w 6569151"/>
              <a:gd name="connsiteY1890" fmla="*/ 569141 h 4490369"/>
              <a:gd name="connsiteX1891" fmla="*/ 3919336 w 6569151"/>
              <a:gd name="connsiteY1891" fmla="*/ 598784 h 4490369"/>
              <a:gd name="connsiteX1892" fmla="*/ 3895624 w 6569151"/>
              <a:gd name="connsiteY1892" fmla="*/ 610641 h 4490369"/>
              <a:gd name="connsiteX1893" fmla="*/ 3889696 w 6569151"/>
              <a:gd name="connsiteY1893" fmla="*/ 634355 h 4490369"/>
              <a:gd name="connsiteX1894" fmla="*/ 3871912 w 6569151"/>
              <a:gd name="connsiteY1894" fmla="*/ 658069 h 4490369"/>
              <a:gd name="connsiteX1895" fmla="*/ 3895624 w 6569151"/>
              <a:gd name="connsiteY1895" fmla="*/ 663998 h 4490369"/>
              <a:gd name="connsiteX1896" fmla="*/ 3895624 w 6569151"/>
              <a:gd name="connsiteY1896" fmla="*/ 675855 h 4490369"/>
              <a:gd name="connsiteX1897" fmla="*/ 3889696 w 6569151"/>
              <a:gd name="connsiteY1897" fmla="*/ 717355 h 4490369"/>
              <a:gd name="connsiteX1898" fmla="*/ 3865984 w 6569151"/>
              <a:gd name="connsiteY1898" fmla="*/ 735141 h 4490369"/>
              <a:gd name="connsiteX1899" fmla="*/ 3871912 w 6569151"/>
              <a:gd name="connsiteY1899" fmla="*/ 741069 h 4490369"/>
              <a:gd name="connsiteX1900" fmla="*/ 3895624 w 6569151"/>
              <a:gd name="connsiteY1900" fmla="*/ 735141 h 4490369"/>
              <a:gd name="connsiteX1901" fmla="*/ 3907480 w 6569151"/>
              <a:gd name="connsiteY1901" fmla="*/ 711426 h 4490369"/>
              <a:gd name="connsiteX1902" fmla="*/ 3948976 w 6569151"/>
              <a:gd name="connsiteY1902" fmla="*/ 681784 h 4490369"/>
              <a:gd name="connsiteX1903" fmla="*/ 3966760 w 6569151"/>
              <a:gd name="connsiteY1903" fmla="*/ 693641 h 4490369"/>
              <a:gd name="connsiteX1904" fmla="*/ 3960832 w 6569151"/>
              <a:gd name="connsiteY1904" fmla="*/ 705498 h 4490369"/>
              <a:gd name="connsiteX1905" fmla="*/ 3871912 w 6569151"/>
              <a:gd name="connsiteY1905" fmla="*/ 800355 h 4490369"/>
              <a:gd name="connsiteX1906" fmla="*/ 3800776 w 6569151"/>
              <a:gd name="connsiteY1906" fmla="*/ 871497 h 4490369"/>
              <a:gd name="connsiteX1907" fmla="*/ 3759280 w 6569151"/>
              <a:gd name="connsiteY1907" fmla="*/ 912997 h 4490369"/>
              <a:gd name="connsiteX1908" fmla="*/ 3670360 w 6569151"/>
              <a:gd name="connsiteY1908" fmla="*/ 1001925 h 4490369"/>
              <a:gd name="connsiteX1909" fmla="*/ 3617008 w 6569151"/>
              <a:gd name="connsiteY1909" fmla="*/ 1055282 h 4490369"/>
              <a:gd name="connsiteX1910" fmla="*/ 3569584 w 6569151"/>
              <a:gd name="connsiteY1910" fmla="*/ 1102711 h 4490369"/>
              <a:gd name="connsiteX1911" fmla="*/ 3516232 w 6569151"/>
              <a:gd name="connsiteY1911" fmla="*/ 1156068 h 4490369"/>
              <a:gd name="connsiteX1912" fmla="*/ 3498448 w 6569151"/>
              <a:gd name="connsiteY1912" fmla="*/ 1173853 h 4490369"/>
              <a:gd name="connsiteX1913" fmla="*/ 3474736 w 6569151"/>
              <a:gd name="connsiteY1913" fmla="*/ 1185710 h 4490369"/>
              <a:gd name="connsiteX1914" fmla="*/ 3373960 w 6569151"/>
              <a:gd name="connsiteY1914" fmla="*/ 1262782 h 4490369"/>
              <a:gd name="connsiteX1915" fmla="*/ 3273184 w 6569151"/>
              <a:gd name="connsiteY1915" fmla="*/ 1333924 h 4490369"/>
              <a:gd name="connsiteX1916" fmla="*/ 3255400 w 6569151"/>
              <a:gd name="connsiteY1916" fmla="*/ 1339853 h 4490369"/>
              <a:gd name="connsiteX1917" fmla="*/ 3249472 w 6569151"/>
              <a:gd name="connsiteY1917" fmla="*/ 1381353 h 4490369"/>
              <a:gd name="connsiteX1918" fmla="*/ 3231688 w 6569151"/>
              <a:gd name="connsiteY1918" fmla="*/ 1393210 h 4490369"/>
              <a:gd name="connsiteX1919" fmla="*/ 3225760 w 6569151"/>
              <a:gd name="connsiteY1919" fmla="*/ 1422853 h 4490369"/>
              <a:gd name="connsiteX1920" fmla="*/ 3190192 w 6569151"/>
              <a:gd name="connsiteY1920" fmla="*/ 1422853 h 4490369"/>
              <a:gd name="connsiteX1921" fmla="*/ 3172408 w 6569151"/>
              <a:gd name="connsiteY1921" fmla="*/ 1470281 h 4490369"/>
              <a:gd name="connsiteX1922" fmla="*/ 3184264 w 6569151"/>
              <a:gd name="connsiteY1922" fmla="*/ 1529566 h 4490369"/>
              <a:gd name="connsiteX1923" fmla="*/ 3166480 w 6569151"/>
              <a:gd name="connsiteY1923" fmla="*/ 1529566 h 4490369"/>
              <a:gd name="connsiteX1924" fmla="*/ 3154624 w 6569151"/>
              <a:gd name="connsiteY1924" fmla="*/ 1511781 h 4490369"/>
              <a:gd name="connsiteX1925" fmla="*/ 3124984 w 6569151"/>
              <a:gd name="connsiteY1925" fmla="*/ 1529566 h 4490369"/>
              <a:gd name="connsiteX1926" fmla="*/ 3101272 w 6569151"/>
              <a:gd name="connsiteY1926" fmla="*/ 1529566 h 4490369"/>
              <a:gd name="connsiteX1927" fmla="*/ 3083488 w 6569151"/>
              <a:gd name="connsiteY1927" fmla="*/ 1565138 h 4490369"/>
              <a:gd name="connsiteX1928" fmla="*/ 3071632 w 6569151"/>
              <a:gd name="connsiteY1928" fmla="*/ 1559209 h 4490369"/>
              <a:gd name="connsiteX1929" fmla="*/ 3059776 w 6569151"/>
              <a:gd name="connsiteY1929" fmla="*/ 1535495 h 4490369"/>
              <a:gd name="connsiteX1930" fmla="*/ 3053848 w 6569151"/>
              <a:gd name="connsiteY1930" fmla="*/ 1541424 h 4490369"/>
              <a:gd name="connsiteX1931" fmla="*/ 3059776 w 6569151"/>
              <a:gd name="connsiteY1931" fmla="*/ 1582923 h 4490369"/>
              <a:gd name="connsiteX1932" fmla="*/ 3071632 w 6569151"/>
              <a:gd name="connsiteY1932" fmla="*/ 1594781 h 4490369"/>
              <a:gd name="connsiteX1933" fmla="*/ 3095344 w 6569151"/>
              <a:gd name="connsiteY1933" fmla="*/ 1594781 h 4490369"/>
              <a:gd name="connsiteX1934" fmla="*/ 3107200 w 6569151"/>
              <a:gd name="connsiteY1934" fmla="*/ 1565138 h 4490369"/>
              <a:gd name="connsiteX1935" fmla="*/ 3148696 w 6569151"/>
              <a:gd name="connsiteY1935" fmla="*/ 1565138 h 4490369"/>
              <a:gd name="connsiteX1936" fmla="*/ 3178336 w 6569151"/>
              <a:gd name="connsiteY1936" fmla="*/ 1606638 h 4490369"/>
              <a:gd name="connsiteX1937" fmla="*/ 3202048 w 6569151"/>
              <a:gd name="connsiteY1937" fmla="*/ 1600709 h 4490369"/>
              <a:gd name="connsiteX1938" fmla="*/ 3207976 w 6569151"/>
              <a:gd name="connsiteY1938" fmla="*/ 1559209 h 4490369"/>
              <a:gd name="connsiteX1939" fmla="*/ 3231688 w 6569151"/>
              <a:gd name="connsiteY1939" fmla="*/ 1553281 h 4490369"/>
              <a:gd name="connsiteX1940" fmla="*/ 3249472 w 6569151"/>
              <a:gd name="connsiteY1940" fmla="*/ 1505852 h 4490369"/>
              <a:gd name="connsiteX1941" fmla="*/ 3237616 w 6569151"/>
              <a:gd name="connsiteY1941" fmla="*/ 1482138 h 4490369"/>
              <a:gd name="connsiteX1942" fmla="*/ 3243544 w 6569151"/>
              <a:gd name="connsiteY1942" fmla="*/ 1452495 h 4490369"/>
              <a:gd name="connsiteX1943" fmla="*/ 3243544 w 6569151"/>
              <a:gd name="connsiteY1943" fmla="*/ 1416924 h 4490369"/>
              <a:gd name="connsiteX1944" fmla="*/ 3308752 w 6569151"/>
              <a:gd name="connsiteY1944" fmla="*/ 1387281 h 4490369"/>
              <a:gd name="connsiteX1945" fmla="*/ 3344320 w 6569151"/>
              <a:gd name="connsiteY1945" fmla="*/ 1363567 h 4490369"/>
              <a:gd name="connsiteX1946" fmla="*/ 3356176 w 6569151"/>
              <a:gd name="connsiteY1946" fmla="*/ 1387281 h 4490369"/>
              <a:gd name="connsiteX1947" fmla="*/ 3368032 w 6569151"/>
              <a:gd name="connsiteY1947" fmla="*/ 1375424 h 4490369"/>
              <a:gd name="connsiteX1948" fmla="*/ 3356176 w 6569151"/>
              <a:gd name="connsiteY1948" fmla="*/ 1339853 h 4490369"/>
              <a:gd name="connsiteX1949" fmla="*/ 3379888 w 6569151"/>
              <a:gd name="connsiteY1949" fmla="*/ 1316139 h 4490369"/>
              <a:gd name="connsiteX1950" fmla="*/ 3415456 w 6569151"/>
              <a:gd name="connsiteY1950" fmla="*/ 1304282 h 4490369"/>
              <a:gd name="connsiteX1951" fmla="*/ 3445096 w 6569151"/>
              <a:gd name="connsiteY1951" fmla="*/ 1310210 h 4490369"/>
              <a:gd name="connsiteX1952" fmla="*/ 3456952 w 6569151"/>
              <a:gd name="connsiteY1952" fmla="*/ 1286496 h 4490369"/>
              <a:gd name="connsiteX1953" fmla="*/ 3474736 w 6569151"/>
              <a:gd name="connsiteY1953" fmla="*/ 1286496 h 4490369"/>
              <a:gd name="connsiteX1954" fmla="*/ 3474736 w 6569151"/>
              <a:gd name="connsiteY1954" fmla="*/ 1304282 h 4490369"/>
              <a:gd name="connsiteX1955" fmla="*/ 3498448 w 6569151"/>
              <a:gd name="connsiteY1955" fmla="*/ 1286496 h 4490369"/>
              <a:gd name="connsiteX1956" fmla="*/ 3492520 w 6569151"/>
              <a:gd name="connsiteY1956" fmla="*/ 1215353 h 4490369"/>
              <a:gd name="connsiteX1957" fmla="*/ 3516232 w 6569151"/>
              <a:gd name="connsiteY1957" fmla="*/ 1191639 h 4490369"/>
              <a:gd name="connsiteX1958" fmla="*/ 3528088 w 6569151"/>
              <a:gd name="connsiteY1958" fmla="*/ 1173853 h 4490369"/>
              <a:gd name="connsiteX1959" fmla="*/ 3575512 w 6569151"/>
              <a:gd name="connsiteY1959" fmla="*/ 1156068 h 4490369"/>
              <a:gd name="connsiteX1960" fmla="*/ 3628864 w 6569151"/>
              <a:gd name="connsiteY1960" fmla="*/ 1156068 h 4490369"/>
              <a:gd name="connsiteX1961" fmla="*/ 3634792 w 6569151"/>
              <a:gd name="connsiteY1961" fmla="*/ 1150139 h 4490369"/>
              <a:gd name="connsiteX1962" fmla="*/ 3634792 w 6569151"/>
              <a:gd name="connsiteY1962" fmla="*/ 1126425 h 4490369"/>
              <a:gd name="connsiteX1963" fmla="*/ 3670360 w 6569151"/>
              <a:gd name="connsiteY1963" fmla="*/ 1114568 h 4490369"/>
              <a:gd name="connsiteX1964" fmla="*/ 3688144 w 6569151"/>
              <a:gd name="connsiteY1964" fmla="*/ 1096782 h 4490369"/>
              <a:gd name="connsiteX1965" fmla="*/ 3723712 w 6569151"/>
              <a:gd name="connsiteY1965" fmla="*/ 1096782 h 4490369"/>
              <a:gd name="connsiteX1966" fmla="*/ 3729640 w 6569151"/>
              <a:gd name="connsiteY1966" fmla="*/ 1090854 h 4490369"/>
              <a:gd name="connsiteX1967" fmla="*/ 3735568 w 6569151"/>
              <a:gd name="connsiteY1967" fmla="*/ 1061211 h 4490369"/>
              <a:gd name="connsiteX1968" fmla="*/ 3759280 w 6569151"/>
              <a:gd name="connsiteY1968" fmla="*/ 1055282 h 4490369"/>
              <a:gd name="connsiteX1969" fmla="*/ 3782992 w 6569151"/>
              <a:gd name="connsiteY1969" fmla="*/ 1067139 h 4490369"/>
              <a:gd name="connsiteX1970" fmla="*/ 3806704 w 6569151"/>
              <a:gd name="connsiteY1970" fmla="*/ 1055282 h 4490369"/>
              <a:gd name="connsiteX1971" fmla="*/ 3830416 w 6569151"/>
              <a:gd name="connsiteY1971" fmla="*/ 1055282 h 4490369"/>
              <a:gd name="connsiteX1972" fmla="*/ 3830416 w 6569151"/>
              <a:gd name="connsiteY1972" fmla="*/ 1031568 h 4490369"/>
              <a:gd name="connsiteX1973" fmla="*/ 3842272 w 6569151"/>
              <a:gd name="connsiteY1973" fmla="*/ 984140 h 4490369"/>
              <a:gd name="connsiteX1974" fmla="*/ 3871912 w 6569151"/>
              <a:gd name="connsiteY1974" fmla="*/ 966354 h 4490369"/>
              <a:gd name="connsiteX1975" fmla="*/ 3883768 w 6569151"/>
              <a:gd name="connsiteY1975" fmla="*/ 948568 h 4490369"/>
              <a:gd name="connsiteX1976" fmla="*/ 3895624 w 6569151"/>
              <a:gd name="connsiteY1976" fmla="*/ 966354 h 4490369"/>
              <a:gd name="connsiteX1977" fmla="*/ 3907480 w 6569151"/>
              <a:gd name="connsiteY1977" fmla="*/ 990068 h 4490369"/>
              <a:gd name="connsiteX1978" fmla="*/ 3889696 w 6569151"/>
              <a:gd name="connsiteY1978" fmla="*/ 995997 h 4490369"/>
              <a:gd name="connsiteX1979" fmla="*/ 3865984 w 6569151"/>
              <a:gd name="connsiteY1979" fmla="*/ 1001925 h 4490369"/>
              <a:gd name="connsiteX1980" fmla="*/ 3854128 w 6569151"/>
              <a:gd name="connsiteY1980" fmla="*/ 1013782 h 4490369"/>
              <a:gd name="connsiteX1981" fmla="*/ 3883768 w 6569151"/>
              <a:gd name="connsiteY1981" fmla="*/ 1037497 h 4490369"/>
              <a:gd name="connsiteX1982" fmla="*/ 3913408 w 6569151"/>
              <a:gd name="connsiteY1982" fmla="*/ 1049354 h 4490369"/>
              <a:gd name="connsiteX1983" fmla="*/ 3937120 w 6569151"/>
              <a:gd name="connsiteY1983" fmla="*/ 1031568 h 4490369"/>
              <a:gd name="connsiteX1984" fmla="*/ 3954904 w 6569151"/>
              <a:gd name="connsiteY1984" fmla="*/ 1031568 h 4490369"/>
              <a:gd name="connsiteX1985" fmla="*/ 3954904 w 6569151"/>
              <a:gd name="connsiteY1985" fmla="*/ 990068 h 4490369"/>
              <a:gd name="connsiteX1986" fmla="*/ 3972688 w 6569151"/>
              <a:gd name="connsiteY1986" fmla="*/ 960425 h 4490369"/>
              <a:gd name="connsiteX1987" fmla="*/ 4002328 w 6569151"/>
              <a:gd name="connsiteY1987" fmla="*/ 978211 h 4490369"/>
              <a:gd name="connsiteX1988" fmla="*/ 4008256 w 6569151"/>
              <a:gd name="connsiteY1988" fmla="*/ 948568 h 4490369"/>
              <a:gd name="connsiteX1989" fmla="*/ 4049752 w 6569151"/>
              <a:gd name="connsiteY1989" fmla="*/ 918926 h 4490369"/>
              <a:gd name="connsiteX1990" fmla="*/ 4067536 w 6569151"/>
              <a:gd name="connsiteY1990" fmla="*/ 918926 h 4490369"/>
              <a:gd name="connsiteX1991" fmla="*/ 4079392 w 6569151"/>
              <a:gd name="connsiteY1991" fmla="*/ 942640 h 4490369"/>
              <a:gd name="connsiteX1992" fmla="*/ 4126816 w 6569151"/>
              <a:gd name="connsiteY1992" fmla="*/ 942640 h 4490369"/>
              <a:gd name="connsiteX1993" fmla="*/ 4126816 w 6569151"/>
              <a:gd name="connsiteY1993" fmla="*/ 912997 h 4490369"/>
              <a:gd name="connsiteX1994" fmla="*/ 4097176 w 6569151"/>
              <a:gd name="connsiteY1994" fmla="*/ 924854 h 4490369"/>
              <a:gd name="connsiteX1995" fmla="*/ 4085320 w 6569151"/>
              <a:gd name="connsiteY1995" fmla="*/ 912997 h 4490369"/>
              <a:gd name="connsiteX1996" fmla="*/ 4097176 w 6569151"/>
              <a:gd name="connsiteY1996" fmla="*/ 877426 h 4490369"/>
              <a:gd name="connsiteX1997" fmla="*/ 4085320 w 6569151"/>
              <a:gd name="connsiteY1997" fmla="*/ 847783 h 4490369"/>
              <a:gd name="connsiteX1998" fmla="*/ 4103104 w 6569151"/>
              <a:gd name="connsiteY1998" fmla="*/ 835926 h 4490369"/>
              <a:gd name="connsiteX1999" fmla="*/ 4109032 w 6569151"/>
              <a:gd name="connsiteY1999" fmla="*/ 859640 h 4490369"/>
              <a:gd name="connsiteX2000" fmla="*/ 4120888 w 6569151"/>
              <a:gd name="connsiteY2000" fmla="*/ 865569 h 4490369"/>
              <a:gd name="connsiteX2001" fmla="*/ 4156456 w 6569151"/>
              <a:gd name="connsiteY2001" fmla="*/ 865569 h 4490369"/>
              <a:gd name="connsiteX2002" fmla="*/ 4203880 w 6569151"/>
              <a:gd name="connsiteY2002" fmla="*/ 853712 h 4490369"/>
              <a:gd name="connsiteX2003" fmla="*/ 4209808 w 6569151"/>
              <a:gd name="connsiteY2003" fmla="*/ 824069 h 4490369"/>
              <a:gd name="connsiteX2004" fmla="*/ 4269088 w 6569151"/>
              <a:gd name="connsiteY2004" fmla="*/ 800355 h 4490369"/>
              <a:gd name="connsiteX2005" fmla="*/ 4269088 w 6569151"/>
              <a:gd name="connsiteY2005" fmla="*/ 806283 h 4490369"/>
              <a:gd name="connsiteX2006" fmla="*/ 4269088 w 6569151"/>
              <a:gd name="connsiteY2006" fmla="*/ 818140 h 4490369"/>
              <a:gd name="connsiteX2007" fmla="*/ 4280944 w 6569151"/>
              <a:gd name="connsiteY2007" fmla="*/ 818140 h 4490369"/>
              <a:gd name="connsiteX2008" fmla="*/ 4292800 w 6569151"/>
              <a:gd name="connsiteY2008" fmla="*/ 794426 h 4490369"/>
              <a:gd name="connsiteX2009" fmla="*/ 4275016 w 6569151"/>
              <a:gd name="connsiteY2009" fmla="*/ 770712 h 4490369"/>
              <a:gd name="connsiteX2010" fmla="*/ 4263160 w 6569151"/>
              <a:gd name="connsiteY2010" fmla="*/ 770712 h 4490369"/>
              <a:gd name="connsiteX2011" fmla="*/ 4251304 w 6569151"/>
              <a:gd name="connsiteY2011" fmla="*/ 764783 h 4490369"/>
              <a:gd name="connsiteX2012" fmla="*/ 4257232 w 6569151"/>
              <a:gd name="connsiteY2012" fmla="*/ 735141 h 4490369"/>
              <a:gd name="connsiteX2013" fmla="*/ 4269088 w 6569151"/>
              <a:gd name="connsiteY2013" fmla="*/ 746998 h 4490369"/>
              <a:gd name="connsiteX2014" fmla="*/ 4316512 w 6569151"/>
              <a:gd name="connsiteY2014" fmla="*/ 752926 h 4490369"/>
              <a:gd name="connsiteX2015" fmla="*/ 4352080 w 6569151"/>
              <a:gd name="connsiteY2015" fmla="*/ 746998 h 4490369"/>
              <a:gd name="connsiteX2016" fmla="*/ 4369864 w 6569151"/>
              <a:gd name="connsiteY2016" fmla="*/ 717355 h 4490369"/>
              <a:gd name="connsiteX2017" fmla="*/ 4399504 w 6569151"/>
              <a:gd name="connsiteY2017" fmla="*/ 699569 h 4490369"/>
              <a:gd name="connsiteX2018" fmla="*/ 4411360 w 6569151"/>
              <a:gd name="connsiteY2018" fmla="*/ 681784 h 4490369"/>
              <a:gd name="connsiteX2019" fmla="*/ 4446928 w 6569151"/>
              <a:gd name="connsiteY2019" fmla="*/ 652141 h 4490369"/>
              <a:gd name="connsiteX2020" fmla="*/ 4458784 w 6569151"/>
              <a:gd name="connsiteY2020" fmla="*/ 640284 h 4490369"/>
              <a:gd name="connsiteX2021" fmla="*/ 4518064 w 6569151"/>
              <a:gd name="connsiteY2021" fmla="*/ 586927 h 4490369"/>
              <a:gd name="connsiteX2022" fmla="*/ 4535848 w 6569151"/>
              <a:gd name="connsiteY2022" fmla="*/ 563213 h 4490369"/>
              <a:gd name="connsiteX2023" fmla="*/ 4577344 w 6569151"/>
              <a:gd name="connsiteY2023" fmla="*/ 551355 h 4490369"/>
              <a:gd name="connsiteX2024" fmla="*/ 4618840 w 6569151"/>
              <a:gd name="connsiteY2024" fmla="*/ 557284 h 4490369"/>
              <a:gd name="connsiteX2025" fmla="*/ 4654408 w 6569151"/>
              <a:gd name="connsiteY2025" fmla="*/ 551355 h 4490369"/>
              <a:gd name="connsiteX2026" fmla="*/ 4684048 w 6569151"/>
              <a:gd name="connsiteY2026" fmla="*/ 551355 h 4490369"/>
              <a:gd name="connsiteX2027" fmla="*/ 4772968 w 6569151"/>
              <a:gd name="connsiteY2027" fmla="*/ 486141 h 4490369"/>
              <a:gd name="connsiteX2028" fmla="*/ 4790752 w 6569151"/>
              <a:gd name="connsiteY2028" fmla="*/ 480213 h 4490369"/>
              <a:gd name="connsiteX2029" fmla="*/ 4814464 w 6569151"/>
              <a:gd name="connsiteY2029" fmla="*/ 450570 h 4490369"/>
              <a:gd name="connsiteX2030" fmla="*/ 4855960 w 6569151"/>
              <a:gd name="connsiteY2030" fmla="*/ 426856 h 4490369"/>
              <a:gd name="connsiteX2031" fmla="*/ 4867816 w 6569151"/>
              <a:gd name="connsiteY2031" fmla="*/ 438713 h 4490369"/>
              <a:gd name="connsiteX2032" fmla="*/ 4867816 w 6569151"/>
              <a:gd name="connsiteY2032" fmla="*/ 492070 h 4490369"/>
              <a:gd name="connsiteX2033" fmla="*/ 4885600 w 6569151"/>
              <a:gd name="connsiteY2033" fmla="*/ 497998 h 4490369"/>
              <a:gd name="connsiteX2034" fmla="*/ 4879672 w 6569151"/>
              <a:gd name="connsiteY2034" fmla="*/ 527641 h 4490369"/>
              <a:gd name="connsiteX2035" fmla="*/ 4885600 w 6569151"/>
              <a:gd name="connsiteY2035" fmla="*/ 533570 h 4490369"/>
              <a:gd name="connsiteX2036" fmla="*/ 4885600 w 6569151"/>
              <a:gd name="connsiteY2036" fmla="*/ 497998 h 4490369"/>
              <a:gd name="connsiteX2037" fmla="*/ 4879672 w 6569151"/>
              <a:gd name="connsiteY2037" fmla="*/ 397213 h 4490369"/>
              <a:gd name="connsiteX2038" fmla="*/ 4909312 w 6569151"/>
              <a:gd name="connsiteY2038" fmla="*/ 391284 h 4490369"/>
              <a:gd name="connsiteX2039" fmla="*/ 4909312 w 6569151"/>
              <a:gd name="connsiteY2039" fmla="*/ 456499 h 4490369"/>
              <a:gd name="connsiteX2040" fmla="*/ 4921168 w 6569151"/>
              <a:gd name="connsiteY2040" fmla="*/ 492070 h 4490369"/>
              <a:gd name="connsiteX2041" fmla="*/ 4944880 w 6569151"/>
              <a:gd name="connsiteY2041" fmla="*/ 480213 h 4490369"/>
              <a:gd name="connsiteX2042" fmla="*/ 4962664 w 6569151"/>
              <a:gd name="connsiteY2042" fmla="*/ 492070 h 4490369"/>
              <a:gd name="connsiteX2043" fmla="*/ 4968592 w 6569151"/>
              <a:gd name="connsiteY2043" fmla="*/ 486141 h 4490369"/>
              <a:gd name="connsiteX2044" fmla="*/ 4962664 w 6569151"/>
              <a:gd name="connsiteY2044" fmla="*/ 474284 h 4490369"/>
              <a:gd name="connsiteX2045" fmla="*/ 4986376 w 6569151"/>
              <a:gd name="connsiteY2045" fmla="*/ 414999 h 4490369"/>
              <a:gd name="connsiteX2046" fmla="*/ 4992304 w 6569151"/>
              <a:gd name="connsiteY2046" fmla="*/ 409070 h 4490369"/>
              <a:gd name="connsiteX2047" fmla="*/ 5004160 w 6569151"/>
              <a:gd name="connsiteY2047" fmla="*/ 426856 h 4490369"/>
              <a:gd name="connsiteX2048" fmla="*/ 5021944 w 6569151"/>
              <a:gd name="connsiteY2048" fmla="*/ 373499 h 4490369"/>
              <a:gd name="connsiteX2049" fmla="*/ 5057512 w 6569151"/>
              <a:gd name="connsiteY2049" fmla="*/ 361642 h 4490369"/>
              <a:gd name="connsiteX2050" fmla="*/ 5087152 w 6569151"/>
              <a:gd name="connsiteY2050" fmla="*/ 343856 h 4490369"/>
              <a:gd name="connsiteX2051" fmla="*/ 5099008 w 6569151"/>
              <a:gd name="connsiteY2051" fmla="*/ 379427 h 4490369"/>
              <a:gd name="connsiteX2052" fmla="*/ 5104936 w 6569151"/>
              <a:gd name="connsiteY2052" fmla="*/ 379427 h 4490369"/>
              <a:gd name="connsiteX2053" fmla="*/ 5116792 w 6569151"/>
              <a:gd name="connsiteY2053" fmla="*/ 355713 h 4490369"/>
              <a:gd name="connsiteX2054" fmla="*/ 5128648 w 6569151"/>
              <a:gd name="connsiteY2054" fmla="*/ 337928 h 4490369"/>
              <a:gd name="connsiteX2055" fmla="*/ 5104936 w 6569151"/>
              <a:gd name="connsiteY2055" fmla="*/ 326071 h 4490369"/>
              <a:gd name="connsiteX2056" fmla="*/ 5110864 w 6569151"/>
              <a:gd name="connsiteY2056" fmla="*/ 308285 h 4490369"/>
              <a:gd name="connsiteX2057" fmla="*/ 5170144 w 6569151"/>
              <a:gd name="connsiteY2057" fmla="*/ 302356 h 4490369"/>
              <a:gd name="connsiteX2058" fmla="*/ 5170144 w 6569151"/>
              <a:gd name="connsiteY2058" fmla="*/ 272714 h 4490369"/>
              <a:gd name="connsiteX2059" fmla="*/ 5199784 w 6569151"/>
              <a:gd name="connsiteY2059" fmla="*/ 254928 h 4490369"/>
              <a:gd name="connsiteX2060" fmla="*/ 5217568 w 6569151"/>
              <a:gd name="connsiteY2060" fmla="*/ 225285 h 4490369"/>
              <a:gd name="connsiteX2061" fmla="*/ 5241280 w 6569151"/>
              <a:gd name="connsiteY2061" fmla="*/ 243071 h 4490369"/>
              <a:gd name="connsiteX2062" fmla="*/ 5247208 w 6569151"/>
              <a:gd name="connsiteY2062" fmla="*/ 201571 h 4490369"/>
              <a:gd name="connsiteX2063" fmla="*/ 5259064 w 6569151"/>
              <a:gd name="connsiteY2063" fmla="*/ 189714 h 4490369"/>
              <a:gd name="connsiteX2064" fmla="*/ 5288704 w 6569151"/>
              <a:gd name="connsiteY2064" fmla="*/ 207499 h 4490369"/>
              <a:gd name="connsiteX2065" fmla="*/ 5288704 w 6569151"/>
              <a:gd name="connsiteY2065" fmla="*/ 166000 h 4490369"/>
              <a:gd name="connsiteX2066" fmla="*/ 5300560 w 6569151"/>
              <a:gd name="connsiteY2066" fmla="*/ 154143 h 4490369"/>
              <a:gd name="connsiteX2067" fmla="*/ 5318344 w 6569151"/>
              <a:gd name="connsiteY2067" fmla="*/ 154143 h 4490369"/>
              <a:gd name="connsiteX2068" fmla="*/ 5330200 w 6569151"/>
              <a:gd name="connsiteY2068" fmla="*/ 148214 h 4490369"/>
              <a:gd name="connsiteX2069" fmla="*/ 5324272 w 6569151"/>
              <a:gd name="connsiteY2069" fmla="*/ 106714 h 4490369"/>
              <a:gd name="connsiteX2070" fmla="*/ 5353912 w 6569151"/>
              <a:gd name="connsiteY2070" fmla="*/ 100786 h 4490369"/>
              <a:gd name="connsiteX2071" fmla="*/ 5371696 w 6569151"/>
              <a:gd name="connsiteY2071" fmla="*/ 59286 h 4490369"/>
              <a:gd name="connsiteX2072" fmla="*/ 5389480 w 6569151"/>
              <a:gd name="connsiteY2072" fmla="*/ 23714 h 4490369"/>
              <a:gd name="connsiteX2073" fmla="*/ 5401336 w 6569151"/>
              <a:gd name="connsiteY2073" fmla="*/ 35571 h 4490369"/>
              <a:gd name="connsiteX2074" fmla="*/ 5395408 w 6569151"/>
              <a:gd name="connsiteY2074" fmla="*/ 59286 h 4490369"/>
              <a:gd name="connsiteX2075" fmla="*/ 5401336 w 6569151"/>
              <a:gd name="connsiteY2075" fmla="*/ 65214 h 4490369"/>
              <a:gd name="connsiteX2076" fmla="*/ 5407264 w 6569151"/>
              <a:gd name="connsiteY2076" fmla="*/ 65214 h 4490369"/>
              <a:gd name="connsiteX2077" fmla="*/ 5419120 w 6569151"/>
              <a:gd name="connsiteY2077" fmla="*/ 41500 h 4490369"/>
              <a:gd name="connsiteX2078" fmla="*/ 5430976 w 6569151"/>
              <a:gd name="connsiteY2078" fmla="*/ 65214 h 4490369"/>
              <a:gd name="connsiteX2079" fmla="*/ 5442832 w 6569151"/>
              <a:gd name="connsiteY2079" fmla="*/ 53357 h 4490369"/>
              <a:gd name="connsiteX2080" fmla="*/ 5442832 w 6569151"/>
              <a:gd name="connsiteY2080" fmla="*/ 29643 h 4490369"/>
              <a:gd name="connsiteX2081" fmla="*/ 5442832 w 6569151"/>
              <a:gd name="connsiteY2081" fmla="*/ 0 h 4490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  <a:cxn ang="0">
                <a:pos x="connsiteX1713" y="connsiteY1713"/>
              </a:cxn>
              <a:cxn ang="0">
                <a:pos x="connsiteX1714" y="connsiteY1714"/>
              </a:cxn>
              <a:cxn ang="0">
                <a:pos x="connsiteX1715" y="connsiteY1715"/>
              </a:cxn>
              <a:cxn ang="0">
                <a:pos x="connsiteX1716" y="connsiteY1716"/>
              </a:cxn>
              <a:cxn ang="0">
                <a:pos x="connsiteX1717" y="connsiteY1717"/>
              </a:cxn>
              <a:cxn ang="0">
                <a:pos x="connsiteX1718" y="connsiteY1718"/>
              </a:cxn>
              <a:cxn ang="0">
                <a:pos x="connsiteX1719" y="connsiteY1719"/>
              </a:cxn>
              <a:cxn ang="0">
                <a:pos x="connsiteX1720" y="connsiteY1720"/>
              </a:cxn>
              <a:cxn ang="0">
                <a:pos x="connsiteX1721" y="connsiteY1721"/>
              </a:cxn>
              <a:cxn ang="0">
                <a:pos x="connsiteX1722" y="connsiteY1722"/>
              </a:cxn>
              <a:cxn ang="0">
                <a:pos x="connsiteX1723" y="connsiteY1723"/>
              </a:cxn>
              <a:cxn ang="0">
                <a:pos x="connsiteX1724" y="connsiteY1724"/>
              </a:cxn>
              <a:cxn ang="0">
                <a:pos x="connsiteX1725" y="connsiteY1725"/>
              </a:cxn>
              <a:cxn ang="0">
                <a:pos x="connsiteX1726" y="connsiteY1726"/>
              </a:cxn>
              <a:cxn ang="0">
                <a:pos x="connsiteX1727" y="connsiteY1727"/>
              </a:cxn>
              <a:cxn ang="0">
                <a:pos x="connsiteX1728" y="connsiteY1728"/>
              </a:cxn>
              <a:cxn ang="0">
                <a:pos x="connsiteX1729" y="connsiteY1729"/>
              </a:cxn>
              <a:cxn ang="0">
                <a:pos x="connsiteX1730" y="connsiteY1730"/>
              </a:cxn>
              <a:cxn ang="0">
                <a:pos x="connsiteX1731" y="connsiteY1731"/>
              </a:cxn>
              <a:cxn ang="0">
                <a:pos x="connsiteX1732" y="connsiteY1732"/>
              </a:cxn>
              <a:cxn ang="0">
                <a:pos x="connsiteX1733" y="connsiteY1733"/>
              </a:cxn>
              <a:cxn ang="0">
                <a:pos x="connsiteX1734" y="connsiteY1734"/>
              </a:cxn>
              <a:cxn ang="0">
                <a:pos x="connsiteX1735" y="connsiteY1735"/>
              </a:cxn>
              <a:cxn ang="0">
                <a:pos x="connsiteX1736" y="connsiteY1736"/>
              </a:cxn>
              <a:cxn ang="0">
                <a:pos x="connsiteX1737" y="connsiteY1737"/>
              </a:cxn>
              <a:cxn ang="0">
                <a:pos x="connsiteX1738" y="connsiteY1738"/>
              </a:cxn>
              <a:cxn ang="0">
                <a:pos x="connsiteX1739" y="connsiteY1739"/>
              </a:cxn>
              <a:cxn ang="0">
                <a:pos x="connsiteX1740" y="connsiteY1740"/>
              </a:cxn>
              <a:cxn ang="0">
                <a:pos x="connsiteX1741" y="connsiteY1741"/>
              </a:cxn>
              <a:cxn ang="0">
                <a:pos x="connsiteX1742" y="connsiteY1742"/>
              </a:cxn>
              <a:cxn ang="0">
                <a:pos x="connsiteX1743" y="connsiteY1743"/>
              </a:cxn>
              <a:cxn ang="0">
                <a:pos x="connsiteX1744" y="connsiteY1744"/>
              </a:cxn>
              <a:cxn ang="0">
                <a:pos x="connsiteX1745" y="connsiteY1745"/>
              </a:cxn>
              <a:cxn ang="0">
                <a:pos x="connsiteX1746" y="connsiteY1746"/>
              </a:cxn>
              <a:cxn ang="0">
                <a:pos x="connsiteX1747" y="connsiteY1747"/>
              </a:cxn>
              <a:cxn ang="0">
                <a:pos x="connsiteX1748" y="connsiteY1748"/>
              </a:cxn>
              <a:cxn ang="0">
                <a:pos x="connsiteX1749" y="connsiteY1749"/>
              </a:cxn>
              <a:cxn ang="0">
                <a:pos x="connsiteX1750" y="connsiteY1750"/>
              </a:cxn>
              <a:cxn ang="0">
                <a:pos x="connsiteX1751" y="connsiteY1751"/>
              </a:cxn>
              <a:cxn ang="0">
                <a:pos x="connsiteX1752" y="connsiteY1752"/>
              </a:cxn>
              <a:cxn ang="0">
                <a:pos x="connsiteX1753" y="connsiteY1753"/>
              </a:cxn>
              <a:cxn ang="0">
                <a:pos x="connsiteX1754" y="connsiteY1754"/>
              </a:cxn>
              <a:cxn ang="0">
                <a:pos x="connsiteX1755" y="connsiteY1755"/>
              </a:cxn>
              <a:cxn ang="0">
                <a:pos x="connsiteX1756" y="connsiteY1756"/>
              </a:cxn>
              <a:cxn ang="0">
                <a:pos x="connsiteX1757" y="connsiteY1757"/>
              </a:cxn>
              <a:cxn ang="0">
                <a:pos x="connsiteX1758" y="connsiteY1758"/>
              </a:cxn>
              <a:cxn ang="0">
                <a:pos x="connsiteX1759" y="connsiteY1759"/>
              </a:cxn>
              <a:cxn ang="0">
                <a:pos x="connsiteX1760" y="connsiteY1760"/>
              </a:cxn>
              <a:cxn ang="0">
                <a:pos x="connsiteX1761" y="connsiteY1761"/>
              </a:cxn>
              <a:cxn ang="0">
                <a:pos x="connsiteX1762" y="connsiteY1762"/>
              </a:cxn>
              <a:cxn ang="0">
                <a:pos x="connsiteX1763" y="connsiteY1763"/>
              </a:cxn>
              <a:cxn ang="0">
                <a:pos x="connsiteX1764" y="connsiteY1764"/>
              </a:cxn>
              <a:cxn ang="0">
                <a:pos x="connsiteX1765" y="connsiteY1765"/>
              </a:cxn>
              <a:cxn ang="0">
                <a:pos x="connsiteX1766" y="connsiteY1766"/>
              </a:cxn>
              <a:cxn ang="0">
                <a:pos x="connsiteX1767" y="connsiteY1767"/>
              </a:cxn>
              <a:cxn ang="0">
                <a:pos x="connsiteX1768" y="connsiteY1768"/>
              </a:cxn>
              <a:cxn ang="0">
                <a:pos x="connsiteX1769" y="connsiteY1769"/>
              </a:cxn>
              <a:cxn ang="0">
                <a:pos x="connsiteX1770" y="connsiteY1770"/>
              </a:cxn>
              <a:cxn ang="0">
                <a:pos x="connsiteX1771" y="connsiteY1771"/>
              </a:cxn>
              <a:cxn ang="0">
                <a:pos x="connsiteX1772" y="connsiteY1772"/>
              </a:cxn>
              <a:cxn ang="0">
                <a:pos x="connsiteX1773" y="connsiteY1773"/>
              </a:cxn>
              <a:cxn ang="0">
                <a:pos x="connsiteX1774" y="connsiteY1774"/>
              </a:cxn>
              <a:cxn ang="0">
                <a:pos x="connsiteX1775" y="connsiteY1775"/>
              </a:cxn>
              <a:cxn ang="0">
                <a:pos x="connsiteX1776" y="connsiteY1776"/>
              </a:cxn>
              <a:cxn ang="0">
                <a:pos x="connsiteX1777" y="connsiteY1777"/>
              </a:cxn>
              <a:cxn ang="0">
                <a:pos x="connsiteX1778" y="connsiteY1778"/>
              </a:cxn>
              <a:cxn ang="0">
                <a:pos x="connsiteX1779" y="connsiteY1779"/>
              </a:cxn>
              <a:cxn ang="0">
                <a:pos x="connsiteX1780" y="connsiteY1780"/>
              </a:cxn>
              <a:cxn ang="0">
                <a:pos x="connsiteX1781" y="connsiteY1781"/>
              </a:cxn>
              <a:cxn ang="0">
                <a:pos x="connsiteX1782" y="connsiteY1782"/>
              </a:cxn>
              <a:cxn ang="0">
                <a:pos x="connsiteX1783" y="connsiteY1783"/>
              </a:cxn>
              <a:cxn ang="0">
                <a:pos x="connsiteX1784" y="connsiteY1784"/>
              </a:cxn>
              <a:cxn ang="0">
                <a:pos x="connsiteX1785" y="connsiteY1785"/>
              </a:cxn>
              <a:cxn ang="0">
                <a:pos x="connsiteX1786" y="connsiteY1786"/>
              </a:cxn>
              <a:cxn ang="0">
                <a:pos x="connsiteX1787" y="connsiteY1787"/>
              </a:cxn>
              <a:cxn ang="0">
                <a:pos x="connsiteX1788" y="connsiteY1788"/>
              </a:cxn>
              <a:cxn ang="0">
                <a:pos x="connsiteX1789" y="connsiteY1789"/>
              </a:cxn>
              <a:cxn ang="0">
                <a:pos x="connsiteX1790" y="connsiteY1790"/>
              </a:cxn>
              <a:cxn ang="0">
                <a:pos x="connsiteX1791" y="connsiteY1791"/>
              </a:cxn>
              <a:cxn ang="0">
                <a:pos x="connsiteX1792" y="connsiteY1792"/>
              </a:cxn>
              <a:cxn ang="0">
                <a:pos x="connsiteX1793" y="connsiteY1793"/>
              </a:cxn>
              <a:cxn ang="0">
                <a:pos x="connsiteX1794" y="connsiteY1794"/>
              </a:cxn>
              <a:cxn ang="0">
                <a:pos x="connsiteX1795" y="connsiteY1795"/>
              </a:cxn>
              <a:cxn ang="0">
                <a:pos x="connsiteX1796" y="connsiteY1796"/>
              </a:cxn>
              <a:cxn ang="0">
                <a:pos x="connsiteX1797" y="connsiteY1797"/>
              </a:cxn>
              <a:cxn ang="0">
                <a:pos x="connsiteX1798" y="connsiteY1798"/>
              </a:cxn>
              <a:cxn ang="0">
                <a:pos x="connsiteX1799" y="connsiteY1799"/>
              </a:cxn>
              <a:cxn ang="0">
                <a:pos x="connsiteX1800" y="connsiteY1800"/>
              </a:cxn>
              <a:cxn ang="0">
                <a:pos x="connsiteX1801" y="connsiteY1801"/>
              </a:cxn>
              <a:cxn ang="0">
                <a:pos x="connsiteX1802" y="connsiteY1802"/>
              </a:cxn>
              <a:cxn ang="0">
                <a:pos x="connsiteX1803" y="connsiteY1803"/>
              </a:cxn>
              <a:cxn ang="0">
                <a:pos x="connsiteX1804" y="connsiteY1804"/>
              </a:cxn>
              <a:cxn ang="0">
                <a:pos x="connsiteX1805" y="connsiteY1805"/>
              </a:cxn>
              <a:cxn ang="0">
                <a:pos x="connsiteX1806" y="connsiteY1806"/>
              </a:cxn>
              <a:cxn ang="0">
                <a:pos x="connsiteX1807" y="connsiteY1807"/>
              </a:cxn>
              <a:cxn ang="0">
                <a:pos x="connsiteX1808" y="connsiteY1808"/>
              </a:cxn>
              <a:cxn ang="0">
                <a:pos x="connsiteX1809" y="connsiteY1809"/>
              </a:cxn>
              <a:cxn ang="0">
                <a:pos x="connsiteX1810" y="connsiteY1810"/>
              </a:cxn>
              <a:cxn ang="0">
                <a:pos x="connsiteX1811" y="connsiteY1811"/>
              </a:cxn>
              <a:cxn ang="0">
                <a:pos x="connsiteX1812" y="connsiteY1812"/>
              </a:cxn>
              <a:cxn ang="0">
                <a:pos x="connsiteX1813" y="connsiteY1813"/>
              </a:cxn>
              <a:cxn ang="0">
                <a:pos x="connsiteX1814" y="connsiteY1814"/>
              </a:cxn>
              <a:cxn ang="0">
                <a:pos x="connsiteX1815" y="connsiteY1815"/>
              </a:cxn>
              <a:cxn ang="0">
                <a:pos x="connsiteX1816" y="connsiteY1816"/>
              </a:cxn>
              <a:cxn ang="0">
                <a:pos x="connsiteX1817" y="connsiteY1817"/>
              </a:cxn>
              <a:cxn ang="0">
                <a:pos x="connsiteX1818" y="connsiteY1818"/>
              </a:cxn>
              <a:cxn ang="0">
                <a:pos x="connsiteX1819" y="connsiteY1819"/>
              </a:cxn>
              <a:cxn ang="0">
                <a:pos x="connsiteX1820" y="connsiteY1820"/>
              </a:cxn>
              <a:cxn ang="0">
                <a:pos x="connsiteX1821" y="connsiteY1821"/>
              </a:cxn>
              <a:cxn ang="0">
                <a:pos x="connsiteX1822" y="connsiteY1822"/>
              </a:cxn>
              <a:cxn ang="0">
                <a:pos x="connsiteX1823" y="connsiteY1823"/>
              </a:cxn>
              <a:cxn ang="0">
                <a:pos x="connsiteX1824" y="connsiteY1824"/>
              </a:cxn>
              <a:cxn ang="0">
                <a:pos x="connsiteX1825" y="connsiteY1825"/>
              </a:cxn>
              <a:cxn ang="0">
                <a:pos x="connsiteX1826" y="connsiteY1826"/>
              </a:cxn>
              <a:cxn ang="0">
                <a:pos x="connsiteX1827" y="connsiteY1827"/>
              </a:cxn>
              <a:cxn ang="0">
                <a:pos x="connsiteX1828" y="connsiteY1828"/>
              </a:cxn>
              <a:cxn ang="0">
                <a:pos x="connsiteX1829" y="connsiteY1829"/>
              </a:cxn>
              <a:cxn ang="0">
                <a:pos x="connsiteX1830" y="connsiteY1830"/>
              </a:cxn>
              <a:cxn ang="0">
                <a:pos x="connsiteX1831" y="connsiteY1831"/>
              </a:cxn>
              <a:cxn ang="0">
                <a:pos x="connsiteX1832" y="connsiteY1832"/>
              </a:cxn>
              <a:cxn ang="0">
                <a:pos x="connsiteX1833" y="connsiteY1833"/>
              </a:cxn>
              <a:cxn ang="0">
                <a:pos x="connsiteX1834" y="connsiteY1834"/>
              </a:cxn>
              <a:cxn ang="0">
                <a:pos x="connsiteX1835" y="connsiteY1835"/>
              </a:cxn>
              <a:cxn ang="0">
                <a:pos x="connsiteX1836" y="connsiteY1836"/>
              </a:cxn>
              <a:cxn ang="0">
                <a:pos x="connsiteX1837" y="connsiteY1837"/>
              </a:cxn>
              <a:cxn ang="0">
                <a:pos x="connsiteX1838" y="connsiteY1838"/>
              </a:cxn>
              <a:cxn ang="0">
                <a:pos x="connsiteX1839" y="connsiteY1839"/>
              </a:cxn>
              <a:cxn ang="0">
                <a:pos x="connsiteX1840" y="connsiteY1840"/>
              </a:cxn>
              <a:cxn ang="0">
                <a:pos x="connsiteX1841" y="connsiteY1841"/>
              </a:cxn>
              <a:cxn ang="0">
                <a:pos x="connsiteX1842" y="connsiteY1842"/>
              </a:cxn>
              <a:cxn ang="0">
                <a:pos x="connsiteX1843" y="connsiteY1843"/>
              </a:cxn>
              <a:cxn ang="0">
                <a:pos x="connsiteX1844" y="connsiteY1844"/>
              </a:cxn>
              <a:cxn ang="0">
                <a:pos x="connsiteX1845" y="connsiteY1845"/>
              </a:cxn>
              <a:cxn ang="0">
                <a:pos x="connsiteX1846" y="connsiteY1846"/>
              </a:cxn>
              <a:cxn ang="0">
                <a:pos x="connsiteX1847" y="connsiteY1847"/>
              </a:cxn>
              <a:cxn ang="0">
                <a:pos x="connsiteX1848" y="connsiteY1848"/>
              </a:cxn>
              <a:cxn ang="0">
                <a:pos x="connsiteX1849" y="connsiteY1849"/>
              </a:cxn>
              <a:cxn ang="0">
                <a:pos x="connsiteX1850" y="connsiteY1850"/>
              </a:cxn>
              <a:cxn ang="0">
                <a:pos x="connsiteX1851" y="connsiteY1851"/>
              </a:cxn>
              <a:cxn ang="0">
                <a:pos x="connsiteX1852" y="connsiteY1852"/>
              </a:cxn>
              <a:cxn ang="0">
                <a:pos x="connsiteX1853" y="connsiteY1853"/>
              </a:cxn>
              <a:cxn ang="0">
                <a:pos x="connsiteX1854" y="connsiteY1854"/>
              </a:cxn>
              <a:cxn ang="0">
                <a:pos x="connsiteX1855" y="connsiteY1855"/>
              </a:cxn>
              <a:cxn ang="0">
                <a:pos x="connsiteX1856" y="connsiteY1856"/>
              </a:cxn>
              <a:cxn ang="0">
                <a:pos x="connsiteX1857" y="connsiteY1857"/>
              </a:cxn>
              <a:cxn ang="0">
                <a:pos x="connsiteX1858" y="connsiteY1858"/>
              </a:cxn>
              <a:cxn ang="0">
                <a:pos x="connsiteX1859" y="connsiteY1859"/>
              </a:cxn>
              <a:cxn ang="0">
                <a:pos x="connsiteX1860" y="connsiteY1860"/>
              </a:cxn>
              <a:cxn ang="0">
                <a:pos x="connsiteX1861" y="connsiteY1861"/>
              </a:cxn>
              <a:cxn ang="0">
                <a:pos x="connsiteX1862" y="connsiteY1862"/>
              </a:cxn>
              <a:cxn ang="0">
                <a:pos x="connsiteX1863" y="connsiteY1863"/>
              </a:cxn>
              <a:cxn ang="0">
                <a:pos x="connsiteX1864" y="connsiteY1864"/>
              </a:cxn>
              <a:cxn ang="0">
                <a:pos x="connsiteX1865" y="connsiteY1865"/>
              </a:cxn>
              <a:cxn ang="0">
                <a:pos x="connsiteX1866" y="connsiteY1866"/>
              </a:cxn>
              <a:cxn ang="0">
                <a:pos x="connsiteX1867" y="connsiteY1867"/>
              </a:cxn>
              <a:cxn ang="0">
                <a:pos x="connsiteX1868" y="connsiteY1868"/>
              </a:cxn>
              <a:cxn ang="0">
                <a:pos x="connsiteX1869" y="connsiteY1869"/>
              </a:cxn>
              <a:cxn ang="0">
                <a:pos x="connsiteX1870" y="connsiteY1870"/>
              </a:cxn>
              <a:cxn ang="0">
                <a:pos x="connsiteX1871" y="connsiteY1871"/>
              </a:cxn>
              <a:cxn ang="0">
                <a:pos x="connsiteX1872" y="connsiteY1872"/>
              </a:cxn>
              <a:cxn ang="0">
                <a:pos x="connsiteX1873" y="connsiteY1873"/>
              </a:cxn>
              <a:cxn ang="0">
                <a:pos x="connsiteX1874" y="connsiteY1874"/>
              </a:cxn>
              <a:cxn ang="0">
                <a:pos x="connsiteX1875" y="connsiteY1875"/>
              </a:cxn>
              <a:cxn ang="0">
                <a:pos x="connsiteX1876" y="connsiteY1876"/>
              </a:cxn>
              <a:cxn ang="0">
                <a:pos x="connsiteX1877" y="connsiteY1877"/>
              </a:cxn>
              <a:cxn ang="0">
                <a:pos x="connsiteX1878" y="connsiteY1878"/>
              </a:cxn>
              <a:cxn ang="0">
                <a:pos x="connsiteX1879" y="connsiteY1879"/>
              </a:cxn>
              <a:cxn ang="0">
                <a:pos x="connsiteX1880" y="connsiteY1880"/>
              </a:cxn>
              <a:cxn ang="0">
                <a:pos x="connsiteX1881" y="connsiteY1881"/>
              </a:cxn>
              <a:cxn ang="0">
                <a:pos x="connsiteX1882" y="connsiteY1882"/>
              </a:cxn>
              <a:cxn ang="0">
                <a:pos x="connsiteX1883" y="connsiteY1883"/>
              </a:cxn>
              <a:cxn ang="0">
                <a:pos x="connsiteX1884" y="connsiteY1884"/>
              </a:cxn>
              <a:cxn ang="0">
                <a:pos x="connsiteX1885" y="connsiteY1885"/>
              </a:cxn>
              <a:cxn ang="0">
                <a:pos x="connsiteX1886" y="connsiteY1886"/>
              </a:cxn>
              <a:cxn ang="0">
                <a:pos x="connsiteX1887" y="connsiteY1887"/>
              </a:cxn>
              <a:cxn ang="0">
                <a:pos x="connsiteX1888" y="connsiteY1888"/>
              </a:cxn>
              <a:cxn ang="0">
                <a:pos x="connsiteX1889" y="connsiteY1889"/>
              </a:cxn>
              <a:cxn ang="0">
                <a:pos x="connsiteX1890" y="connsiteY1890"/>
              </a:cxn>
              <a:cxn ang="0">
                <a:pos x="connsiteX1891" y="connsiteY1891"/>
              </a:cxn>
              <a:cxn ang="0">
                <a:pos x="connsiteX1892" y="connsiteY1892"/>
              </a:cxn>
              <a:cxn ang="0">
                <a:pos x="connsiteX1893" y="connsiteY1893"/>
              </a:cxn>
              <a:cxn ang="0">
                <a:pos x="connsiteX1894" y="connsiteY1894"/>
              </a:cxn>
              <a:cxn ang="0">
                <a:pos x="connsiteX1895" y="connsiteY1895"/>
              </a:cxn>
              <a:cxn ang="0">
                <a:pos x="connsiteX1896" y="connsiteY1896"/>
              </a:cxn>
              <a:cxn ang="0">
                <a:pos x="connsiteX1897" y="connsiteY1897"/>
              </a:cxn>
              <a:cxn ang="0">
                <a:pos x="connsiteX1898" y="connsiteY1898"/>
              </a:cxn>
              <a:cxn ang="0">
                <a:pos x="connsiteX1899" y="connsiteY1899"/>
              </a:cxn>
              <a:cxn ang="0">
                <a:pos x="connsiteX1900" y="connsiteY1900"/>
              </a:cxn>
              <a:cxn ang="0">
                <a:pos x="connsiteX1901" y="connsiteY1901"/>
              </a:cxn>
              <a:cxn ang="0">
                <a:pos x="connsiteX1902" y="connsiteY1902"/>
              </a:cxn>
              <a:cxn ang="0">
                <a:pos x="connsiteX1903" y="connsiteY1903"/>
              </a:cxn>
              <a:cxn ang="0">
                <a:pos x="connsiteX1904" y="connsiteY1904"/>
              </a:cxn>
              <a:cxn ang="0">
                <a:pos x="connsiteX1905" y="connsiteY1905"/>
              </a:cxn>
              <a:cxn ang="0">
                <a:pos x="connsiteX1906" y="connsiteY1906"/>
              </a:cxn>
              <a:cxn ang="0">
                <a:pos x="connsiteX1907" y="connsiteY1907"/>
              </a:cxn>
              <a:cxn ang="0">
                <a:pos x="connsiteX1908" y="connsiteY1908"/>
              </a:cxn>
              <a:cxn ang="0">
                <a:pos x="connsiteX1909" y="connsiteY1909"/>
              </a:cxn>
              <a:cxn ang="0">
                <a:pos x="connsiteX1910" y="connsiteY1910"/>
              </a:cxn>
              <a:cxn ang="0">
                <a:pos x="connsiteX1911" y="connsiteY1911"/>
              </a:cxn>
              <a:cxn ang="0">
                <a:pos x="connsiteX1912" y="connsiteY1912"/>
              </a:cxn>
              <a:cxn ang="0">
                <a:pos x="connsiteX1913" y="connsiteY1913"/>
              </a:cxn>
              <a:cxn ang="0">
                <a:pos x="connsiteX1914" y="connsiteY1914"/>
              </a:cxn>
              <a:cxn ang="0">
                <a:pos x="connsiteX1915" y="connsiteY1915"/>
              </a:cxn>
              <a:cxn ang="0">
                <a:pos x="connsiteX1916" y="connsiteY1916"/>
              </a:cxn>
              <a:cxn ang="0">
                <a:pos x="connsiteX1917" y="connsiteY1917"/>
              </a:cxn>
              <a:cxn ang="0">
                <a:pos x="connsiteX1918" y="connsiteY1918"/>
              </a:cxn>
              <a:cxn ang="0">
                <a:pos x="connsiteX1919" y="connsiteY1919"/>
              </a:cxn>
              <a:cxn ang="0">
                <a:pos x="connsiteX1920" y="connsiteY1920"/>
              </a:cxn>
              <a:cxn ang="0">
                <a:pos x="connsiteX1921" y="connsiteY1921"/>
              </a:cxn>
              <a:cxn ang="0">
                <a:pos x="connsiteX1922" y="connsiteY1922"/>
              </a:cxn>
              <a:cxn ang="0">
                <a:pos x="connsiteX1923" y="connsiteY1923"/>
              </a:cxn>
              <a:cxn ang="0">
                <a:pos x="connsiteX1924" y="connsiteY1924"/>
              </a:cxn>
              <a:cxn ang="0">
                <a:pos x="connsiteX1925" y="connsiteY1925"/>
              </a:cxn>
              <a:cxn ang="0">
                <a:pos x="connsiteX1926" y="connsiteY1926"/>
              </a:cxn>
              <a:cxn ang="0">
                <a:pos x="connsiteX1927" y="connsiteY1927"/>
              </a:cxn>
              <a:cxn ang="0">
                <a:pos x="connsiteX1928" y="connsiteY1928"/>
              </a:cxn>
              <a:cxn ang="0">
                <a:pos x="connsiteX1929" y="connsiteY1929"/>
              </a:cxn>
              <a:cxn ang="0">
                <a:pos x="connsiteX1930" y="connsiteY1930"/>
              </a:cxn>
              <a:cxn ang="0">
                <a:pos x="connsiteX1931" y="connsiteY1931"/>
              </a:cxn>
              <a:cxn ang="0">
                <a:pos x="connsiteX1932" y="connsiteY1932"/>
              </a:cxn>
              <a:cxn ang="0">
                <a:pos x="connsiteX1933" y="connsiteY1933"/>
              </a:cxn>
              <a:cxn ang="0">
                <a:pos x="connsiteX1934" y="connsiteY1934"/>
              </a:cxn>
              <a:cxn ang="0">
                <a:pos x="connsiteX1935" y="connsiteY1935"/>
              </a:cxn>
              <a:cxn ang="0">
                <a:pos x="connsiteX1936" y="connsiteY1936"/>
              </a:cxn>
              <a:cxn ang="0">
                <a:pos x="connsiteX1937" y="connsiteY1937"/>
              </a:cxn>
              <a:cxn ang="0">
                <a:pos x="connsiteX1938" y="connsiteY1938"/>
              </a:cxn>
              <a:cxn ang="0">
                <a:pos x="connsiteX1939" y="connsiteY1939"/>
              </a:cxn>
              <a:cxn ang="0">
                <a:pos x="connsiteX1940" y="connsiteY1940"/>
              </a:cxn>
              <a:cxn ang="0">
                <a:pos x="connsiteX1941" y="connsiteY1941"/>
              </a:cxn>
              <a:cxn ang="0">
                <a:pos x="connsiteX1942" y="connsiteY1942"/>
              </a:cxn>
              <a:cxn ang="0">
                <a:pos x="connsiteX1943" y="connsiteY1943"/>
              </a:cxn>
              <a:cxn ang="0">
                <a:pos x="connsiteX1944" y="connsiteY1944"/>
              </a:cxn>
              <a:cxn ang="0">
                <a:pos x="connsiteX1945" y="connsiteY1945"/>
              </a:cxn>
              <a:cxn ang="0">
                <a:pos x="connsiteX1946" y="connsiteY1946"/>
              </a:cxn>
              <a:cxn ang="0">
                <a:pos x="connsiteX1947" y="connsiteY1947"/>
              </a:cxn>
              <a:cxn ang="0">
                <a:pos x="connsiteX1948" y="connsiteY1948"/>
              </a:cxn>
              <a:cxn ang="0">
                <a:pos x="connsiteX1949" y="connsiteY1949"/>
              </a:cxn>
              <a:cxn ang="0">
                <a:pos x="connsiteX1950" y="connsiteY1950"/>
              </a:cxn>
              <a:cxn ang="0">
                <a:pos x="connsiteX1951" y="connsiteY1951"/>
              </a:cxn>
              <a:cxn ang="0">
                <a:pos x="connsiteX1952" y="connsiteY1952"/>
              </a:cxn>
              <a:cxn ang="0">
                <a:pos x="connsiteX1953" y="connsiteY1953"/>
              </a:cxn>
              <a:cxn ang="0">
                <a:pos x="connsiteX1954" y="connsiteY1954"/>
              </a:cxn>
              <a:cxn ang="0">
                <a:pos x="connsiteX1955" y="connsiteY1955"/>
              </a:cxn>
              <a:cxn ang="0">
                <a:pos x="connsiteX1956" y="connsiteY1956"/>
              </a:cxn>
              <a:cxn ang="0">
                <a:pos x="connsiteX1957" y="connsiteY1957"/>
              </a:cxn>
              <a:cxn ang="0">
                <a:pos x="connsiteX1958" y="connsiteY1958"/>
              </a:cxn>
              <a:cxn ang="0">
                <a:pos x="connsiteX1959" y="connsiteY1959"/>
              </a:cxn>
              <a:cxn ang="0">
                <a:pos x="connsiteX1960" y="connsiteY1960"/>
              </a:cxn>
              <a:cxn ang="0">
                <a:pos x="connsiteX1961" y="connsiteY1961"/>
              </a:cxn>
              <a:cxn ang="0">
                <a:pos x="connsiteX1962" y="connsiteY1962"/>
              </a:cxn>
              <a:cxn ang="0">
                <a:pos x="connsiteX1963" y="connsiteY1963"/>
              </a:cxn>
              <a:cxn ang="0">
                <a:pos x="connsiteX1964" y="connsiteY1964"/>
              </a:cxn>
              <a:cxn ang="0">
                <a:pos x="connsiteX1965" y="connsiteY1965"/>
              </a:cxn>
              <a:cxn ang="0">
                <a:pos x="connsiteX1966" y="connsiteY1966"/>
              </a:cxn>
              <a:cxn ang="0">
                <a:pos x="connsiteX1967" y="connsiteY1967"/>
              </a:cxn>
              <a:cxn ang="0">
                <a:pos x="connsiteX1968" y="connsiteY1968"/>
              </a:cxn>
              <a:cxn ang="0">
                <a:pos x="connsiteX1969" y="connsiteY1969"/>
              </a:cxn>
              <a:cxn ang="0">
                <a:pos x="connsiteX1970" y="connsiteY1970"/>
              </a:cxn>
              <a:cxn ang="0">
                <a:pos x="connsiteX1971" y="connsiteY1971"/>
              </a:cxn>
              <a:cxn ang="0">
                <a:pos x="connsiteX1972" y="connsiteY1972"/>
              </a:cxn>
              <a:cxn ang="0">
                <a:pos x="connsiteX1973" y="connsiteY1973"/>
              </a:cxn>
              <a:cxn ang="0">
                <a:pos x="connsiteX1974" y="connsiteY1974"/>
              </a:cxn>
              <a:cxn ang="0">
                <a:pos x="connsiteX1975" y="connsiteY1975"/>
              </a:cxn>
              <a:cxn ang="0">
                <a:pos x="connsiteX1976" y="connsiteY1976"/>
              </a:cxn>
              <a:cxn ang="0">
                <a:pos x="connsiteX1977" y="connsiteY1977"/>
              </a:cxn>
              <a:cxn ang="0">
                <a:pos x="connsiteX1978" y="connsiteY1978"/>
              </a:cxn>
              <a:cxn ang="0">
                <a:pos x="connsiteX1979" y="connsiteY1979"/>
              </a:cxn>
              <a:cxn ang="0">
                <a:pos x="connsiteX1980" y="connsiteY1980"/>
              </a:cxn>
              <a:cxn ang="0">
                <a:pos x="connsiteX1981" y="connsiteY1981"/>
              </a:cxn>
              <a:cxn ang="0">
                <a:pos x="connsiteX1982" y="connsiteY1982"/>
              </a:cxn>
              <a:cxn ang="0">
                <a:pos x="connsiteX1983" y="connsiteY1983"/>
              </a:cxn>
              <a:cxn ang="0">
                <a:pos x="connsiteX1984" y="connsiteY1984"/>
              </a:cxn>
              <a:cxn ang="0">
                <a:pos x="connsiteX1985" y="connsiteY1985"/>
              </a:cxn>
              <a:cxn ang="0">
                <a:pos x="connsiteX1986" y="connsiteY1986"/>
              </a:cxn>
              <a:cxn ang="0">
                <a:pos x="connsiteX1987" y="connsiteY1987"/>
              </a:cxn>
              <a:cxn ang="0">
                <a:pos x="connsiteX1988" y="connsiteY1988"/>
              </a:cxn>
              <a:cxn ang="0">
                <a:pos x="connsiteX1989" y="connsiteY1989"/>
              </a:cxn>
              <a:cxn ang="0">
                <a:pos x="connsiteX1990" y="connsiteY1990"/>
              </a:cxn>
              <a:cxn ang="0">
                <a:pos x="connsiteX1991" y="connsiteY1991"/>
              </a:cxn>
              <a:cxn ang="0">
                <a:pos x="connsiteX1992" y="connsiteY1992"/>
              </a:cxn>
              <a:cxn ang="0">
                <a:pos x="connsiteX1993" y="connsiteY1993"/>
              </a:cxn>
              <a:cxn ang="0">
                <a:pos x="connsiteX1994" y="connsiteY1994"/>
              </a:cxn>
              <a:cxn ang="0">
                <a:pos x="connsiteX1995" y="connsiteY1995"/>
              </a:cxn>
              <a:cxn ang="0">
                <a:pos x="connsiteX1996" y="connsiteY1996"/>
              </a:cxn>
              <a:cxn ang="0">
                <a:pos x="connsiteX1997" y="connsiteY1997"/>
              </a:cxn>
              <a:cxn ang="0">
                <a:pos x="connsiteX1998" y="connsiteY1998"/>
              </a:cxn>
              <a:cxn ang="0">
                <a:pos x="connsiteX1999" y="connsiteY1999"/>
              </a:cxn>
              <a:cxn ang="0">
                <a:pos x="connsiteX2000" y="connsiteY2000"/>
              </a:cxn>
              <a:cxn ang="0">
                <a:pos x="connsiteX2001" y="connsiteY2001"/>
              </a:cxn>
              <a:cxn ang="0">
                <a:pos x="connsiteX2002" y="connsiteY2002"/>
              </a:cxn>
              <a:cxn ang="0">
                <a:pos x="connsiteX2003" y="connsiteY2003"/>
              </a:cxn>
              <a:cxn ang="0">
                <a:pos x="connsiteX2004" y="connsiteY2004"/>
              </a:cxn>
              <a:cxn ang="0">
                <a:pos x="connsiteX2005" y="connsiteY2005"/>
              </a:cxn>
              <a:cxn ang="0">
                <a:pos x="connsiteX2006" y="connsiteY2006"/>
              </a:cxn>
              <a:cxn ang="0">
                <a:pos x="connsiteX2007" y="connsiteY2007"/>
              </a:cxn>
              <a:cxn ang="0">
                <a:pos x="connsiteX2008" y="connsiteY2008"/>
              </a:cxn>
              <a:cxn ang="0">
                <a:pos x="connsiteX2009" y="connsiteY2009"/>
              </a:cxn>
              <a:cxn ang="0">
                <a:pos x="connsiteX2010" y="connsiteY2010"/>
              </a:cxn>
              <a:cxn ang="0">
                <a:pos x="connsiteX2011" y="connsiteY2011"/>
              </a:cxn>
              <a:cxn ang="0">
                <a:pos x="connsiteX2012" y="connsiteY2012"/>
              </a:cxn>
              <a:cxn ang="0">
                <a:pos x="connsiteX2013" y="connsiteY2013"/>
              </a:cxn>
              <a:cxn ang="0">
                <a:pos x="connsiteX2014" y="connsiteY2014"/>
              </a:cxn>
              <a:cxn ang="0">
                <a:pos x="connsiteX2015" y="connsiteY2015"/>
              </a:cxn>
              <a:cxn ang="0">
                <a:pos x="connsiteX2016" y="connsiteY2016"/>
              </a:cxn>
              <a:cxn ang="0">
                <a:pos x="connsiteX2017" y="connsiteY2017"/>
              </a:cxn>
              <a:cxn ang="0">
                <a:pos x="connsiteX2018" y="connsiteY2018"/>
              </a:cxn>
              <a:cxn ang="0">
                <a:pos x="connsiteX2019" y="connsiteY2019"/>
              </a:cxn>
              <a:cxn ang="0">
                <a:pos x="connsiteX2020" y="connsiteY2020"/>
              </a:cxn>
              <a:cxn ang="0">
                <a:pos x="connsiteX2021" y="connsiteY2021"/>
              </a:cxn>
              <a:cxn ang="0">
                <a:pos x="connsiteX2022" y="connsiteY2022"/>
              </a:cxn>
              <a:cxn ang="0">
                <a:pos x="connsiteX2023" y="connsiteY2023"/>
              </a:cxn>
              <a:cxn ang="0">
                <a:pos x="connsiteX2024" y="connsiteY2024"/>
              </a:cxn>
              <a:cxn ang="0">
                <a:pos x="connsiteX2025" y="connsiteY2025"/>
              </a:cxn>
              <a:cxn ang="0">
                <a:pos x="connsiteX2026" y="connsiteY2026"/>
              </a:cxn>
              <a:cxn ang="0">
                <a:pos x="connsiteX2027" y="connsiteY2027"/>
              </a:cxn>
              <a:cxn ang="0">
                <a:pos x="connsiteX2028" y="connsiteY2028"/>
              </a:cxn>
              <a:cxn ang="0">
                <a:pos x="connsiteX2029" y="connsiteY2029"/>
              </a:cxn>
              <a:cxn ang="0">
                <a:pos x="connsiteX2030" y="connsiteY2030"/>
              </a:cxn>
              <a:cxn ang="0">
                <a:pos x="connsiteX2031" y="connsiteY2031"/>
              </a:cxn>
              <a:cxn ang="0">
                <a:pos x="connsiteX2032" y="connsiteY2032"/>
              </a:cxn>
              <a:cxn ang="0">
                <a:pos x="connsiteX2033" y="connsiteY2033"/>
              </a:cxn>
              <a:cxn ang="0">
                <a:pos x="connsiteX2034" y="connsiteY2034"/>
              </a:cxn>
              <a:cxn ang="0">
                <a:pos x="connsiteX2035" y="connsiteY2035"/>
              </a:cxn>
              <a:cxn ang="0">
                <a:pos x="connsiteX2036" y="connsiteY2036"/>
              </a:cxn>
              <a:cxn ang="0">
                <a:pos x="connsiteX2037" y="connsiteY2037"/>
              </a:cxn>
              <a:cxn ang="0">
                <a:pos x="connsiteX2038" y="connsiteY2038"/>
              </a:cxn>
              <a:cxn ang="0">
                <a:pos x="connsiteX2039" y="connsiteY2039"/>
              </a:cxn>
              <a:cxn ang="0">
                <a:pos x="connsiteX2040" y="connsiteY2040"/>
              </a:cxn>
              <a:cxn ang="0">
                <a:pos x="connsiteX2041" y="connsiteY2041"/>
              </a:cxn>
              <a:cxn ang="0">
                <a:pos x="connsiteX2042" y="connsiteY2042"/>
              </a:cxn>
              <a:cxn ang="0">
                <a:pos x="connsiteX2043" y="connsiteY2043"/>
              </a:cxn>
              <a:cxn ang="0">
                <a:pos x="connsiteX2044" y="connsiteY2044"/>
              </a:cxn>
              <a:cxn ang="0">
                <a:pos x="connsiteX2045" y="connsiteY2045"/>
              </a:cxn>
              <a:cxn ang="0">
                <a:pos x="connsiteX2046" y="connsiteY2046"/>
              </a:cxn>
              <a:cxn ang="0">
                <a:pos x="connsiteX2047" y="connsiteY2047"/>
              </a:cxn>
              <a:cxn ang="0">
                <a:pos x="connsiteX2048" y="connsiteY2048"/>
              </a:cxn>
              <a:cxn ang="0">
                <a:pos x="connsiteX2049" y="connsiteY2049"/>
              </a:cxn>
              <a:cxn ang="0">
                <a:pos x="connsiteX2050" y="connsiteY2050"/>
              </a:cxn>
              <a:cxn ang="0">
                <a:pos x="connsiteX2051" y="connsiteY2051"/>
              </a:cxn>
              <a:cxn ang="0">
                <a:pos x="connsiteX2052" y="connsiteY2052"/>
              </a:cxn>
              <a:cxn ang="0">
                <a:pos x="connsiteX2053" y="connsiteY2053"/>
              </a:cxn>
              <a:cxn ang="0">
                <a:pos x="connsiteX2054" y="connsiteY2054"/>
              </a:cxn>
              <a:cxn ang="0">
                <a:pos x="connsiteX2055" y="connsiteY2055"/>
              </a:cxn>
              <a:cxn ang="0">
                <a:pos x="connsiteX2056" y="connsiteY2056"/>
              </a:cxn>
              <a:cxn ang="0">
                <a:pos x="connsiteX2057" y="connsiteY2057"/>
              </a:cxn>
              <a:cxn ang="0">
                <a:pos x="connsiteX2058" y="connsiteY2058"/>
              </a:cxn>
              <a:cxn ang="0">
                <a:pos x="connsiteX2059" y="connsiteY2059"/>
              </a:cxn>
              <a:cxn ang="0">
                <a:pos x="connsiteX2060" y="connsiteY2060"/>
              </a:cxn>
              <a:cxn ang="0">
                <a:pos x="connsiteX2061" y="connsiteY2061"/>
              </a:cxn>
              <a:cxn ang="0">
                <a:pos x="connsiteX2062" y="connsiteY2062"/>
              </a:cxn>
              <a:cxn ang="0">
                <a:pos x="connsiteX2063" y="connsiteY2063"/>
              </a:cxn>
              <a:cxn ang="0">
                <a:pos x="connsiteX2064" y="connsiteY2064"/>
              </a:cxn>
              <a:cxn ang="0">
                <a:pos x="connsiteX2065" y="connsiteY2065"/>
              </a:cxn>
              <a:cxn ang="0">
                <a:pos x="connsiteX2066" y="connsiteY2066"/>
              </a:cxn>
              <a:cxn ang="0">
                <a:pos x="connsiteX2067" y="connsiteY2067"/>
              </a:cxn>
              <a:cxn ang="0">
                <a:pos x="connsiteX2068" y="connsiteY2068"/>
              </a:cxn>
              <a:cxn ang="0">
                <a:pos x="connsiteX2069" y="connsiteY2069"/>
              </a:cxn>
              <a:cxn ang="0">
                <a:pos x="connsiteX2070" y="connsiteY2070"/>
              </a:cxn>
              <a:cxn ang="0">
                <a:pos x="connsiteX2071" y="connsiteY2071"/>
              </a:cxn>
              <a:cxn ang="0">
                <a:pos x="connsiteX2072" y="connsiteY2072"/>
              </a:cxn>
              <a:cxn ang="0">
                <a:pos x="connsiteX2073" y="connsiteY2073"/>
              </a:cxn>
              <a:cxn ang="0">
                <a:pos x="connsiteX2074" y="connsiteY2074"/>
              </a:cxn>
              <a:cxn ang="0">
                <a:pos x="connsiteX2075" y="connsiteY2075"/>
              </a:cxn>
              <a:cxn ang="0">
                <a:pos x="connsiteX2076" y="connsiteY2076"/>
              </a:cxn>
              <a:cxn ang="0">
                <a:pos x="connsiteX2077" y="connsiteY2077"/>
              </a:cxn>
              <a:cxn ang="0">
                <a:pos x="connsiteX2078" y="connsiteY2078"/>
              </a:cxn>
              <a:cxn ang="0">
                <a:pos x="connsiteX2079" y="connsiteY2079"/>
              </a:cxn>
              <a:cxn ang="0">
                <a:pos x="connsiteX2080" y="connsiteY2080"/>
              </a:cxn>
              <a:cxn ang="0">
                <a:pos x="connsiteX2081" y="connsiteY2081"/>
              </a:cxn>
            </a:cxnLst>
            <a:rect l="l" t="t" r="r" b="b"/>
            <a:pathLst>
              <a:path w="6569151" h="4490369">
                <a:moveTo>
                  <a:pt x="1754135" y="4231504"/>
                </a:moveTo>
                <a:cubicBezTo>
                  <a:pt x="1749689" y="4230022"/>
                  <a:pt x="1743761" y="4230022"/>
                  <a:pt x="1737833" y="4232986"/>
                </a:cubicBezTo>
                <a:cubicBezTo>
                  <a:pt x="1737833" y="4238915"/>
                  <a:pt x="1731905" y="4244843"/>
                  <a:pt x="1731905" y="4250772"/>
                </a:cubicBezTo>
                <a:cubicBezTo>
                  <a:pt x="1731905" y="4262629"/>
                  <a:pt x="1731905" y="4268557"/>
                  <a:pt x="1725977" y="4280414"/>
                </a:cubicBezTo>
                <a:cubicBezTo>
                  <a:pt x="1737833" y="4280414"/>
                  <a:pt x="1743761" y="4280414"/>
                  <a:pt x="1749689" y="4292272"/>
                </a:cubicBezTo>
                <a:cubicBezTo>
                  <a:pt x="1737833" y="4304129"/>
                  <a:pt x="1737833" y="4321914"/>
                  <a:pt x="1731905" y="4339700"/>
                </a:cubicBezTo>
                <a:cubicBezTo>
                  <a:pt x="1725977" y="4339700"/>
                  <a:pt x="1731905" y="4345628"/>
                  <a:pt x="1731905" y="4345628"/>
                </a:cubicBezTo>
                <a:cubicBezTo>
                  <a:pt x="1731905" y="4357486"/>
                  <a:pt x="1731905" y="4369343"/>
                  <a:pt x="1743761" y="4375271"/>
                </a:cubicBezTo>
                <a:cubicBezTo>
                  <a:pt x="1755617" y="4369343"/>
                  <a:pt x="1755617" y="4357486"/>
                  <a:pt x="1761545" y="4345628"/>
                </a:cubicBezTo>
                <a:cubicBezTo>
                  <a:pt x="1755617" y="4339700"/>
                  <a:pt x="1749689" y="4327843"/>
                  <a:pt x="1749689" y="4321914"/>
                </a:cubicBezTo>
                <a:lnTo>
                  <a:pt x="1749689" y="4292272"/>
                </a:lnTo>
                <a:lnTo>
                  <a:pt x="1749689" y="4286343"/>
                </a:lnTo>
                <a:cubicBezTo>
                  <a:pt x="1755617" y="4286343"/>
                  <a:pt x="1755617" y="4280414"/>
                  <a:pt x="1761545" y="4274486"/>
                </a:cubicBezTo>
                <a:cubicBezTo>
                  <a:pt x="1761545" y="4268557"/>
                  <a:pt x="1761545" y="4256700"/>
                  <a:pt x="1761545" y="4250772"/>
                </a:cubicBezTo>
                <a:cubicBezTo>
                  <a:pt x="1761545" y="4244843"/>
                  <a:pt x="1761545" y="4244843"/>
                  <a:pt x="1761545" y="4238915"/>
                </a:cubicBezTo>
                <a:cubicBezTo>
                  <a:pt x="1761545" y="4235950"/>
                  <a:pt x="1758581" y="4232986"/>
                  <a:pt x="1754135" y="4231504"/>
                </a:cubicBezTo>
                <a:close/>
                <a:moveTo>
                  <a:pt x="5067808" y="3828284"/>
                </a:moveTo>
                <a:lnTo>
                  <a:pt x="5069368" y="3829844"/>
                </a:lnTo>
                <a:cubicBezTo>
                  <a:pt x="5069368" y="3829844"/>
                  <a:pt x="5069368" y="3829844"/>
                  <a:pt x="5063440" y="3829844"/>
                </a:cubicBezTo>
                <a:close/>
                <a:moveTo>
                  <a:pt x="2378056" y="545427"/>
                </a:moveTo>
                <a:cubicBezTo>
                  <a:pt x="2378056" y="545427"/>
                  <a:pt x="2378056" y="545427"/>
                  <a:pt x="2383985" y="545427"/>
                </a:cubicBezTo>
                <a:lnTo>
                  <a:pt x="2383795" y="545676"/>
                </a:lnTo>
                <a:close/>
                <a:moveTo>
                  <a:pt x="5442832" y="0"/>
                </a:moveTo>
                <a:cubicBezTo>
                  <a:pt x="5442832" y="0"/>
                  <a:pt x="5448760" y="0"/>
                  <a:pt x="5448760" y="0"/>
                </a:cubicBezTo>
                <a:cubicBezTo>
                  <a:pt x="5460616" y="0"/>
                  <a:pt x="5460616" y="17786"/>
                  <a:pt x="5472472" y="23714"/>
                </a:cubicBezTo>
                <a:cubicBezTo>
                  <a:pt x="5478400" y="23714"/>
                  <a:pt x="5484328" y="23714"/>
                  <a:pt x="5490256" y="17786"/>
                </a:cubicBezTo>
                <a:cubicBezTo>
                  <a:pt x="5502112" y="23714"/>
                  <a:pt x="5508040" y="29643"/>
                  <a:pt x="5513968" y="35571"/>
                </a:cubicBezTo>
                <a:cubicBezTo>
                  <a:pt x="5519896" y="41500"/>
                  <a:pt x="5513968" y="53357"/>
                  <a:pt x="5513968" y="59286"/>
                </a:cubicBezTo>
                <a:cubicBezTo>
                  <a:pt x="5513968" y="65214"/>
                  <a:pt x="5519896" y="65214"/>
                  <a:pt x="5519896" y="65214"/>
                </a:cubicBezTo>
                <a:cubicBezTo>
                  <a:pt x="5525824" y="65214"/>
                  <a:pt x="5525824" y="59286"/>
                  <a:pt x="5525824" y="53357"/>
                </a:cubicBezTo>
                <a:cubicBezTo>
                  <a:pt x="5531752" y="47429"/>
                  <a:pt x="5531752" y="41500"/>
                  <a:pt x="5537680" y="35571"/>
                </a:cubicBezTo>
                <a:cubicBezTo>
                  <a:pt x="5537680" y="29643"/>
                  <a:pt x="5543608" y="23714"/>
                  <a:pt x="5543608" y="11857"/>
                </a:cubicBezTo>
                <a:cubicBezTo>
                  <a:pt x="5549536" y="11857"/>
                  <a:pt x="5555464" y="17786"/>
                  <a:pt x="5567320" y="17786"/>
                </a:cubicBezTo>
                <a:cubicBezTo>
                  <a:pt x="5573248" y="17786"/>
                  <a:pt x="5579176" y="17786"/>
                  <a:pt x="5585104" y="17786"/>
                </a:cubicBezTo>
                <a:cubicBezTo>
                  <a:pt x="5596960" y="17786"/>
                  <a:pt x="5602888" y="23714"/>
                  <a:pt x="5608816" y="29643"/>
                </a:cubicBezTo>
                <a:cubicBezTo>
                  <a:pt x="5614744" y="35571"/>
                  <a:pt x="5614744" y="41500"/>
                  <a:pt x="5614744" y="53357"/>
                </a:cubicBezTo>
                <a:cubicBezTo>
                  <a:pt x="5620672" y="59286"/>
                  <a:pt x="5626600" y="65214"/>
                  <a:pt x="5638456" y="65214"/>
                </a:cubicBezTo>
                <a:cubicBezTo>
                  <a:pt x="5638456" y="77071"/>
                  <a:pt x="5632528" y="83000"/>
                  <a:pt x="5626600" y="88928"/>
                </a:cubicBezTo>
                <a:cubicBezTo>
                  <a:pt x="5620672" y="88928"/>
                  <a:pt x="5608816" y="88928"/>
                  <a:pt x="5602888" y="88928"/>
                </a:cubicBezTo>
                <a:cubicBezTo>
                  <a:pt x="5602888" y="88928"/>
                  <a:pt x="5602888" y="88928"/>
                  <a:pt x="5602888" y="94857"/>
                </a:cubicBezTo>
                <a:cubicBezTo>
                  <a:pt x="5602888" y="106714"/>
                  <a:pt x="5608816" y="118571"/>
                  <a:pt x="5608816" y="124500"/>
                </a:cubicBezTo>
                <a:cubicBezTo>
                  <a:pt x="5602888" y="154143"/>
                  <a:pt x="5585104" y="166000"/>
                  <a:pt x="5567320" y="177857"/>
                </a:cubicBezTo>
                <a:cubicBezTo>
                  <a:pt x="5561392" y="195642"/>
                  <a:pt x="5555464" y="213428"/>
                  <a:pt x="5549536" y="231214"/>
                </a:cubicBezTo>
                <a:cubicBezTo>
                  <a:pt x="5549536" y="231214"/>
                  <a:pt x="5543608" y="237142"/>
                  <a:pt x="5537680" y="243071"/>
                </a:cubicBezTo>
                <a:cubicBezTo>
                  <a:pt x="5531752" y="243071"/>
                  <a:pt x="5531752" y="243071"/>
                  <a:pt x="5519896" y="248999"/>
                </a:cubicBezTo>
                <a:cubicBezTo>
                  <a:pt x="5513968" y="254928"/>
                  <a:pt x="5508040" y="266785"/>
                  <a:pt x="5502112" y="278642"/>
                </a:cubicBezTo>
                <a:cubicBezTo>
                  <a:pt x="5496184" y="284571"/>
                  <a:pt x="5484328" y="284571"/>
                  <a:pt x="5478400" y="290499"/>
                </a:cubicBezTo>
                <a:cubicBezTo>
                  <a:pt x="5472472" y="296428"/>
                  <a:pt x="5472472" y="308285"/>
                  <a:pt x="5466544" y="314213"/>
                </a:cubicBezTo>
                <a:cubicBezTo>
                  <a:pt x="5460616" y="326071"/>
                  <a:pt x="5454688" y="331999"/>
                  <a:pt x="5448760" y="331999"/>
                </a:cubicBezTo>
                <a:cubicBezTo>
                  <a:pt x="5448760" y="331999"/>
                  <a:pt x="5442832" y="337928"/>
                  <a:pt x="5442832" y="337928"/>
                </a:cubicBezTo>
                <a:cubicBezTo>
                  <a:pt x="5436904" y="355713"/>
                  <a:pt x="5419120" y="361642"/>
                  <a:pt x="5407264" y="379427"/>
                </a:cubicBezTo>
                <a:cubicBezTo>
                  <a:pt x="5413192" y="391284"/>
                  <a:pt x="5419120" y="391284"/>
                  <a:pt x="5425048" y="397213"/>
                </a:cubicBezTo>
                <a:cubicBezTo>
                  <a:pt x="5419120" y="403142"/>
                  <a:pt x="5419120" y="409070"/>
                  <a:pt x="5407264" y="414999"/>
                </a:cubicBezTo>
                <a:cubicBezTo>
                  <a:pt x="5401336" y="432784"/>
                  <a:pt x="5395408" y="456499"/>
                  <a:pt x="5395408" y="480213"/>
                </a:cubicBezTo>
                <a:cubicBezTo>
                  <a:pt x="5383552" y="486141"/>
                  <a:pt x="5377624" y="492070"/>
                  <a:pt x="5365768" y="497998"/>
                </a:cubicBezTo>
                <a:cubicBezTo>
                  <a:pt x="5365768" y="503927"/>
                  <a:pt x="5365768" y="509856"/>
                  <a:pt x="5371696" y="521713"/>
                </a:cubicBezTo>
                <a:cubicBezTo>
                  <a:pt x="5365768" y="533570"/>
                  <a:pt x="5353912" y="545427"/>
                  <a:pt x="5347984" y="557284"/>
                </a:cubicBezTo>
                <a:cubicBezTo>
                  <a:pt x="5342056" y="557284"/>
                  <a:pt x="5342056" y="563213"/>
                  <a:pt x="5336128" y="569141"/>
                </a:cubicBezTo>
                <a:cubicBezTo>
                  <a:pt x="5324272" y="575070"/>
                  <a:pt x="5312416" y="580998"/>
                  <a:pt x="5300560" y="586927"/>
                </a:cubicBezTo>
                <a:cubicBezTo>
                  <a:pt x="5288704" y="604712"/>
                  <a:pt x="5282776" y="622498"/>
                  <a:pt x="5264992" y="640284"/>
                </a:cubicBezTo>
                <a:cubicBezTo>
                  <a:pt x="5259064" y="646212"/>
                  <a:pt x="5253136" y="646212"/>
                  <a:pt x="5241280" y="652141"/>
                </a:cubicBezTo>
                <a:cubicBezTo>
                  <a:pt x="5235352" y="663998"/>
                  <a:pt x="5229424" y="681784"/>
                  <a:pt x="5229424" y="693641"/>
                </a:cubicBezTo>
                <a:cubicBezTo>
                  <a:pt x="5235352" y="705498"/>
                  <a:pt x="5241280" y="705498"/>
                  <a:pt x="5247208" y="705498"/>
                </a:cubicBezTo>
                <a:cubicBezTo>
                  <a:pt x="5247208" y="705498"/>
                  <a:pt x="5253136" y="699569"/>
                  <a:pt x="5253136" y="699569"/>
                </a:cubicBezTo>
                <a:cubicBezTo>
                  <a:pt x="5253136" y="687712"/>
                  <a:pt x="5253136" y="681784"/>
                  <a:pt x="5253136" y="675855"/>
                </a:cubicBezTo>
                <a:cubicBezTo>
                  <a:pt x="5259064" y="663998"/>
                  <a:pt x="5276848" y="669926"/>
                  <a:pt x="5288704" y="663998"/>
                </a:cubicBezTo>
                <a:cubicBezTo>
                  <a:pt x="5294632" y="658069"/>
                  <a:pt x="5294632" y="652141"/>
                  <a:pt x="5294632" y="640284"/>
                </a:cubicBezTo>
                <a:cubicBezTo>
                  <a:pt x="5294632" y="634355"/>
                  <a:pt x="5300560" y="634355"/>
                  <a:pt x="5312416" y="628427"/>
                </a:cubicBezTo>
                <a:cubicBezTo>
                  <a:pt x="5324272" y="646212"/>
                  <a:pt x="5318344" y="663998"/>
                  <a:pt x="5312416" y="675855"/>
                </a:cubicBezTo>
                <a:cubicBezTo>
                  <a:pt x="5306488" y="687712"/>
                  <a:pt x="5294632" y="687712"/>
                  <a:pt x="5288704" y="687712"/>
                </a:cubicBezTo>
                <a:cubicBezTo>
                  <a:pt x="5282776" y="687712"/>
                  <a:pt x="5282776" y="693641"/>
                  <a:pt x="5282776" y="693641"/>
                </a:cubicBezTo>
                <a:cubicBezTo>
                  <a:pt x="5276848" y="705498"/>
                  <a:pt x="5276848" y="717355"/>
                  <a:pt x="5276848" y="723283"/>
                </a:cubicBezTo>
                <a:cubicBezTo>
                  <a:pt x="5270920" y="729212"/>
                  <a:pt x="5264992" y="735141"/>
                  <a:pt x="5259064" y="735141"/>
                </a:cubicBezTo>
                <a:cubicBezTo>
                  <a:pt x="5253136" y="735141"/>
                  <a:pt x="5247208" y="729212"/>
                  <a:pt x="5241280" y="729212"/>
                </a:cubicBezTo>
                <a:cubicBezTo>
                  <a:pt x="5241280" y="729212"/>
                  <a:pt x="5235352" y="735141"/>
                  <a:pt x="5229424" y="735141"/>
                </a:cubicBezTo>
                <a:cubicBezTo>
                  <a:pt x="5223496" y="735141"/>
                  <a:pt x="5217568" y="735141"/>
                  <a:pt x="5217568" y="735141"/>
                </a:cubicBezTo>
                <a:cubicBezTo>
                  <a:pt x="5211640" y="735141"/>
                  <a:pt x="5205712" y="729212"/>
                  <a:pt x="5199784" y="729212"/>
                </a:cubicBezTo>
                <a:cubicBezTo>
                  <a:pt x="5193856" y="741069"/>
                  <a:pt x="5205712" y="752926"/>
                  <a:pt x="5193856" y="764783"/>
                </a:cubicBezTo>
                <a:cubicBezTo>
                  <a:pt x="5187928" y="776640"/>
                  <a:pt x="5170144" y="764783"/>
                  <a:pt x="5158288" y="776640"/>
                </a:cubicBezTo>
                <a:cubicBezTo>
                  <a:pt x="5152360" y="794426"/>
                  <a:pt x="5176072" y="800355"/>
                  <a:pt x="5176072" y="818140"/>
                </a:cubicBezTo>
                <a:cubicBezTo>
                  <a:pt x="5164216" y="824069"/>
                  <a:pt x="5158288" y="812212"/>
                  <a:pt x="5152360" y="812212"/>
                </a:cubicBezTo>
                <a:cubicBezTo>
                  <a:pt x="5140504" y="812212"/>
                  <a:pt x="5128648" y="806283"/>
                  <a:pt x="5122720" y="806283"/>
                </a:cubicBezTo>
                <a:cubicBezTo>
                  <a:pt x="5116792" y="812212"/>
                  <a:pt x="5110864" y="818140"/>
                  <a:pt x="5110864" y="829997"/>
                </a:cubicBezTo>
                <a:cubicBezTo>
                  <a:pt x="5110864" y="824069"/>
                  <a:pt x="5110864" y="824069"/>
                  <a:pt x="5110864" y="824069"/>
                </a:cubicBezTo>
                <a:cubicBezTo>
                  <a:pt x="5104936" y="829997"/>
                  <a:pt x="5099008" y="835926"/>
                  <a:pt x="5093080" y="841854"/>
                </a:cubicBezTo>
                <a:cubicBezTo>
                  <a:pt x="5087152" y="853712"/>
                  <a:pt x="5087152" y="865569"/>
                  <a:pt x="5093080" y="877426"/>
                </a:cubicBezTo>
                <a:cubicBezTo>
                  <a:pt x="5099008" y="889283"/>
                  <a:pt x="5099008" y="901140"/>
                  <a:pt x="5099008" y="918926"/>
                </a:cubicBezTo>
                <a:cubicBezTo>
                  <a:pt x="5093080" y="918926"/>
                  <a:pt x="5087152" y="912997"/>
                  <a:pt x="5081224" y="912997"/>
                </a:cubicBezTo>
                <a:cubicBezTo>
                  <a:pt x="5081224" y="918926"/>
                  <a:pt x="5075296" y="924854"/>
                  <a:pt x="5075296" y="930783"/>
                </a:cubicBezTo>
                <a:cubicBezTo>
                  <a:pt x="5069368" y="930783"/>
                  <a:pt x="5063440" y="930783"/>
                  <a:pt x="5057512" y="936711"/>
                </a:cubicBezTo>
                <a:cubicBezTo>
                  <a:pt x="5045656" y="942640"/>
                  <a:pt x="5027872" y="954497"/>
                  <a:pt x="5016016" y="966354"/>
                </a:cubicBezTo>
                <a:cubicBezTo>
                  <a:pt x="5010088" y="972283"/>
                  <a:pt x="5016016" y="972283"/>
                  <a:pt x="5016016" y="978211"/>
                </a:cubicBezTo>
                <a:cubicBezTo>
                  <a:pt x="5027872" y="978211"/>
                  <a:pt x="5045656" y="978211"/>
                  <a:pt x="5051584" y="966354"/>
                </a:cubicBezTo>
                <a:cubicBezTo>
                  <a:pt x="5069368" y="954497"/>
                  <a:pt x="5087152" y="948568"/>
                  <a:pt x="5110864" y="942640"/>
                </a:cubicBezTo>
                <a:cubicBezTo>
                  <a:pt x="5122720" y="948568"/>
                  <a:pt x="5140504" y="948568"/>
                  <a:pt x="5158288" y="954497"/>
                </a:cubicBezTo>
                <a:cubicBezTo>
                  <a:pt x="5164216" y="960425"/>
                  <a:pt x="5170144" y="972283"/>
                  <a:pt x="5170144" y="978211"/>
                </a:cubicBezTo>
                <a:cubicBezTo>
                  <a:pt x="5176072" y="984140"/>
                  <a:pt x="5193856" y="984140"/>
                  <a:pt x="5193856" y="995997"/>
                </a:cubicBezTo>
                <a:cubicBezTo>
                  <a:pt x="5193856" y="995997"/>
                  <a:pt x="5193856" y="1001925"/>
                  <a:pt x="5193856" y="1001925"/>
                </a:cubicBezTo>
                <a:cubicBezTo>
                  <a:pt x="5170144" y="1013782"/>
                  <a:pt x="5158288" y="1031568"/>
                  <a:pt x="5158288" y="1055282"/>
                </a:cubicBezTo>
                <a:cubicBezTo>
                  <a:pt x="5158288" y="1061211"/>
                  <a:pt x="5152360" y="1061211"/>
                  <a:pt x="5152360" y="1067139"/>
                </a:cubicBezTo>
                <a:cubicBezTo>
                  <a:pt x="5134576" y="1061211"/>
                  <a:pt x="5122720" y="1055282"/>
                  <a:pt x="5104936" y="1055282"/>
                </a:cubicBezTo>
                <a:cubicBezTo>
                  <a:pt x="5099008" y="1073068"/>
                  <a:pt x="5093080" y="1090854"/>
                  <a:pt x="5087152" y="1102711"/>
                </a:cubicBezTo>
                <a:cubicBezTo>
                  <a:pt x="5087152" y="1126425"/>
                  <a:pt x="5087152" y="1144211"/>
                  <a:pt x="5087152" y="1167925"/>
                </a:cubicBezTo>
                <a:cubicBezTo>
                  <a:pt x="5087152" y="1185710"/>
                  <a:pt x="5087152" y="1203496"/>
                  <a:pt x="5087152" y="1221282"/>
                </a:cubicBezTo>
                <a:cubicBezTo>
                  <a:pt x="5099008" y="1221282"/>
                  <a:pt x="5104936" y="1221282"/>
                  <a:pt x="5104936" y="1221282"/>
                </a:cubicBezTo>
                <a:cubicBezTo>
                  <a:pt x="5110864" y="1221282"/>
                  <a:pt x="5116792" y="1215353"/>
                  <a:pt x="5116792" y="1215353"/>
                </a:cubicBezTo>
                <a:cubicBezTo>
                  <a:pt x="5122720" y="1221282"/>
                  <a:pt x="5128648" y="1221282"/>
                  <a:pt x="5140504" y="1227210"/>
                </a:cubicBezTo>
                <a:cubicBezTo>
                  <a:pt x="5140504" y="1221282"/>
                  <a:pt x="5146432" y="1221282"/>
                  <a:pt x="5146432" y="1215353"/>
                </a:cubicBezTo>
                <a:cubicBezTo>
                  <a:pt x="5140504" y="1209425"/>
                  <a:pt x="5140504" y="1203496"/>
                  <a:pt x="5140504" y="1191639"/>
                </a:cubicBezTo>
                <a:cubicBezTo>
                  <a:pt x="5140504" y="1185710"/>
                  <a:pt x="5146432" y="1185710"/>
                  <a:pt x="5152360" y="1179782"/>
                </a:cubicBezTo>
                <a:cubicBezTo>
                  <a:pt x="5158288" y="1185710"/>
                  <a:pt x="5170144" y="1191639"/>
                  <a:pt x="5176072" y="1197568"/>
                </a:cubicBezTo>
                <a:cubicBezTo>
                  <a:pt x="5187928" y="1191639"/>
                  <a:pt x="5205712" y="1185710"/>
                  <a:pt x="5217568" y="1173853"/>
                </a:cubicBezTo>
                <a:cubicBezTo>
                  <a:pt x="5217568" y="1167925"/>
                  <a:pt x="5217568" y="1161996"/>
                  <a:pt x="5217568" y="1156068"/>
                </a:cubicBezTo>
                <a:cubicBezTo>
                  <a:pt x="5223496" y="1150139"/>
                  <a:pt x="5229424" y="1150139"/>
                  <a:pt x="5235352" y="1156068"/>
                </a:cubicBezTo>
                <a:cubicBezTo>
                  <a:pt x="5235352" y="1161996"/>
                  <a:pt x="5235352" y="1173853"/>
                  <a:pt x="5241280" y="1185710"/>
                </a:cubicBezTo>
                <a:cubicBezTo>
                  <a:pt x="5241280" y="1185710"/>
                  <a:pt x="5247208" y="1191639"/>
                  <a:pt x="5247208" y="1191639"/>
                </a:cubicBezTo>
                <a:cubicBezTo>
                  <a:pt x="5264992" y="1191639"/>
                  <a:pt x="5276848" y="1185710"/>
                  <a:pt x="5294632" y="1185710"/>
                </a:cubicBezTo>
                <a:cubicBezTo>
                  <a:pt x="5306488" y="1185710"/>
                  <a:pt x="5318344" y="1191639"/>
                  <a:pt x="5330200" y="1191639"/>
                </a:cubicBezTo>
                <a:cubicBezTo>
                  <a:pt x="5336128" y="1191639"/>
                  <a:pt x="5342056" y="1185710"/>
                  <a:pt x="5342056" y="1179782"/>
                </a:cubicBezTo>
                <a:cubicBezTo>
                  <a:pt x="5342056" y="1173853"/>
                  <a:pt x="5336128" y="1167925"/>
                  <a:pt x="5336128" y="1161996"/>
                </a:cubicBezTo>
                <a:cubicBezTo>
                  <a:pt x="5318344" y="1150139"/>
                  <a:pt x="5306488" y="1144211"/>
                  <a:pt x="5294632" y="1132354"/>
                </a:cubicBezTo>
                <a:cubicBezTo>
                  <a:pt x="5276848" y="1132354"/>
                  <a:pt x="5264992" y="1132354"/>
                  <a:pt x="5247208" y="1126425"/>
                </a:cubicBezTo>
                <a:cubicBezTo>
                  <a:pt x="5247208" y="1120496"/>
                  <a:pt x="5259064" y="1114568"/>
                  <a:pt x="5259064" y="1114568"/>
                </a:cubicBezTo>
                <a:cubicBezTo>
                  <a:pt x="5276848" y="1114568"/>
                  <a:pt x="5288704" y="1114568"/>
                  <a:pt x="5306488" y="1108639"/>
                </a:cubicBezTo>
                <a:cubicBezTo>
                  <a:pt x="5312416" y="1108639"/>
                  <a:pt x="5324272" y="1108639"/>
                  <a:pt x="5330200" y="1114568"/>
                </a:cubicBezTo>
                <a:cubicBezTo>
                  <a:pt x="5347984" y="1102711"/>
                  <a:pt x="5342056" y="1084925"/>
                  <a:pt x="5342056" y="1067139"/>
                </a:cubicBezTo>
                <a:cubicBezTo>
                  <a:pt x="5347984" y="1067139"/>
                  <a:pt x="5353912" y="1067139"/>
                  <a:pt x="5353912" y="1067139"/>
                </a:cubicBezTo>
                <a:cubicBezTo>
                  <a:pt x="5365768" y="1067139"/>
                  <a:pt x="5371696" y="1073068"/>
                  <a:pt x="5377624" y="1073068"/>
                </a:cubicBezTo>
                <a:cubicBezTo>
                  <a:pt x="5383552" y="1073068"/>
                  <a:pt x="5395408" y="1073068"/>
                  <a:pt x="5401336" y="1073068"/>
                </a:cubicBezTo>
                <a:cubicBezTo>
                  <a:pt x="5407264" y="1084925"/>
                  <a:pt x="5413192" y="1090854"/>
                  <a:pt x="5419120" y="1102711"/>
                </a:cubicBezTo>
                <a:cubicBezTo>
                  <a:pt x="5425048" y="1102711"/>
                  <a:pt x="5425048" y="1102711"/>
                  <a:pt x="5430976" y="1102711"/>
                </a:cubicBezTo>
                <a:cubicBezTo>
                  <a:pt x="5436904" y="1102711"/>
                  <a:pt x="5448760" y="1102711"/>
                  <a:pt x="5454688" y="1102711"/>
                </a:cubicBezTo>
                <a:cubicBezTo>
                  <a:pt x="5484328" y="1108639"/>
                  <a:pt x="5508040" y="1108639"/>
                  <a:pt x="5537680" y="1102711"/>
                </a:cubicBezTo>
                <a:cubicBezTo>
                  <a:pt x="5537680" y="1102711"/>
                  <a:pt x="5543608" y="1096782"/>
                  <a:pt x="5543608" y="1090854"/>
                </a:cubicBezTo>
                <a:cubicBezTo>
                  <a:pt x="5525824" y="1073068"/>
                  <a:pt x="5502112" y="1073068"/>
                  <a:pt x="5484328" y="1084925"/>
                </a:cubicBezTo>
                <a:cubicBezTo>
                  <a:pt x="5466544" y="1084925"/>
                  <a:pt x="5472472" y="1067139"/>
                  <a:pt x="5448760" y="1055282"/>
                </a:cubicBezTo>
                <a:cubicBezTo>
                  <a:pt x="5448760" y="1055282"/>
                  <a:pt x="5436904" y="1049354"/>
                  <a:pt x="5425048" y="1043425"/>
                </a:cubicBezTo>
                <a:cubicBezTo>
                  <a:pt x="5430976" y="1037497"/>
                  <a:pt x="5430976" y="1037497"/>
                  <a:pt x="5436904" y="1031568"/>
                </a:cubicBezTo>
                <a:cubicBezTo>
                  <a:pt x="5448760" y="1031568"/>
                  <a:pt x="5460616" y="1025640"/>
                  <a:pt x="5478400" y="1025640"/>
                </a:cubicBezTo>
                <a:cubicBezTo>
                  <a:pt x="5490256" y="1025640"/>
                  <a:pt x="5502112" y="1031568"/>
                  <a:pt x="5513968" y="1037497"/>
                </a:cubicBezTo>
                <a:cubicBezTo>
                  <a:pt x="5519896" y="1031568"/>
                  <a:pt x="5531752" y="1025640"/>
                  <a:pt x="5549536" y="1019711"/>
                </a:cubicBezTo>
                <a:cubicBezTo>
                  <a:pt x="5573248" y="1031568"/>
                  <a:pt x="5602888" y="1031568"/>
                  <a:pt x="5632528" y="1031568"/>
                </a:cubicBezTo>
                <a:cubicBezTo>
                  <a:pt x="5644384" y="1031568"/>
                  <a:pt x="5656240" y="1031568"/>
                  <a:pt x="5662168" y="1025640"/>
                </a:cubicBezTo>
                <a:cubicBezTo>
                  <a:pt x="5674024" y="1019711"/>
                  <a:pt x="5685880" y="1025640"/>
                  <a:pt x="5697736" y="1013782"/>
                </a:cubicBezTo>
                <a:cubicBezTo>
                  <a:pt x="5685880" y="1001925"/>
                  <a:pt x="5668096" y="1007854"/>
                  <a:pt x="5656240" y="1007854"/>
                </a:cubicBezTo>
                <a:cubicBezTo>
                  <a:pt x="5638456" y="1007854"/>
                  <a:pt x="5626600" y="1007854"/>
                  <a:pt x="5608816" y="1007854"/>
                </a:cubicBezTo>
                <a:cubicBezTo>
                  <a:pt x="5608816" y="990068"/>
                  <a:pt x="5620672" y="990068"/>
                  <a:pt x="5626600" y="990068"/>
                </a:cubicBezTo>
                <a:cubicBezTo>
                  <a:pt x="5650312" y="978211"/>
                  <a:pt x="5668096" y="990068"/>
                  <a:pt x="5685880" y="978211"/>
                </a:cubicBezTo>
                <a:cubicBezTo>
                  <a:pt x="5697736" y="978211"/>
                  <a:pt x="5691808" y="966354"/>
                  <a:pt x="5697736" y="960425"/>
                </a:cubicBezTo>
                <a:cubicBezTo>
                  <a:pt x="5697736" y="954497"/>
                  <a:pt x="5703664" y="954497"/>
                  <a:pt x="5703664" y="948568"/>
                </a:cubicBezTo>
                <a:cubicBezTo>
                  <a:pt x="5715520" y="942640"/>
                  <a:pt x="5727376" y="948568"/>
                  <a:pt x="5739232" y="948568"/>
                </a:cubicBezTo>
                <a:cubicBezTo>
                  <a:pt x="5739232" y="942640"/>
                  <a:pt x="5745160" y="942640"/>
                  <a:pt x="5745160" y="936711"/>
                </a:cubicBezTo>
                <a:cubicBezTo>
                  <a:pt x="5745160" y="930783"/>
                  <a:pt x="5739232" y="924854"/>
                  <a:pt x="5739232" y="918926"/>
                </a:cubicBezTo>
                <a:cubicBezTo>
                  <a:pt x="5745160" y="918926"/>
                  <a:pt x="5745160" y="912997"/>
                  <a:pt x="5751087" y="912997"/>
                </a:cubicBezTo>
                <a:cubicBezTo>
                  <a:pt x="5762943" y="907068"/>
                  <a:pt x="5774799" y="907068"/>
                  <a:pt x="5786655" y="907068"/>
                </a:cubicBezTo>
                <a:cubicBezTo>
                  <a:pt x="5792583" y="895211"/>
                  <a:pt x="5780727" y="889283"/>
                  <a:pt x="5780727" y="883354"/>
                </a:cubicBezTo>
                <a:cubicBezTo>
                  <a:pt x="5798511" y="865569"/>
                  <a:pt x="5816295" y="877426"/>
                  <a:pt x="5828151" y="865569"/>
                </a:cubicBezTo>
                <a:cubicBezTo>
                  <a:pt x="5840007" y="859640"/>
                  <a:pt x="5851863" y="871497"/>
                  <a:pt x="5863719" y="859640"/>
                </a:cubicBezTo>
                <a:cubicBezTo>
                  <a:pt x="5857791" y="841854"/>
                  <a:pt x="5840007" y="853712"/>
                  <a:pt x="5828151" y="841854"/>
                </a:cubicBezTo>
                <a:cubicBezTo>
                  <a:pt x="5828151" y="835926"/>
                  <a:pt x="5828151" y="829997"/>
                  <a:pt x="5834079" y="829997"/>
                </a:cubicBezTo>
                <a:cubicBezTo>
                  <a:pt x="5851863" y="824069"/>
                  <a:pt x="5869647" y="824069"/>
                  <a:pt x="5887431" y="829997"/>
                </a:cubicBezTo>
                <a:cubicBezTo>
                  <a:pt x="5887431" y="829997"/>
                  <a:pt x="5893359" y="829997"/>
                  <a:pt x="5893359" y="829997"/>
                </a:cubicBezTo>
                <a:cubicBezTo>
                  <a:pt x="5899287" y="824069"/>
                  <a:pt x="5899287" y="818140"/>
                  <a:pt x="5893359" y="812212"/>
                </a:cubicBezTo>
                <a:cubicBezTo>
                  <a:pt x="5887431" y="812212"/>
                  <a:pt x="5881503" y="812212"/>
                  <a:pt x="5875575" y="812212"/>
                </a:cubicBezTo>
                <a:cubicBezTo>
                  <a:pt x="5869647" y="812212"/>
                  <a:pt x="5863719" y="806283"/>
                  <a:pt x="5863719" y="794426"/>
                </a:cubicBezTo>
                <a:cubicBezTo>
                  <a:pt x="5863719" y="794426"/>
                  <a:pt x="5869647" y="788497"/>
                  <a:pt x="5875575" y="788497"/>
                </a:cubicBezTo>
                <a:cubicBezTo>
                  <a:pt x="5887431" y="782569"/>
                  <a:pt x="5899287" y="788497"/>
                  <a:pt x="5911143" y="782569"/>
                </a:cubicBezTo>
                <a:cubicBezTo>
                  <a:pt x="5917071" y="782569"/>
                  <a:pt x="5917071" y="788497"/>
                  <a:pt x="5917071" y="788497"/>
                </a:cubicBezTo>
                <a:cubicBezTo>
                  <a:pt x="5922999" y="794426"/>
                  <a:pt x="5928927" y="788497"/>
                  <a:pt x="5928927" y="782569"/>
                </a:cubicBezTo>
                <a:cubicBezTo>
                  <a:pt x="5928927" y="782569"/>
                  <a:pt x="5922999" y="782569"/>
                  <a:pt x="5922999" y="782569"/>
                </a:cubicBezTo>
                <a:cubicBezTo>
                  <a:pt x="5917071" y="782569"/>
                  <a:pt x="5917071" y="782569"/>
                  <a:pt x="5911143" y="782569"/>
                </a:cubicBezTo>
                <a:cubicBezTo>
                  <a:pt x="5917071" y="758855"/>
                  <a:pt x="5917071" y="758855"/>
                  <a:pt x="5928927" y="752926"/>
                </a:cubicBezTo>
                <a:cubicBezTo>
                  <a:pt x="5940783" y="752926"/>
                  <a:pt x="5946711" y="752926"/>
                  <a:pt x="5958567" y="758855"/>
                </a:cubicBezTo>
                <a:cubicBezTo>
                  <a:pt x="5964495" y="752926"/>
                  <a:pt x="5964495" y="746998"/>
                  <a:pt x="5970423" y="746998"/>
                </a:cubicBezTo>
                <a:cubicBezTo>
                  <a:pt x="5976351" y="735141"/>
                  <a:pt x="5964495" y="729212"/>
                  <a:pt x="5976351" y="717355"/>
                </a:cubicBezTo>
                <a:cubicBezTo>
                  <a:pt x="5982279" y="717355"/>
                  <a:pt x="5994135" y="711426"/>
                  <a:pt x="6000063" y="711426"/>
                </a:cubicBezTo>
                <a:cubicBezTo>
                  <a:pt x="6017847" y="699569"/>
                  <a:pt x="6011919" y="687712"/>
                  <a:pt x="6017847" y="675855"/>
                </a:cubicBezTo>
                <a:cubicBezTo>
                  <a:pt x="6023775" y="675855"/>
                  <a:pt x="6029703" y="675855"/>
                  <a:pt x="6041559" y="675855"/>
                </a:cubicBezTo>
                <a:cubicBezTo>
                  <a:pt x="6047487" y="663998"/>
                  <a:pt x="6053415" y="652141"/>
                  <a:pt x="6059343" y="640284"/>
                </a:cubicBezTo>
                <a:cubicBezTo>
                  <a:pt x="6065271" y="640284"/>
                  <a:pt x="6071199" y="640284"/>
                  <a:pt x="6083055" y="640284"/>
                </a:cubicBezTo>
                <a:cubicBezTo>
                  <a:pt x="6088983" y="634355"/>
                  <a:pt x="6083055" y="622498"/>
                  <a:pt x="6088983" y="616570"/>
                </a:cubicBezTo>
                <a:cubicBezTo>
                  <a:pt x="6088983" y="610641"/>
                  <a:pt x="6094911" y="610641"/>
                  <a:pt x="6094911" y="604712"/>
                </a:cubicBezTo>
                <a:cubicBezTo>
                  <a:pt x="6112695" y="598784"/>
                  <a:pt x="6124551" y="592855"/>
                  <a:pt x="6136407" y="592855"/>
                </a:cubicBezTo>
                <a:lnTo>
                  <a:pt x="6136407" y="604712"/>
                </a:lnTo>
                <a:cubicBezTo>
                  <a:pt x="6112695" y="634355"/>
                  <a:pt x="6088983" y="663998"/>
                  <a:pt x="6071199" y="693641"/>
                </a:cubicBezTo>
                <a:cubicBezTo>
                  <a:pt x="6065271" y="699569"/>
                  <a:pt x="6059343" y="705498"/>
                  <a:pt x="6053415" y="711426"/>
                </a:cubicBezTo>
                <a:cubicBezTo>
                  <a:pt x="6041559" y="729212"/>
                  <a:pt x="6029703" y="746998"/>
                  <a:pt x="6023775" y="764783"/>
                </a:cubicBezTo>
                <a:cubicBezTo>
                  <a:pt x="6017847" y="770712"/>
                  <a:pt x="6005991" y="770712"/>
                  <a:pt x="6005991" y="776640"/>
                </a:cubicBezTo>
                <a:cubicBezTo>
                  <a:pt x="5982279" y="806283"/>
                  <a:pt x="5958567" y="829997"/>
                  <a:pt x="5946711" y="865569"/>
                </a:cubicBezTo>
                <a:cubicBezTo>
                  <a:pt x="5946711" y="871497"/>
                  <a:pt x="5946711" y="883354"/>
                  <a:pt x="5946711" y="895211"/>
                </a:cubicBezTo>
                <a:cubicBezTo>
                  <a:pt x="5940783" y="889283"/>
                  <a:pt x="5934855" y="889283"/>
                  <a:pt x="5928927" y="889283"/>
                </a:cubicBezTo>
                <a:cubicBezTo>
                  <a:pt x="5917071" y="901140"/>
                  <a:pt x="5917071" y="901140"/>
                  <a:pt x="5917071" y="912997"/>
                </a:cubicBezTo>
                <a:cubicBezTo>
                  <a:pt x="5928927" y="907068"/>
                  <a:pt x="5940783" y="907068"/>
                  <a:pt x="5946711" y="895211"/>
                </a:cubicBezTo>
                <a:cubicBezTo>
                  <a:pt x="5952639" y="901140"/>
                  <a:pt x="5958567" y="901140"/>
                  <a:pt x="5958567" y="907068"/>
                </a:cubicBezTo>
                <a:cubicBezTo>
                  <a:pt x="5970423" y="901140"/>
                  <a:pt x="5982279" y="895211"/>
                  <a:pt x="5988207" y="895211"/>
                </a:cubicBezTo>
                <a:cubicBezTo>
                  <a:pt x="5994135" y="889283"/>
                  <a:pt x="6000063" y="883354"/>
                  <a:pt x="6000063" y="883354"/>
                </a:cubicBezTo>
                <a:cubicBezTo>
                  <a:pt x="6005991" y="883354"/>
                  <a:pt x="6011919" y="883354"/>
                  <a:pt x="6017847" y="883354"/>
                </a:cubicBezTo>
                <a:cubicBezTo>
                  <a:pt x="6023775" y="883354"/>
                  <a:pt x="6029703" y="877426"/>
                  <a:pt x="6035631" y="871497"/>
                </a:cubicBezTo>
                <a:cubicBezTo>
                  <a:pt x="6041559" y="865569"/>
                  <a:pt x="6041559" y="865569"/>
                  <a:pt x="6035631" y="859640"/>
                </a:cubicBezTo>
                <a:cubicBezTo>
                  <a:pt x="6035631" y="853712"/>
                  <a:pt x="6041559" y="841854"/>
                  <a:pt x="6047487" y="835926"/>
                </a:cubicBezTo>
                <a:cubicBezTo>
                  <a:pt x="6053415" y="829997"/>
                  <a:pt x="6059343" y="829997"/>
                  <a:pt x="6071199" y="829997"/>
                </a:cubicBezTo>
                <a:cubicBezTo>
                  <a:pt x="6077127" y="818140"/>
                  <a:pt x="6083055" y="812212"/>
                  <a:pt x="6094911" y="800355"/>
                </a:cubicBezTo>
                <a:cubicBezTo>
                  <a:pt x="6106767" y="794426"/>
                  <a:pt x="6118623" y="794426"/>
                  <a:pt x="6130479" y="788497"/>
                </a:cubicBezTo>
                <a:cubicBezTo>
                  <a:pt x="6136407" y="782569"/>
                  <a:pt x="6136407" y="776640"/>
                  <a:pt x="6142335" y="770712"/>
                </a:cubicBezTo>
                <a:cubicBezTo>
                  <a:pt x="6154191" y="764783"/>
                  <a:pt x="6166047" y="764783"/>
                  <a:pt x="6171975" y="752926"/>
                </a:cubicBezTo>
                <a:cubicBezTo>
                  <a:pt x="6183831" y="735141"/>
                  <a:pt x="6201615" y="723283"/>
                  <a:pt x="6219399" y="711426"/>
                </a:cubicBezTo>
                <a:cubicBezTo>
                  <a:pt x="6231255" y="717355"/>
                  <a:pt x="6225327" y="723283"/>
                  <a:pt x="6225327" y="729212"/>
                </a:cubicBezTo>
                <a:cubicBezTo>
                  <a:pt x="6213471" y="746998"/>
                  <a:pt x="6207543" y="758855"/>
                  <a:pt x="6195687" y="770712"/>
                </a:cubicBezTo>
                <a:cubicBezTo>
                  <a:pt x="6177903" y="788497"/>
                  <a:pt x="6171975" y="806283"/>
                  <a:pt x="6160119" y="824069"/>
                </a:cubicBezTo>
                <a:cubicBezTo>
                  <a:pt x="6148263" y="835926"/>
                  <a:pt x="6142335" y="853712"/>
                  <a:pt x="6130479" y="859640"/>
                </a:cubicBezTo>
                <a:cubicBezTo>
                  <a:pt x="6112695" y="871497"/>
                  <a:pt x="6112695" y="889283"/>
                  <a:pt x="6100839" y="901140"/>
                </a:cubicBezTo>
                <a:cubicBezTo>
                  <a:pt x="6088983" y="912997"/>
                  <a:pt x="6083055" y="924854"/>
                  <a:pt x="6071199" y="942640"/>
                </a:cubicBezTo>
                <a:cubicBezTo>
                  <a:pt x="6071199" y="942640"/>
                  <a:pt x="6071199" y="948568"/>
                  <a:pt x="6065271" y="948568"/>
                </a:cubicBezTo>
                <a:cubicBezTo>
                  <a:pt x="6041559" y="972283"/>
                  <a:pt x="6023775" y="1001925"/>
                  <a:pt x="6011919" y="1037497"/>
                </a:cubicBezTo>
                <a:cubicBezTo>
                  <a:pt x="5994135" y="1043425"/>
                  <a:pt x="5982279" y="1061211"/>
                  <a:pt x="5976351" y="1078997"/>
                </a:cubicBezTo>
                <a:cubicBezTo>
                  <a:pt x="5964495" y="1084925"/>
                  <a:pt x="5958567" y="1090854"/>
                  <a:pt x="5952639" y="1096782"/>
                </a:cubicBezTo>
                <a:cubicBezTo>
                  <a:pt x="5946711" y="1108639"/>
                  <a:pt x="5940783" y="1120496"/>
                  <a:pt x="5940783" y="1132354"/>
                </a:cubicBezTo>
                <a:cubicBezTo>
                  <a:pt x="5928927" y="1138282"/>
                  <a:pt x="5917071" y="1150139"/>
                  <a:pt x="5905215" y="1161996"/>
                </a:cubicBezTo>
                <a:cubicBezTo>
                  <a:pt x="5905215" y="1161996"/>
                  <a:pt x="5899287" y="1167925"/>
                  <a:pt x="5899287" y="1167925"/>
                </a:cubicBezTo>
                <a:cubicBezTo>
                  <a:pt x="5875575" y="1215353"/>
                  <a:pt x="5845935" y="1256853"/>
                  <a:pt x="5810367" y="1298353"/>
                </a:cubicBezTo>
                <a:cubicBezTo>
                  <a:pt x="5786655" y="1322067"/>
                  <a:pt x="5768871" y="1345781"/>
                  <a:pt x="5745160" y="1375424"/>
                </a:cubicBezTo>
                <a:cubicBezTo>
                  <a:pt x="5721448" y="1405067"/>
                  <a:pt x="5697736" y="1440638"/>
                  <a:pt x="5668096" y="1470281"/>
                </a:cubicBezTo>
                <a:cubicBezTo>
                  <a:pt x="5650312" y="1488067"/>
                  <a:pt x="5638456" y="1511781"/>
                  <a:pt x="5626600" y="1529566"/>
                </a:cubicBezTo>
                <a:cubicBezTo>
                  <a:pt x="5608816" y="1576995"/>
                  <a:pt x="5579176" y="1618495"/>
                  <a:pt x="5543608" y="1654066"/>
                </a:cubicBezTo>
                <a:cubicBezTo>
                  <a:pt x="5543608" y="1671852"/>
                  <a:pt x="5537680" y="1683709"/>
                  <a:pt x="5537680" y="1695566"/>
                </a:cubicBezTo>
                <a:cubicBezTo>
                  <a:pt x="5543608" y="1701494"/>
                  <a:pt x="5549536" y="1707423"/>
                  <a:pt x="5555464" y="1701494"/>
                </a:cubicBezTo>
                <a:cubicBezTo>
                  <a:pt x="5561392" y="1701494"/>
                  <a:pt x="5567320" y="1695566"/>
                  <a:pt x="5573248" y="1689637"/>
                </a:cubicBezTo>
                <a:cubicBezTo>
                  <a:pt x="5585104" y="1677780"/>
                  <a:pt x="5602888" y="1659995"/>
                  <a:pt x="5626600" y="1659995"/>
                </a:cubicBezTo>
                <a:cubicBezTo>
                  <a:pt x="5632528" y="1648137"/>
                  <a:pt x="5638456" y="1642209"/>
                  <a:pt x="5638456" y="1636281"/>
                </a:cubicBezTo>
                <a:cubicBezTo>
                  <a:pt x="5656240" y="1630352"/>
                  <a:pt x="5674024" y="1624423"/>
                  <a:pt x="5691808" y="1612566"/>
                </a:cubicBezTo>
                <a:cubicBezTo>
                  <a:pt x="5703664" y="1594781"/>
                  <a:pt x="5715520" y="1576995"/>
                  <a:pt x="5727376" y="1559209"/>
                </a:cubicBezTo>
                <a:cubicBezTo>
                  <a:pt x="5739232" y="1547352"/>
                  <a:pt x="5757015" y="1547352"/>
                  <a:pt x="5768871" y="1547352"/>
                </a:cubicBezTo>
                <a:cubicBezTo>
                  <a:pt x="5774799" y="1541424"/>
                  <a:pt x="5786655" y="1541424"/>
                  <a:pt x="5798511" y="1535495"/>
                </a:cubicBezTo>
                <a:cubicBezTo>
                  <a:pt x="5810367" y="1541424"/>
                  <a:pt x="5828151" y="1553281"/>
                  <a:pt x="5840007" y="1559209"/>
                </a:cubicBezTo>
                <a:cubicBezTo>
                  <a:pt x="5845935" y="1559209"/>
                  <a:pt x="5851863" y="1559209"/>
                  <a:pt x="5857791" y="1559209"/>
                </a:cubicBezTo>
                <a:cubicBezTo>
                  <a:pt x="5869647" y="1559209"/>
                  <a:pt x="5887431" y="1559209"/>
                  <a:pt x="5899287" y="1553281"/>
                </a:cubicBezTo>
                <a:cubicBezTo>
                  <a:pt x="5911143" y="1547352"/>
                  <a:pt x="5922999" y="1547352"/>
                  <a:pt x="5934855" y="1541424"/>
                </a:cubicBezTo>
                <a:cubicBezTo>
                  <a:pt x="5952639" y="1547352"/>
                  <a:pt x="5958567" y="1559209"/>
                  <a:pt x="5958567" y="1571066"/>
                </a:cubicBezTo>
                <a:cubicBezTo>
                  <a:pt x="5946711" y="1588852"/>
                  <a:pt x="5934855" y="1612566"/>
                  <a:pt x="5928927" y="1630352"/>
                </a:cubicBezTo>
                <a:cubicBezTo>
                  <a:pt x="5922999" y="1642209"/>
                  <a:pt x="5917071" y="1648137"/>
                  <a:pt x="5911143" y="1659995"/>
                </a:cubicBezTo>
                <a:cubicBezTo>
                  <a:pt x="5893359" y="1683709"/>
                  <a:pt x="5869647" y="1725209"/>
                  <a:pt x="5857791" y="1748923"/>
                </a:cubicBezTo>
                <a:cubicBezTo>
                  <a:pt x="5851863" y="1754851"/>
                  <a:pt x="5851863" y="1760780"/>
                  <a:pt x="5845935" y="1766709"/>
                </a:cubicBezTo>
                <a:cubicBezTo>
                  <a:pt x="5828151" y="1790423"/>
                  <a:pt x="5816295" y="1825994"/>
                  <a:pt x="5798511" y="1849708"/>
                </a:cubicBezTo>
                <a:cubicBezTo>
                  <a:pt x="5786655" y="1867494"/>
                  <a:pt x="5780727" y="1879351"/>
                  <a:pt x="5774799" y="1897137"/>
                </a:cubicBezTo>
                <a:cubicBezTo>
                  <a:pt x="5774799" y="1903065"/>
                  <a:pt x="5768871" y="1903065"/>
                  <a:pt x="5762943" y="1908994"/>
                </a:cubicBezTo>
                <a:cubicBezTo>
                  <a:pt x="5757015" y="1914922"/>
                  <a:pt x="5751087" y="1926779"/>
                  <a:pt x="5751087" y="1932708"/>
                </a:cubicBezTo>
                <a:cubicBezTo>
                  <a:pt x="5745160" y="1938637"/>
                  <a:pt x="5739232" y="1950494"/>
                  <a:pt x="5733304" y="1962351"/>
                </a:cubicBezTo>
                <a:cubicBezTo>
                  <a:pt x="5709592" y="1986065"/>
                  <a:pt x="5691808" y="2015708"/>
                  <a:pt x="5674024" y="2045351"/>
                </a:cubicBezTo>
                <a:cubicBezTo>
                  <a:pt x="5674024" y="2045351"/>
                  <a:pt x="5674024" y="2045351"/>
                  <a:pt x="5668096" y="2045351"/>
                </a:cubicBezTo>
                <a:cubicBezTo>
                  <a:pt x="5656240" y="2080922"/>
                  <a:pt x="5632528" y="2110564"/>
                  <a:pt x="5614744" y="2140207"/>
                </a:cubicBezTo>
                <a:cubicBezTo>
                  <a:pt x="5608816" y="2152064"/>
                  <a:pt x="5608816" y="2157993"/>
                  <a:pt x="5608816" y="2169850"/>
                </a:cubicBezTo>
                <a:cubicBezTo>
                  <a:pt x="5614744" y="2175779"/>
                  <a:pt x="5620672" y="2181707"/>
                  <a:pt x="5626600" y="2187636"/>
                </a:cubicBezTo>
                <a:cubicBezTo>
                  <a:pt x="5632528" y="2181707"/>
                  <a:pt x="5638456" y="2181707"/>
                  <a:pt x="5650312" y="2175779"/>
                </a:cubicBezTo>
                <a:cubicBezTo>
                  <a:pt x="5662168" y="2181707"/>
                  <a:pt x="5679952" y="2181707"/>
                  <a:pt x="5691808" y="2181707"/>
                </a:cubicBezTo>
                <a:cubicBezTo>
                  <a:pt x="5697736" y="2187636"/>
                  <a:pt x="5703664" y="2193564"/>
                  <a:pt x="5703664" y="2193564"/>
                </a:cubicBezTo>
                <a:cubicBezTo>
                  <a:pt x="5703664" y="2205421"/>
                  <a:pt x="5703664" y="2211350"/>
                  <a:pt x="5703664" y="2217278"/>
                </a:cubicBezTo>
                <a:cubicBezTo>
                  <a:pt x="5709592" y="2223207"/>
                  <a:pt x="5709592" y="2223207"/>
                  <a:pt x="5715520" y="2217278"/>
                </a:cubicBezTo>
                <a:cubicBezTo>
                  <a:pt x="5721448" y="2199493"/>
                  <a:pt x="5715520" y="2175779"/>
                  <a:pt x="5715520" y="2157993"/>
                </a:cubicBezTo>
                <a:cubicBezTo>
                  <a:pt x="5727376" y="2152064"/>
                  <a:pt x="5727376" y="2152064"/>
                  <a:pt x="5733304" y="2157993"/>
                </a:cubicBezTo>
                <a:cubicBezTo>
                  <a:pt x="5739232" y="2163921"/>
                  <a:pt x="5745160" y="2169850"/>
                  <a:pt x="5751087" y="2175779"/>
                </a:cubicBezTo>
                <a:cubicBezTo>
                  <a:pt x="5757015" y="2169850"/>
                  <a:pt x="5762943" y="2157993"/>
                  <a:pt x="5768871" y="2152064"/>
                </a:cubicBezTo>
                <a:cubicBezTo>
                  <a:pt x="5774799" y="2146136"/>
                  <a:pt x="5786655" y="2140207"/>
                  <a:pt x="5792583" y="2134279"/>
                </a:cubicBezTo>
                <a:cubicBezTo>
                  <a:pt x="5798511" y="2128350"/>
                  <a:pt x="5798511" y="2122422"/>
                  <a:pt x="5798511" y="2116493"/>
                </a:cubicBezTo>
                <a:cubicBezTo>
                  <a:pt x="5798511" y="2116493"/>
                  <a:pt x="5804439" y="2110564"/>
                  <a:pt x="5804439" y="2110564"/>
                </a:cubicBezTo>
                <a:cubicBezTo>
                  <a:pt x="5810367" y="2110564"/>
                  <a:pt x="5810367" y="2116493"/>
                  <a:pt x="5816295" y="2116493"/>
                </a:cubicBezTo>
                <a:cubicBezTo>
                  <a:pt x="5816295" y="2122422"/>
                  <a:pt x="5816295" y="2128350"/>
                  <a:pt x="5816295" y="2134279"/>
                </a:cubicBezTo>
                <a:cubicBezTo>
                  <a:pt x="5816295" y="2134279"/>
                  <a:pt x="5822223" y="2134279"/>
                  <a:pt x="5822223" y="2140207"/>
                </a:cubicBezTo>
                <a:cubicBezTo>
                  <a:pt x="5834079" y="2128350"/>
                  <a:pt x="5828151" y="2110564"/>
                  <a:pt x="5840007" y="2104636"/>
                </a:cubicBezTo>
                <a:cubicBezTo>
                  <a:pt x="5851863" y="2104636"/>
                  <a:pt x="5863719" y="2104636"/>
                  <a:pt x="5869647" y="2104636"/>
                </a:cubicBezTo>
                <a:cubicBezTo>
                  <a:pt x="5881503" y="2098707"/>
                  <a:pt x="5875575" y="2080922"/>
                  <a:pt x="5887431" y="2069065"/>
                </a:cubicBezTo>
                <a:cubicBezTo>
                  <a:pt x="5893359" y="2069065"/>
                  <a:pt x="5905215" y="2069065"/>
                  <a:pt x="5911143" y="2069065"/>
                </a:cubicBezTo>
                <a:cubicBezTo>
                  <a:pt x="5917071" y="2074993"/>
                  <a:pt x="5928927" y="2069065"/>
                  <a:pt x="5934855" y="2063136"/>
                </a:cubicBezTo>
                <a:cubicBezTo>
                  <a:pt x="5934855" y="2063136"/>
                  <a:pt x="5934855" y="2057208"/>
                  <a:pt x="5928927" y="2057208"/>
                </a:cubicBezTo>
                <a:cubicBezTo>
                  <a:pt x="5922999" y="2051279"/>
                  <a:pt x="5917071" y="2051279"/>
                  <a:pt x="5911143" y="2045351"/>
                </a:cubicBezTo>
                <a:cubicBezTo>
                  <a:pt x="5917071" y="2039422"/>
                  <a:pt x="5917071" y="2033493"/>
                  <a:pt x="5922999" y="2027565"/>
                </a:cubicBezTo>
                <a:cubicBezTo>
                  <a:pt x="5922999" y="2015708"/>
                  <a:pt x="5917071" y="2009779"/>
                  <a:pt x="5917071" y="2003851"/>
                </a:cubicBezTo>
                <a:cubicBezTo>
                  <a:pt x="5928927" y="1991993"/>
                  <a:pt x="5946711" y="1997922"/>
                  <a:pt x="5958567" y="1991993"/>
                </a:cubicBezTo>
                <a:cubicBezTo>
                  <a:pt x="5964495" y="1997922"/>
                  <a:pt x="5970423" y="1997922"/>
                  <a:pt x="5976351" y="2003851"/>
                </a:cubicBezTo>
                <a:cubicBezTo>
                  <a:pt x="5976351" y="1997922"/>
                  <a:pt x="5982279" y="1997922"/>
                  <a:pt x="5982279" y="1991993"/>
                </a:cubicBezTo>
                <a:cubicBezTo>
                  <a:pt x="5994135" y="1991993"/>
                  <a:pt x="6005991" y="1991993"/>
                  <a:pt x="6017847" y="1991993"/>
                </a:cubicBezTo>
                <a:cubicBezTo>
                  <a:pt x="6017847" y="1991993"/>
                  <a:pt x="6023775" y="1986065"/>
                  <a:pt x="6023775" y="1980136"/>
                </a:cubicBezTo>
                <a:cubicBezTo>
                  <a:pt x="6023775" y="1974208"/>
                  <a:pt x="6017847" y="1974208"/>
                  <a:pt x="6017847" y="1968279"/>
                </a:cubicBezTo>
                <a:cubicBezTo>
                  <a:pt x="6005991" y="1968279"/>
                  <a:pt x="6000063" y="1974208"/>
                  <a:pt x="5994135" y="1974208"/>
                </a:cubicBezTo>
                <a:cubicBezTo>
                  <a:pt x="5988207" y="1968279"/>
                  <a:pt x="5982279" y="1962351"/>
                  <a:pt x="5976351" y="1962351"/>
                </a:cubicBezTo>
                <a:cubicBezTo>
                  <a:pt x="5976351" y="1950494"/>
                  <a:pt x="5988207" y="1944565"/>
                  <a:pt x="5994135" y="1944565"/>
                </a:cubicBezTo>
                <a:cubicBezTo>
                  <a:pt x="5994135" y="1944565"/>
                  <a:pt x="6000063" y="1950494"/>
                  <a:pt x="6005991" y="1950494"/>
                </a:cubicBezTo>
                <a:cubicBezTo>
                  <a:pt x="6005991" y="1950494"/>
                  <a:pt x="6011919" y="1944565"/>
                  <a:pt x="6017847" y="1944565"/>
                </a:cubicBezTo>
                <a:cubicBezTo>
                  <a:pt x="6023775" y="1938637"/>
                  <a:pt x="6029703" y="1926779"/>
                  <a:pt x="6029703" y="1920851"/>
                </a:cubicBezTo>
                <a:cubicBezTo>
                  <a:pt x="6041559" y="1908994"/>
                  <a:pt x="6053415" y="1914922"/>
                  <a:pt x="6065271" y="1908994"/>
                </a:cubicBezTo>
                <a:cubicBezTo>
                  <a:pt x="6071199" y="1903065"/>
                  <a:pt x="6065271" y="1891208"/>
                  <a:pt x="6077127" y="1885280"/>
                </a:cubicBezTo>
                <a:cubicBezTo>
                  <a:pt x="6094911" y="1885280"/>
                  <a:pt x="6088983" y="1903065"/>
                  <a:pt x="6094911" y="1914922"/>
                </a:cubicBezTo>
                <a:cubicBezTo>
                  <a:pt x="6100839" y="1914922"/>
                  <a:pt x="6106767" y="1914922"/>
                  <a:pt x="6112695" y="1908994"/>
                </a:cubicBezTo>
                <a:cubicBezTo>
                  <a:pt x="6106767" y="1897137"/>
                  <a:pt x="6106767" y="1891208"/>
                  <a:pt x="6100839" y="1885280"/>
                </a:cubicBezTo>
                <a:cubicBezTo>
                  <a:pt x="6112695" y="1861565"/>
                  <a:pt x="6112695" y="1861565"/>
                  <a:pt x="6142335" y="1873422"/>
                </a:cubicBezTo>
                <a:cubicBezTo>
                  <a:pt x="6154191" y="1867494"/>
                  <a:pt x="6166047" y="1867494"/>
                  <a:pt x="6171975" y="1861565"/>
                </a:cubicBezTo>
                <a:cubicBezTo>
                  <a:pt x="6171975" y="1855637"/>
                  <a:pt x="6171975" y="1849708"/>
                  <a:pt x="6166047" y="1843780"/>
                </a:cubicBezTo>
                <a:cubicBezTo>
                  <a:pt x="6171975" y="1837851"/>
                  <a:pt x="6183831" y="1843780"/>
                  <a:pt x="6183831" y="1831923"/>
                </a:cubicBezTo>
                <a:cubicBezTo>
                  <a:pt x="6177903" y="1825994"/>
                  <a:pt x="6171975" y="1820065"/>
                  <a:pt x="6166047" y="1814137"/>
                </a:cubicBezTo>
                <a:cubicBezTo>
                  <a:pt x="6177903" y="1802280"/>
                  <a:pt x="6189759" y="1808208"/>
                  <a:pt x="6195687" y="1802280"/>
                </a:cubicBezTo>
                <a:cubicBezTo>
                  <a:pt x="6213471" y="1802280"/>
                  <a:pt x="6225327" y="1814137"/>
                  <a:pt x="6231255" y="1825994"/>
                </a:cubicBezTo>
                <a:cubicBezTo>
                  <a:pt x="6243111" y="1808208"/>
                  <a:pt x="6243111" y="1790423"/>
                  <a:pt x="6243111" y="1772637"/>
                </a:cubicBezTo>
                <a:cubicBezTo>
                  <a:pt x="6249039" y="1772637"/>
                  <a:pt x="6249039" y="1766709"/>
                  <a:pt x="6254967" y="1766709"/>
                </a:cubicBezTo>
                <a:cubicBezTo>
                  <a:pt x="6254967" y="1772637"/>
                  <a:pt x="6260895" y="1772637"/>
                  <a:pt x="6260895" y="1778566"/>
                </a:cubicBezTo>
                <a:cubicBezTo>
                  <a:pt x="6260895" y="1784494"/>
                  <a:pt x="6260895" y="1790423"/>
                  <a:pt x="6266823" y="1796351"/>
                </a:cubicBezTo>
                <a:cubicBezTo>
                  <a:pt x="6272751" y="1802280"/>
                  <a:pt x="6278679" y="1796351"/>
                  <a:pt x="6278679" y="1790423"/>
                </a:cubicBezTo>
                <a:cubicBezTo>
                  <a:pt x="6272751" y="1778566"/>
                  <a:pt x="6278679" y="1760780"/>
                  <a:pt x="6284607" y="1748923"/>
                </a:cubicBezTo>
                <a:cubicBezTo>
                  <a:pt x="6284607" y="1742994"/>
                  <a:pt x="6284607" y="1737066"/>
                  <a:pt x="6278679" y="1731137"/>
                </a:cubicBezTo>
                <a:cubicBezTo>
                  <a:pt x="6278679" y="1725209"/>
                  <a:pt x="6278679" y="1719280"/>
                  <a:pt x="6278679" y="1719280"/>
                </a:cubicBezTo>
                <a:cubicBezTo>
                  <a:pt x="6284607" y="1713352"/>
                  <a:pt x="6290535" y="1713352"/>
                  <a:pt x="6290535" y="1719280"/>
                </a:cubicBezTo>
                <a:cubicBezTo>
                  <a:pt x="6296463" y="1725209"/>
                  <a:pt x="6302391" y="1731137"/>
                  <a:pt x="6302391" y="1737066"/>
                </a:cubicBezTo>
                <a:cubicBezTo>
                  <a:pt x="6302391" y="1742994"/>
                  <a:pt x="6302391" y="1748923"/>
                  <a:pt x="6302391" y="1754851"/>
                </a:cubicBezTo>
                <a:cubicBezTo>
                  <a:pt x="6320175" y="1766709"/>
                  <a:pt x="6337959" y="1766709"/>
                  <a:pt x="6349815" y="1766709"/>
                </a:cubicBezTo>
                <a:cubicBezTo>
                  <a:pt x="6361671" y="1748923"/>
                  <a:pt x="6361671" y="1748923"/>
                  <a:pt x="6349815" y="1737066"/>
                </a:cubicBezTo>
                <a:cubicBezTo>
                  <a:pt x="6343887" y="1737066"/>
                  <a:pt x="6337959" y="1742994"/>
                  <a:pt x="6332031" y="1742994"/>
                </a:cubicBezTo>
                <a:cubicBezTo>
                  <a:pt x="6326103" y="1742994"/>
                  <a:pt x="6320175" y="1737066"/>
                  <a:pt x="6320175" y="1731137"/>
                </a:cubicBezTo>
                <a:cubicBezTo>
                  <a:pt x="6320175" y="1719280"/>
                  <a:pt x="6320175" y="1707423"/>
                  <a:pt x="6337959" y="1689637"/>
                </a:cubicBezTo>
                <a:cubicBezTo>
                  <a:pt x="6343887" y="1689637"/>
                  <a:pt x="6355743" y="1695566"/>
                  <a:pt x="6361671" y="1695566"/>
                </a:cubicBezTo>
                <a:cubicBezTo>
                  <a:pt x="6367599" y="1701494"/>
                  <a:pt x="6373527" y="1701494"/>
                  <a:pt x="6379455" y="1701494"/>
                </a:cubicBezTo>
                <a:cubicBezTo>
                  <a:pt x="6385383" y="1701494"/>
                  <a:pt x="6391311" y="1695566"/>
                  <a:pt x="6397239" y="1695566"/>
                </a:cubicBezTo>
                <a:cubicBezTo>
                  <a:pt x="6397239" y="1695566"/>
                  <a:pt x="6397239" y="1701494"/>
                  <a:pt x="6397239" y="1707423"/>
                </a:cubicBezTo>
                <a:cubicBezTo>
                  <a:pt x="6397239" y="1707423"/>
                  <a:pt x="6397239" y="1707423"/>
                  <a:pt x="6403167" y="1707423"/>
                </a:cubicBezTo>
                <a:cubicBezTo>
                  <a:pt x="6403167" y="1707423"/>
                  <a:pt x="6409095" y="1707423"/>
                  <a:pt x="6403167" y="1701494"/>
                </a:cubicBezTo>
                <a:cubicBezTo>
                  <a:pt x="6403167" y="1701494"/>
                  <a:pt x="6397239" y="1695566"/>
                  <a:pt x="6397239" y="1695566"/>
                </a:cubicBezTo>
                <a:cubicBezTo>
                  <a:pt x="6409095" y="1677780"/>
                  <a:pt x="6420951" y="1683709"/>
                  <a:pt x="6438735" y="1689637"/>
                </a:cubicBezTo>
                <a:cubicBezTo>
                  <a:pt x="6438735" y="1695566"/>
                  <a:pt x="6438735" y="1701494"/>
                  <a:pt x="6444663" y="1707423"/>
                </a:cubicBezTo>
                <a:cubicBezTo>
                  <a:pt x="6438735" y="1707423"/>
                  <a:pt x="6438735" y="1707423"/>
                  <a:pt x="6438735" y="1713352"/>
                </a:cubicBezTo>
                <a:cubicBezTo>
                  <a:pt x="6438735" y="1713352"/>
                  <a:pt x="6438735" y="1707423"/>
                  <a:pt x="6444663" y="1707423"/>
                </a:cubicBezTo>
                <a:cubicBezTo>
                  <a:pt x="6444663" y="1701494"/>
                  <a:pt x="6450591" y="1695566"/>
                  <a:pt x="6462447" y="1689637"/>
                </a:cubicBezTo>
                <a:cubicBezTo>
                  <a:pt x="6468375" y="1683709"/>
                  <a:pt x="6480231" y="1683709"/>
                  <a:pt x="6486159" y="1677780"/>
                </a:cubicBezTo>
                <a:cubicBezTo>
                  <a:pt x="6498015" y="1671852"/>
                  <a:pt x="6486159" y="1659995"/>
                  <a:pt x="6492087" y="1648137"/>
                </a:cubicBezTo>
                <a:cubicBezTo>
                  <a:pt x="6498015" y="1642209"/>
                  <a:pt x="6503943" y="1648137"/>
                  <a:pt x="6515799" y="1648137"/>
                </a:cubicBezTo>
                <a:cubicBezTo>
                  <a:pt x="6521727" y="1642209"/>
                  <a:pt x="6527655" y="1636281"/>
                  <a:pt x="6533583" y="1636281"/>
                </a:cubicBezTo>
                <a:cubicBezTo>
                  <a:pt x="6539511" y="1636281"/>
                  <a:pt x="6539511" y="1642209"/>
                  <a:pt x="6539511" y="1642209"/>
                </a:cubicBezTo>
                <a:cubicBezTo>
                  <a:pt x="6527655" y="1659995"/>
                  <a:pt x="6515799" y="1671852"/>
                  <a:pt x="6515799" y="1689637"/>
                </a:cubicBezTo>
                <a:cubicBezTo>
                  <a:pt x="6515799" y="1695566"/>
                  <a:pt x="6515799" y="1707423"/>
                  <a:pt x="6515799" y="1713352"/>
                </a:cubicBezTo>
                <a:cubicBezTo>
                  <a:pt x="6527655" y="1719280"/>
                  <a:pt x="6533583" y="1719280"/>
                  <a:pt x="6539511" y="1713352"/>
                </a:cubicBezTo>
                <a:cubicBezTo>
                  <a:pt x="6551367" y="1713352"/>
                  <a:pt x="6557295" y="1713352"/>
                  <a:pt x="6569151" y="1719280"/>
                </a:cubicBezTo>
                <a:cubicBezTo>
                  <a:pt x="6563223" y="1719280"/>
                  <a:pt x="6563223" y="1719280"/>
                  <a:pt x="6563223" y="1719280"/>
                </a:cubicBezTo>
                <a:cubicBezTo>
                  <a:pt x="6563223" y="1725209"/>
                  <a:pt x="6563223" y="1725209"/>
                  <a:pt x="6557295" y="1731137"/>
                </a:cubicBezTo>
                <a:cubicBezTo>
                  <a:pt x="6551367" y="1737066"/>
                  <a:pt x="6539511" y="1737066"/>
                  <a:pt x="6527655" y="1742994"/>
                </a:cubicBezTo>
                <a:cubicBezTo>
                  <a:pt x="6521727" y="1742994"/>
                  <a:pt x="6509871" y="1754851"/>
                  <a:pt x="6503943" y="1748923"/>
                </a:cubicBezTo>
                <a:cubicBezTo>
                  <a:pt x="6492087" y="1748923"/>
                  <a:pt x="6486159" y="1742994"/>
                  <a:pt x="6480231" y="1737066"/>
                </a:cubicBezTo>
                <a:cubicBezTo>
                  <a:pt x="6474303" y="1737066"/>
                  <a:pt x="6468375" y="1742994"/>
                  <a:pt x="6456519" y="1742994"/>
                </a:cubicBezTo>
                <a:cubicBezTo>
                  <a:pt x="6450591" y="1742994"/>
                  <a:pt x="6444663" y="1742994"/>
                  <a:pt x="6438735" y="1742994"/>
                </a:cubicBezTo>
                <a:cubicBezTo>
                  <a:pt x="6435771" y="1742994"/>
                  <a:pt x="6432807" y="1744476"/>
                  <a:pt x="6429843" y="1746700"/>
                </a:cubicBezTo>
                <a:lnTo>
                  <a:pt x="6424508" y="1751591"/>
                </a:lnTo>
                <a:lnTo>
                  <a:pt x="6420951" y="1748923"/>
                </a:lnTo>
                <a:lnTo>
                  <a:pt x="6417892" y="1751983"/>
                </a:lnTo>
                <a:lnTo>
                  <a:pt x="6409095" y="1743735"/>
                </a:lnTo>
                <a:cubicBezTo>
                  <a:pt x="6406131" y="1740030"/>
                  <a:pt x="6403167" y="1737066"/>
                  <a:pt x="6397239" y="1737066"/>
                </a:cubicBezTo>
                <a:cubicBezTo>
                  <a:pt x="6391311" y="1737066"/>
                  <a:pt x="6391311" y="1742994"/>
                  <a:pt x="6391311" y="1742994"/>
                </a:cubicBezTo>
                <a:cubicBezTo>
                  <a:pt x="6391311" y="1748923"/>
                  <a:pt x="6391311" y="1754851"/>
                  <a:pt x="6391311" y="1754851"/>
                </a:cubicBezTo>
                <a:cubicBezTo>
                  <a:pt x="6397239" y="1760780"/>
                  <a:pt x="6403167" y="1760780"/>
                  <a:pt x="6409095" y="1760780"/>
                </a:cubicBezTo>
                <a:cubicBezTo>
                  <a:pt x="6409095" y="1760780"/>
                  <a:pt x="6410577" y="1759298"/>
                  <a:pt x="6412800" y="1757075"/>
                </a:cubicBezTo>
                <a:lnTo>
                  <a:pt x="6417892" y="1751983"/>
                </a:lnTo>
                <a:lnTo>
                  <a:pt x="6420951" y="1754851"/>
                </a:lnTo>
                <a:lnTo>
                  <a:pt x="6424508" y="1751591"/>
                </a:lnTo>
                <a:lnTo>
                  <a:pt x="6444663" y="1766709"/>
                </a:lnTo>
                <a:cubicBezTo>
                  <a:pt x="6468375" y="1766709"/>
                  <a:pt x="6492087" y="1754851"/>
                  <a:pt x="6515799" y="1772637"/>
                </a:cubicBezTo>
                <a:cubicBezTo>
                  <a:pt x="6509871" y="1790423"/>
                  <a:pt x="6509871" y="1802280"/>
                  <a:pt x="6509871" y="1814137"/>
                </a:cubicBezTo>
                <a:cubicBezTo>
                  <a:pt x="6509871" y="1820065"/>
                  <a:pt x="6503943" y="1825994"/>
                  <a:pt x="6503943" y="1825994"/>
                </a:cubicBezTo>
                <a:cubicBezTo>
                  <a:pt x="6498015" y="1825994"/>
                  <a:pt x="6492087" y="1825994"/>
                  <a:pt x="6486159" y="1820065"/>
                </a:cubicBezTo>
                <a:cubicBezTo>
                  <a:pt x="6486159" y="1814137"/>
                  <a:pt x="6486159" y="1808208"/>
                  <a:pt x="6480231" y="1802280"/>
                </a:cubicBezTo>
                <a:cubicBezTo>
                  <a:pt x="6474303" y="1802280"/>
                  <a:pt x="6474303" y="1802280"/>
                  <a:pt x="6474303" y="1808208"/>
                </a:cubicBezTo>
                <a:cubicBezTo>
                  <a:pt x="6474303" y="1808208"/>
                  <a:pt x="6474303" y="1814137"/>
                  <a:pt x="6474303" y="1814137"/>
                </a:cubicBezTo>
                <a:cubicBezTo>
                  <a:pt x="6480231" y="1831923"/>
                  <a:pt x="6462447" y="1843780"/>
                  <a:pt x="6462447" y="1855637"/>
                </a:cubicBezTo>
                <a:cubicBezTo>
                  <a:pt x="6462447" y="1867494"/>
                  <a:pt x="6468375" y="1879351"/>
                  <a:pt x="6462447" y="1891208"/>
                </a:cubicBezTo>
                <a:cubicBezTo>
                  <a:pt x="6456519" y="1897137"/>
                  <a:pt x="6456519" y="1897137"/>
                  <a:pt x="6450591" y="1903065"/>
                </a:cubicBezTo>
                <a:cubicBezTo>
                  <a:pt x="6444663" y="1897137"/>
                  <a:pt x="6438735" y="1897137"/>
                  <a:pt x="6432807" y="1891208"/>
                </a:cubicBezTo>
                <a:cubicBezTo>
                  <a:pt x="6426879" y="1897137"/>
                  <a:pt x="6420951" y="1903065"/>
                  <a:pt x="6420951" y="1908994"/>
                </a:cubicBezTo>
                <a:cubicBezTo>
                  <a:pt x="6426879" y="1914922"/>
                  <a:pt x="6426879" y="1920851"/>
                  <a:pt x="6432807" y="1926779"/>
                </a:cubicBezTo>
                <a:cubicBezTo>
                  <a:pt x="6432807" y="1938637"/>
                  <a:pt x="6426879" y="1938637"/>
                  <a:pt x="6420951" y="1944565"/>
                </a:cubicBezTo>
                <a:cubicBezTo>
                  <a:pt x="6420951" y="1938637"/>
                  <a:pt x="6415023" y="1938637"/>
                  <a:pt x="6415023" y="1938637"/>
                </a:cubicBezTo>
                <a:cubicBezTo>
                  <a:pt x="6415023" y="1938637"/>
                  <a:pt x="6420951" y="1944565"/>
                  <a:pt x="6420951" y="1944565"/>
                </a:cubicBezTo>
                <a:cubicBezTo>
                  <a:pt x="6415023" y="1956422"/>
                  <a:pt x="6397239" y="1956422"/>
                  <a:pt x="6385383" y="1968279"/>
                </a:cubicBezTo>
                <a:cubicBezTo>
                  <a:pt x="6385383" y="1974208"/>
                  <a:pt x="6379455" y="1980136"/>
                  <a:pt x="6379455" y="1980136"/>
                </a:cubicBezTo>
                <a:cubicBezTo>
                  <a:pt x="6373527" y="1997922"/>
                  <a:pt x="6373527" y="2015708"/>
                  <a:pt x="6391311" y="2027565"/>
                </a:cubicBezTo>
                <a:cubicBezTo>
                  <a:pt x="6385383" y="2039422"/>
                  <a:pt x="6373527" y="2039422"/>
                  <a:pt x="6361671" y="2039422"/>
                </a:cubicBezTo>
                <a:cubicBezTo>
                  <a:pt x="6355743" y="2039422"/>
                  <a:pt x="6361671" y="2015708"/>
                  <a:pt x="6343887" y="2027565"/>
                </a:cubicBezTo>
                <a:cubicBezTo>
                  <a:pt x="6337959" y="2039422"/>
                  <a:pt x="6332031" y="2051279"/>
                  <a:pt x="6326103" y="2057208"/>
                </a:cubicBezTo>
                <a:cubicBezTo>
                  <a:pt x="6302391" y="2063136"/>
                  <a:pt x="6302391" y="2063136"/>
                  <a:pt x="6290535" y="2080922"/>
                </a:cubicBezTo>
                <a:cubicBezTo>
                  <a:pt x="6284607" y="2092779"/>
                  <a:pt x="6284607" y="2104636"/>
                  <a:pt x="6278679" y="2116493"/>
                </a:cubicBezTo>
                <a:cubicBezTo>
                  <a:pt x="6272751" y="2122422"/>
                  <a:pt x="6266823" y="2122422"/>
                  <a:pt x="6260895" y="2110564"/>
                </a:cubicBezTo>
                <a:cubicBezTo>
                  <a:pt x="6254967" y="2116493"/>
                  <a:pt x="6249039" y="2128350"/>
                  <a:pt x="6254967" y="2140207"/>
                </a:cubicBezTo>
                <a:cubicBezTo>
                  <a:pt x="6260895" y="2152064"/>
                  <a:pt x="6272751" y="2140207"/>
                  <a:pt x="6278679" y="2140207"/>
                </a:cubicBezTo>
                <a:cubicBezTo>
                  <a:pt x="6284607" y="2152064"/>
                  <a:pt x="6290535" y="2163921"/>
                  <a:pt x="6290535" y="2175779"/>
                </a:cubicBezTo>
                <a:cubicBezTo>
                  <a:pt x="6296463" y="2193564"/>
                  <a:pt x="6296463" y="2205421"/>
                  <a:pt x="6284607" y="2217278"/>
                </a:cubicBezTo>
                <a:cubicBezTo>
                  <a:pt x="6278679" y="2223207"/>
                  <a:pt x="6266823" y="2211350"/>
                  <a:pt x="6260895" y="2217278"/>
                </a:cubicBezTo>
                <a:cubicBezTo>
                  <a:pt x="6249039" y="2223207"/>
                  <a:pt x="6243111" y="2223207"/>
                  <a:pt x="6243111" y="2235064"/>
                </a:cubicBezTo>
                <a:cubicBezTo>
                  <a:pt x="6243111" y="2240993"/>
                  <a:pt x="6243111" y="2252850"/>
                  <a:pt x="6249039" y="2258778"/>
                </a:cubicBezTo>
                <a:cubicBezTo>
                  <a:pt x="6243111" y="2264707"/>
                  <a:pt x="6237183" y="2270635"/>
                  <a:pt x="6231255" y="2270635"/>
                </a:cubicBezTo>
                <a:cubicBezTo>
                  <a:pt x="6231255" y="2264707"/>
                  <a:pt x="6225327" y="2264707"/>
                  <a:pt x="6219399" y="2258778"/>
                </a:cubicBezTo>
                <a:cubicBezTo>
                  <a:pt x="6219399" y="2252850"/>
                  <a:pt x="6219399" y="2246921"/>
                  <a:pt x="6219399" y="2235064"/>
                </a:cubicBezTo>
                <a:cubicBezTo>
                  <a:pt x="6231255" y="2223207"/>
                  <a:pt x="6231255" y="2205421"/>
                  <a:pt x="6225327" y="2187636"/>
                </a:cubicBezTo>
                <a:cubicBezTo>
                  <a:pt x="6213471" y="2199493"/>
                  <a:pt x="6207543" y="2205421"/>
                  <a:pt x="6201615" y="2217278"/>
                </a:cubicBezTo>
                <a:cubicBezTo>
                  <a:pt x="6207543" y="2258778"/>
                  <a:pt x="6207543" y="2258778"/>
                  <a:pt x="6195687" y="2329921"/>
                </a:cubicBezTo>
                <a:cubicBezTo>
                  <a:pt x="6183831" y="2341778"/>
                  <a:pt x="6166047" y="2335849"/>
                  <a:pt x="6154191" y="2353635"/>
                </a:cubicBezTo>
                <a:cubicBezTo>
                  <a:pt x="6154191" y="2359564"/>
                  <a:pt x="6148263" y="2359564"/>
                  <a:pt x="6148263" y="2359564"/>
                </a:cubicBezTo>
                <a:cubicBezTo>
                  <a:pt x="6130479" y="2359564"/>
                  <a:pt x="6118623" y="2371421"/>
                  <a:pt x="6112695" y="2389206"/>
                </a:cubicBezTo>
                <a:cubicBezTo>
                  <a:pt x="6112695" y="2395135"/>
                  <a:pt x="6106767" y="2395135"/>
                  <a:pt x="6106767" y="2401063"/>
                </a:cubicBezTo>
                <a:cubicBezTo>
                  <a:pt x="6088983" y="2401063"/>
                  <a:pt x="6094911" y="2383278"/>
                  <a:pt x="6083055" y="2377349"/>
                </a:cubicBezTo>
                <a:cubicBezTo>
                  <a:pt x="6083055" y="2377349"/>
                  <a:pt x="6077127" y="2377349"/>
                  <a:pt x="6077127" y="2377349"/>
                </a:cubicBezTo>
                <a:cubicBezTo>
                  <a:pt x="6077127" y="2383278"/>
                  <a:pt x="6071199" y="2383278"/>
                  <a:pt x="6071199" y="2383278"/>
                </a:cubicBezTo>
                <a:cubicBezTo>
                  <a:pt x="6077127" y="2389206"/>
                  <a:pt x="6077127" y="2395135"/>
                  <a:pt x="6083055" y="2406992"/>
                </a:cubicBezTo>
                <a:cubicBezTo>
                  <a:pt x="6077127" y="2418849"/>
                  <a:pt x="6071199" y="2430706"/>
                  <a:pt x="6065271" y="2442563"/>
                </a:cubicBezTo>
                <a:cubicBezTo>
                  <a:pt x="6059343" y="2436635"/>
                  <a:pt x="6053415" y="2430706"/>
                  <a:pt x="6047487" y="2424778"/>
                </a:cubicBezTo>
                <a:cubicBezTo>
                  <a:pt x="6041559" y="2436635"/>
                  <a:pt x="6041559" y="2448492"/>
                  <a:pt x="6035631" y="2460349"/>
                </a:cubicBezTo>
                <a:cubicBezTo>
                  <a:pt x="6041559" y="2466278"/>
                  <a:pt x="6035631" y="2466278"/>
                  <a:pt x="6041559" y="2466278"/>
                </a:cubicBezTo>
                <a:cubicBezTo>
                  <a:pt x="6053415" y="2466278"/>
                  <a:pt x="6059343" y="2466278"/>
                  <a:pt x="6071199" y="2472206"/>
                </a:cubicBezTo>
                <a:cubicBezTo>
                  <a:pt x="6077127" y="2478135"/>
                  <a:pt x="6077127" y="2489992"/>
                  <a:pt x="6065271" y="2489992"/>
                </a:cubicBezTo>
                <a:cubicBezTo>
                  <a:pt x="6059343" y="2495920"/>
                  <a:pt x="6047487" y="2495920"/>
                  <a:pt x="6035631" y="2501849"/>
                </a:cubicBezTo>
                <a:cubicBezTo>
                  <a:pt x="6041559" y="2513706"/>
                  <a:pt x="6041559" y="2525563"/>
                  <a:pt x="6029703" y="2537420"/>
                </a:cubicBezTo>
                <a:cubicBezTo>
                  <a:pt x="6029703" y="2537420"/>
                  <a:pt x="6017847" y="2543349"/>
                  <a:pt x="6017847" y="2543349"/>
                </a:cubicBezTo>
                <a:cubicBezTo>
                  <a:pt x="6005991" y="2531492"/>
                  <a:pt x="5988207" y="2537420"/>
                  <a:pt x="5976351" y="2531492"/>
                </a:cubicBezTo>
                <a:cubicBezTo>
                  <a:pt x="5970423" y="2525563"/>
                  <a:pt x="5964495" y="2519634"/>
                  <a:pt x="5958567" y="2501849"/>
                </a:cubicBezTo>
                <a:cubicBezTo>
                  <a:pt x="5958567" y="2537420"/>
                  <a:pt x="5952639" y="2567063"/>
                  <a:pt x="5952639" y="2596706"/>
                </a:cubicBezTo>
                <a:cubicBezTo>
                  <a:pt x="5946711" y="2602634"/>
                  <a:pt x="5940783" y="2608563"/>
                  <a:pt x="5928927" y="2608563"/>
                </a:cubicBezTo>
                <a:cubicBezTo>
                  <a:pt x="5928927" y="2608563"/>
                  <a:pt x="5922999" y="2608563"/>
                  <a:pt x="5917071" y="2608563"/>
                </a:cubicBezTo>
                <a:cubicBezTo>
                  <a:pt x="5911143" y="2602634"/>
                  <a:pt x="5905215" y="2602634"/>
                  <a:pt x="5899287" y="2602634"/>
                </a:cubicBezTo>
                <a:cubicBezTo>
                  <a:pt x="5899287" y="2602634"/>
                  <a:pt x="5893359" y="2608563"/>
                  <a:pt x="5893359" y="2608563"/>
                </a:cubicBezTo>
                <a:cubicBezTo>
                  <a:pt x="5887431" y="2620420"/>
                  <a:pt x="5893359" y="2626348"/>
                  <a:pt x="5893359" y="2638206"/>
                </a:cubicBezTo>
                <a:cubicBezTo>
                  <a:pt x="5887431" y="2650063"/>
                  <a:pt x="5881503" y="2661920"/>
                  <a:pt x="5875575" y="2679705"/>
                </a:cubicBezTo>
                <a:cubicBezTo>
                  <a:pt x="5869647" y="2679705"/>
                  <a:pt x="5863719" y="2685634"/>
                  <a:pt x="5857791" y="2685634"/>
                </a:cubicBezTo>
                <a:cubicBezTo>
                  <a:pt x="5851863" y="2691562"/>
                  <a:pt x="5851863" y="2703420"/>
                  <a:pt x="5851863" y="2703420"/>
                </a:cubicBezTo>
                <a:cubicBezTo>
                  <a:pt x="5851863" y="2715277"/>
                  <a:pt x="5857791" y="2727134"/>
                  <a:pt x="5863719" y="2733062"/>
                </a:cubicBezTo>
                <a:cubicBezTo>
                  <a:pt x="5863719" y="2727134"/>
                  <a:pt x="5869647" y="2715277"/>
                  <a:pt x="5869647" y="2709348"/>
                </a:cubicBezTo>
                <a:cubicBezTo>
                  <a:pt x="5881503" y="2709348"/>
                  <a:pt x="5881503" y="2721205"/>
                  <a:pt x="5887431" y="2727134"/>
                </a:cubicBezTo>
                <a:cubicBezTo>
                  <a:pt x="5893359" y="2738991"/>
                  <a:pt x="5887431" y="2750848"/>
                  <a:pt x="5887431" y="2750848"/>
                </a:cubicBezTo>
                <a:cubicBezTo>
                  <a:pt x="5875575" y="2774562"/>
                  <a:pt x="5863719" y="2762705"/>
                  <a:pt x="5851863" y="2774562"/>
                </a:cubicBezTo>
                <a:cubicBezTo>
                  <a:pt x="5845935" y="2780491"/>
                  <a:pt x="5845935" y="2792348"/>
                  <a:pt x="5840007" y="2798276"/>
                </a:cubicBezTo>
                <a:cubicBezTo>
                  <a:pt x="5840007" y="2798276"/>
                  <a:pt x="5834079" y="2804205"/>
                  <a:pt x="5834079" y="2804205"/>
                </a:cubicBezTo>
                <a:cubicBezTo>
                  <a:pt x="5816295" y="2804205"/>
                  <a:pt x="5804439" y="2804205"/>
                  <a:pt x="5792583" y="2798276"/>
                </a:cubicBezTo>
                <a:cubicBezTo>
                  <a:pt x="5786655" y="2792348"/>
                  <a:pt x="5792583" y="2780491"/>
                  <a:pt x="5786655" y="2768634"/>
                </a:cubicBezTo>
                <a:cubicBezTo>
                  <a:pt x="5786655" y="2762705"/>
                  <a:pt x="5780727" y="2756777"/>
                  <a:pt x="5774799" y="2762705"/>
                </a:cubicBezTo>
                <a:cubicBezTo>
                  <a:pt x="5762943" y="2774562"/>
                  <a:pt x="5768871" y="2786419"/>
                  <a:pt x="5762943" y="2804205"/>
                </a:cubicBezTo>
                <a:cubicBezTo>
                  <a:pt x="5762943" y="2804205"/>
                  <a:pt x="5757015" y="2810134"/>
                  <a:pt x="5751087" y="2821991"/>
                </a:cubicBezTo>
                <a:cubicBezTo>
                  <a:pt x="5774799" y="2827919"/>
                  <a:pt x="5792583" y="2816062"/>
                  <a:pt x="5810367" y="2827919"/>
                </a:cubicBezTo>
                <a:cubicBezTo>
                  <a:pt x="5822223" y="2827919"/>
                  <a:pt x="5834079" y="2821991"/>
                  <a:pt x="5845935" y="2816062"/>
                </a:cubicBezTo>
                <a:cubicBezTo>
                  <a:pt x="5857791" y="2810134"/>
                  <a:pt x="5851863" y="2786419"/>
                  <a:pt x="5875575" y="2780491"/>
                </a:cubicBezTo>
                <a:cubicBezTo>
                  <a:pt x="5875575" y="2780491"/>
                  <a:pt x="5881503" y="2780491"/>
                  <a:pt x="5887431" y="2786419"/>
                </a:cubicBezTo>
                <a:cubicBezTo>
                  <a:pt x="5893359" y="2792348"/>
                  <a:pt x="5893359" y="2792348"/>
                  <a:pt x="5899287" y="2798276"/>
                </a:cubicBezTo>
                <a:cubicBezTo>
                  <a:pt x="5899287" y="2804205"/>
                  <a:pt x="5899287" y="2810134"/>
                  <a:pt x="5893359" y="2816062"/>
                </a:cubicBezTo>
                <a:cubicBezTo>
                  <a:pt x="5893359" y="2821991"/>
                  <a:pt x="5893359" y="2827919"/>
                  <a:pt x="5899287" y="2833848"/>
                </a:cubicBezTo>
                <a:cubicBezTo>
                  <a:pt x="5899287" y="2839776"/>
                  <a:pt x="5899287" y="2845705"/>
                  <a:pt x="5899287" y="2845705"/>
                </a:cubicBezTo>
                <a:cubicBezTo>
                  <a:pt x="5899287" y="2851633"/>
                  <a:pt x="5899287" y="2851633"/>
                  <a:pt x="5899287" y="2851633"/>
                </a:cubicBezTo>
                <a:cubicBezTo>
                  <a:pt x="5905215" y="2851633"/>
                  <a:pt x="5905215" y="2851633"/>
                  <a:pt x="5905215" y="2845705"/>
                </a:cubicBezTo>
                <a:cubicBezTo>
                  <a:pt x="5905215" y="2845705"/>
                  <a:pt x="5905215" y="2839776"/>
                  <a:pt x="5899287" y="2833848"/>
                </a:cubicBezTo>
                <a:cubicBezTo>
                  <a:pt x="5905215" y="2827919"/>
                  <a:pt x="5905215" y="2821991"/>
                  <a:pt x="5905215" y="2821991"/>
                </a:cubicBezTo>
                <a:cubicBezTo>
                  <a:pt x="5911143" y="2810134"/>
                  <a:pt x="5905215" y="2804205"/>
                  <a:pt x="5899287" y="2798276"/>
                </a:cubicBezTo>
                <a:cubicBezTo>
                  <a:pt x="5905215" y="2792348"/>
                  <a:pt x="5905215" y="2780491"/>
                  <a:pt x="5917071" y="2774562"/>
                </a:cubicBezTo>
                <a:cubicBezTo>
                  <a:pt x="5911143" y="2768634"/>
                  <a:pt x="5911143" y="2762705"/>
                  <a:pt x="5905215" y="2756777"/>
                </a:cubicBezTo>
                <a:cubicBezTo>
                  <a:pt x="5905215" y="2733062"/>
                  <a:pt x="5911143" y="2715277"/>
                  <a:pt x="5911143" y="2697491"/>
                </a:cubicBezTo>
                <a:cubicBezTo>
                  <a:pt x="5911143" y="2673777"/>
                  <a:pt x="5911143" y="2655991"/>
                  <a:pt x="5911143" y="2644134"/>
                </a:cubicBezTo>
                <a:cubicBezTo>
                  <a:pt x="5922999" y="2632277"/>
                  <a:pt x="5928927" y="2626348"/>
                  <a:pt x="5940783" y="2632277"/>
                </a:cubicBezTo>
                <a:cubicBezTo>
                  <a:pt x="5940783" y="2644134"/>
                  <a:pt x="5934855" y="2655991"/>
                  <a:pt x="5934855" y="2667848"/>
                </a:cubicBezTo>
                <a:cubicBezTo>
                  <a:pt x="5964495" y="2667848"/>
                  <a:pt x="5994135" y="2661920"/>
                  <a:pt x="6023775" y="2661920"/>
                </a:cubicBezTo>
                <a:cubicBezTo>
                  <a:pt x="6035631" y="2667848"/>
                  <a:pt x="6035631" y="2679705"/>
                  <a:pt x="6041559" y="2691562"/>
                </a:cubicBezTo>
                <a:cubicBezTo>
                  <a:pt x="6047487" y="2691562"/>
                  <a:pt x="6047487" y="2679705"/>
                  <a:pt x="6053415" y="2673777"/>
                </a:cubicBezTo>
                <a:cubicBezTo>
                  <a:pt x="6053415" y="2655991"/>
                  <a:pt x="6041559" y="2638206"/>
                  <a:pt x="6047487" y="2620420"/>
                </a:cubicBezTo>
                <a:cubicBezTo>
                  <a:pt x="6059343" y="2632277"/>
                  <a:pt x="6071199" y="2638206"/>
                  <a:pt x="6088983" y="2650063"/>
                </a:cubicBezTo>
                <a:cubicBezTo>
                  <a:pt x="6088983" y="2638206"/>
                  <a:pt x="6094911" y="2632277"/>
                  <a:pt x="6100839" y="2626348"/>
                </a:cubicBezTo>
                <a:cubicBezTo>
                  <a:pt x="6100839" y="2626348"/>
                  <a:pt x="6106767" y="2626348"/>
                  <a:pt x="6106767" y="2626348"/>
                </a:cubicBezTo>
                <a:cubicBezTo>
                  <a:pt x="6112695" y="2644134"/>
                  <a:pt x="6112695" y="2655991"/>
                  <a:pt x="6124551" y="2667848"/>
                </a:cubicBezTo>
                <a:cubicBezTo>
                  <a:pt x="6124551" y="2679705"/>
                  <a:pt x="6118623" y="2697491"/>
                  <a:pt x="6118623" y="2715277"/>
                </a:cubicBezTo>
                <a:cubicBezTo>
                  <a:pt x="6118623" y="2721205"/>
                  <a:pt x="6124551" y="2727134"/>
                  <a:pt x="6124551" y="2733062"/>
                </a:cubicBezTo>
                <a:cubicBezTo>
                  <a:pt x="6130479" y="2727134"/>
                  <a:pt x="6136407" y="2721205"/>
                  <a:pt x="6148263" y="2709348"/>
                </a:cubicBezTo>
                <a:cubicBezTo>
                  <a:pt x="6148263" y="2709348"/>
                  <a:pt x="6166047" y="2715277"/>
                  <a:pt x="6166047" y="2697491"/>
                </a:cubicBezTo>
                <a:cubicBezTo>
                  <a:pt x="6160119" y="2697491"/>
                  <a:pt x="6148263" y="2691562"/>
                  <a:pt x="6142335" y="2691562"/>
                </a:cubicBezTo>
                <a:cubicBezTo>
                  <a:pt x="6130479" y="2685634"/>
                  <a:pt x="6136407" y="2667848"/>
                  <a:pt x="6124551" y="2667848"/>
                </a:cubicBezTo>
                <a:cubicBezTo>
                  <a:pt x="6124551" y="2650063"/>
                  <a:pt x="6124551" y="2638206"/>
                  <a:pt x="6124551" y="2620420"/>
                </a:cubicBezTo>
                <a:cubicBezTo>
                  <a:pt x="6118623" y="2614491"/>
                  <a:pt x="6112695" y="2608563"/>
                  <a:pt x="6106767" y="2602634"/>
                </a:cubicBezTo>
                <a:cubicBezTo>
                  <a:pt x="6112695" y="2584849"/>
                  <a:pt x="6124551" y="2596706"/>
                  <a:pt x="6124551" y="2596706"/>
                </a:cubicBezTo>
                <a:cubicBezTo>
                  <a:pt x="6154191" y="2578920"/>
                  <a:pt x="6166047" y="2561134"/>
                  <a:pt x="6177903" y="2537420"/>
                </a:cubicBezTo>
                <a:cubicBezTo>
                  <a:pt x="6195687" y="2531492"/>
                  <a:pt x="6195687" y="2549277"/>
                  <a:pt x="6207543" y="2555206"/>
                </a:cubicBezTo>
                <a:cubicBezTo>
                  <a:pt x="6213471" y="2555206"/>
                  <a:pt x="6225327" y="2555206"/>
                  <a:pt x="6231255" y="2549277"/>
                </a:cubicBezTo>
                <a:cubicBezTo>
                  <a:pt x="6243111" y="2555206"/>
                  <a:pt x="6249039" y="2561134"/>
                  <a:pt x="6254967" y="2567063"/>
                </a:cubicBezTo>
                <a:cubicBezTo>
                  <a:pt x="6260895" y="2567063"/>
                  <a:pt x="6272751" y="2555206"/>
                  <a:pt x="6284607" y="2567063"/>
                </a:cubicBezTo>
                <a:cubicBezTo>
                  <a:pt x="6284607" y="2567063"/>
                  <a:pt x="6284607" y="2578920"/>
                  <a:pt x="6284607" y="2584849"/>
                </a:cubicBezTo>
                <a:cubicBezTo>
                  <a:pt x="6290535" y="2590777"/>
                  <a:pt x="6290535" y="2590777"/>
                  <a:pt x="6296463" y="2596706"/>
                </a:cubicBezTo>
                <a:cubicBezTo>
                  <a:pt x="6296463" y="2584849"/>
                  <a:pt x="6290535" y="2572991"/>
                  <a:pt x="6296463" y="2561134"/>
                </a:cubicBezTo>
                <a:cubicBezTo>
                  <a:pt x="6302391" y="2555206"/>
                  <a:pt x="6302391" y="2549277"/>
                  <a:pt x="6302391" y="2543349"/>
                </a:cubicBezTo>
                <a:cubicBezTo>
                  <a:pt x="6296463" y="2519634"/>
                  <a:pt x="6308319" y="2501849"/>
                  <a:pt x="6320175" y="2484063"/>
                </a:cubicBezTo>
                <a:cubicBezTo>
                  <a:pt x="6332031" y="2478135"/>
                  <a:pt x="6337959" y="2466278"/>
                  <a:pt x="6349815" y="2466278"/>
                </a:cubicBezTo>
                <a:cubicBezTo>
                  <a:pt x="6355743" y="2472206"/>
                  <a:pt x="6355743" y="2472206"/>
                  <a:pt x="6361671" y="2472206"/>
                </a:cubicBezTo>
                <a:cubicBezTo>
                  <a:pt x="6361671" y="2484063"/>
                  <a:pt x="6361671" y="2489992"/>
                  <a:pt x="6355743" y="2501849"/>
                </a:cubicBezTo>
                <a:cubicBezTo>
                  <a:pt x="6343887" y="2501849"/>
                  <a:pt x="6343887" y="2501849"/>
                  <a:pt x="6337959" y="2507777"/>
                </a:cubicBezTo>
                <a:cubicBezTo>
                  <a:pt x="6343887" y="2519634"/>
                  <a:pt x="6361671" y="2507777"/>
                  <a:pt x="6367599" y="2519634"/>
                </a:cubicBezTo>
                <a:cubicBezTo>
                  <a:pt x="6373527" y="2537420"/>
                  <a:pt x="6367599" y="2543349"/>
                  <a:pt x="6367599" y="2549277"/>
                </a:cubicBezTo>
                <a:cubicBezTo>
                  <a:pt x="6367599" y="2555206"/>
                  <a:pt x="6373527" y="2555206"/>
                  <a:pt x="6373527" y="2555206"/>
                </a:cubicBezTo>
                <a:cubicBezTo>
                  <a:pt x="6379455" y="2549277"/>
                  <a:pt x="6385383" y="2543349"/>
                  <a:pt x="6385383" y="2531492"/>
                </a:cubicBezTo>
                <a:cubicBezTo>
                  <a:pt x="6379455" y="2519634"/>
                  <a:pt x="6379455" y="2507777"/>
                  <a:pt x="6373527" y="2489992"/>
                </a:cubicBezTo>
                <a:cubicBezTo>
                  <a:pt x="6379455" y="2472206"/>
                  <a:pt x="6385383" y="2448492"/>
                  <a:pt x="6391311" y="2424778"/>
                </a:cubicBezTo>
                <a:cubicBezTo>
                  <a:pt x="6409095" y="2424778"/>
                  <a:pt x="6403167" y="2424778"/>
                  <a:pt x="6415023" y="2448492"/>
                </a:cubicBezTo>
                <a:cubicBezTo>
                  <a:pt x="6409095" y="2460349"/>
                  <a:pt x="6409095" y="2466278"/>
                  <a:pt x="6403167" y="2478135"/>
                </a:cubicBezTo>
                <a:cubicBezTo>
                  <a:pt x="6409095" y="2484063"/>
                  <a:pt x="6409095" y="2484063"/>
                  <a:pt x="6432807" y="2478135"/>
                </a:cubicBezTo>
                <a:cubicBezTo>
                  <a:pt x="6432807" y="2472206"/>
                  <a:pt x="6432807" y="2466278"/>
                  <a:pt x="6432807" y="2460349"/>
                </a:cubicBezTo>
                <a:cubicBezTo>
                  <a:pt x="6444663" y="2448492"/>
                  <a:pt x="6456519" y="2442563"/>
                  <a:pt x="6468375" y="2436635"/>
                </a:cubicBezTo>
                <a:cubicBezTo>
                  <a:pt x="6480231" y="2424778"/>
                  <a:pt x="6480231" y="2406992"/>
                  <a:pt x="6503943" y="2412921"/>
                </a:cubicBezTo>
                <a:cubicBezTo>
                  <a:pt x="6515799" y="2430706"/>
                  <a:pt x="6492087" y="2442563"/>
                  <a:pt x="6498015" y="2454420"/>
                </a:cubicBezTo>
                <a:cubicBezTo>
                  <a:pt x="6486159" y="2466278"/>
                  <a:pt x="6474303" y="2454420"/>
                  <a:pt x="6468375" y="2460349"/>
                </a:cubicBezTo>
                <a:cubicBezTo>
                  <a:pt x="6462447" y="2460349"/>
                  <a:pt x="6456519" y="2466278"/>
                  <a:pt x="6456519" y="2478135"/>
                </a:cubicBezTo>
                <a:cubicBezTo>
                  <a:pt x="6456519" y="2489992"/>
                  <a:pt x="6450591" y="2507777"/>
                  <a:pt x="6462447" y="2525563"/>
                </a:cubicBezTo>
                <a:cubicBezTo>
                  <a:pt x="6462447" y="2528527"/>
                  <a:pt x="6462447" y="2532974"/>
                  <a:pt x="6462447" y="2538161"/>
                </a:cubicBezTo>
                <a:lnTo>
                  <a:pt x="6462447" y="2549277"/>
                </a:lnTo>
                <a:cubicBezTo>
                  <a:pt x="6462447" y="2555206"/>
                  <a:pt x="6456519" y="2561134"/>
                  <a:pt x="6456519" y="2567063"/>
                </a:cubicBezTo>
                <a:cubicBezTo>
                  <a:pt x="6456519" y="2578920"/>
                  <a:pt x="6450591" y="2590777"/>
                  <a:pt x="6450591" y="2596706"/>
                </a:cubicBezTo>
                <a:cubicBezTo>
                  <a:pt x="6450591" y="2602634"/>
                  <a:pt x="6444663" y="2608563"/>
                  <a:pt x="6438735" y="2608563"/>
                </a:cubicBezTo>
                <a:cubicBezTo>
                  <a:pt x="6426879" y="2608563"/>
                  <a:pt x="6432807" y="2596706"/>
                  <a:pt x="6426879" y="2596706"/>
                </a:cubicBezTo>
                <a:cubicBezTo>
                  <a:pt x="6420951" y="2596706"/>
                  <a:pt x="6415023" y="2596706"/>
                  <a:pt x="6415023" y="2596706"/>
                </a:cubicBezTo>
                <a:cubicBezTo>
                  <a:pt x="6415023" y="2602634"/>
                  <a:pt x="6409095" y="2614491"/>
                  <a:pt x="6409095" y="2620420"/>
                </a:cubicBezTo>
                <a:cubicBezTo>
                  <a:pt x="6403167" y="2626348"/>
                  <a:pt x="6409095" y="2638206"/>
                  <a:pt x="6403167" y="2644134"/>
                </a:cubicBezTo>
                <a:cubicBezTo>
                  <a:pt x="6397239" y="2650063"/>
                  <a:pt x="6391311" y="2655991"/>
                  <a:pt x="6385383" y="2650063"/>
                </a:cubicBezTo>
                <a:cubicBezTo>
                  <a:pt x="6379455" y="2638206"/>
                  <a:pt x="6397239" y="2632277"/>
                  <a:pt x="6391311" y="2620420"/>
                </a:cubicBezTo>
                <a:cubicBezTo>
                  <a:pt x="6391311" y="2614491"/>
                  <a:pt x="6385383" y="2614491"/>
                  <a:pt x="6379455" y="2614491"/>
                </a:cubicBezTo>
                <a:cubicBezTo>
                  <a:pt x="6373527" y="2620420"/>
                  <a:pt x="6367599" y="2620420"/>
                  <a:pt x="6361671" y="2626348"/>
                </a:cubicBezTo>
                <a:cubicBezTo>
                  <a:pt x="6355743" y="2626348"/>
                  <a:pt x="6349815" y="2626348"/>
                  <a:pt x="6337959" y="2626348"/>
                </a:cubicBezTo>
                <a:cubicBezTo>
                  <a:pt x="6326103" y="2638206"/>
                  <a:pt x="6337959" y="2650063"/>
                  <a:pt x="6332031" y="2661920"/>
                </a:cubicBezTo>
                <a:cubicBezTo>
                  <a:pt x="6326103" y="2673777"/>
                  <a:pt x="6320175" y="2685634"/>
                  <a:pt x="6320175" y="2691562"/>
                </a:cubicBezTo>
                <a:cubicBezTo>
                  <a:pt x="6308319" y="2703420"/>
                  <a:pt x="6290535" y="2697491"/>
                  <a:pt x="6278679" y="2703420"/>
                </a:cubicBezTo>
                <a:cubicBezTo>
                  <a:pt x="6278679" y="2721205"/>
                  <a:pt x="6278679" y="2727134"/>
                  <a:pt x="6302391" y="2733062"/>
                </a:cubicBezTo>
                <a:cubicBezTo>
                  <a:pt x="6308319" y="2727134"/>
                  <a:pt x="6314247" y="2721205"/>
                  <a:pt x="6320175" y="2715277"/>
                </a:cubicBezTo>
                <a:cubicBezTo>
                  <a:pt x="6332031" y="2715277"/>
                  <a:pt x="6337959" y="2721205"/>
                  <a:pt x="6332031" y="2733062"/>
                </a:cubicBezTo>
                <a:cubicBezTo>
                  <a:pt x="6314247" y="2750848"/>
                  <a:pt x="6296463" y="2768634"/>
                  <a:pt x="6278679" y="2786419"/>
                </a:cubicBezTo>
                <a:cubicBezTo>
                  <a:pt x="6272751" y="2786419"/>
                  <a:pt x="6272751" y="2786419"/>
                  <a:pt x="6272751" y="2786419"/>
                </a:cubicBezTo>
                <a:cubicBezTo>
                  <a:pt x="6254967" y="2780491"/>
                  <a:pt x="6254967" y="2762705"/>
                  <a:pt x="6249039" y="2756777"/>
                </a:cubicBezTo>
                <a:cubicBezTo>
                  <a:pt x="6254967" y="2750848"/>
                  <a:pt x="6254967" y="2750848"/>
                  <a:pt x="6254967" y="2750848"/>
                </a:cubicBezTo>
                <a:cubicBezTo>
                  <a:pt x="6249039" y="2756777"/>
                  <a:pt x="6249039" y="2756777"/>
                  <a:pt x="6249039" y="2756777"/>
                </a:cubicBezTo>
                <a:cubicBezTo>
                  <a:pt x="6237183" y="2756777"/>
                  <a:pt x="6225327" y="2756777"/>
                  <a:pt x="6213471" y="2750848"/>
                </a:cubicBezTo>
                <a:cubicBezTo>
                  <a:pt x="6207543" y="2756777"/>
                  <a:pt x="6207543" y="2756777"/>
                  <a:pt x="6207543" y="2762705"/>
                </a:cubicBezTo>
                <a:cubicBezTo>
                  <a:pt x="6201615" y="2768634"/>
                  <a:pt x="6201615" y="2780491"/>
                  <a:pt x="6201615" y="2786419"/>
                </a:cubicBezTo>
                <a:cubicBezTo>
                  <a:pt x="6201615" y="2792348"/>
                  <a:pt x="6201615" y="2798276"/>
                  <a:pt x="6207543" y="2804205"/>
                </a:cubicBezTo>
                <a:cubicBezTo>
                  <a:pt x="6213471" y="2810134"/>
                  <a:pt x="6219399" y="2798276"/>
                  <a:pt x="6231255" y="2798276"/>
                </a:cubicBezTo>
                <a:cubicBezTo>
                  <a:pt x="6237183" y="2798276"/>
                  <a:pt x="6243111" y="2804205"/>
                  <a:pt x="6243111" y="2821991"/>
                </a:cubicBezTo>
                <a:cubicBezTo>
                  <a:pt x="6237183" y="2821991"/>
                  <a:pt x="6225327" y="2827919"/>
                  <a:pt x="6213471" y="2827919"/>
                </a:cubicBezTo>
                <a:cubicBezTo>
                  <a:pt x="6213471" y="2833848"/>
                  <a:pt x="6207543" y="2833848"/>
                  <a:pt x="6207543" y="2833848"/>
                </a:cubicBezTo>
                <a:cubicBezTo>
                  <a:pt x="6189759" y="2857562"/>
                  <a:pt x="6183831" y="2881276"/>
                  <a:pt x="6177903" y="2899062"/>
                </a:cubicBezTo>
                <a:cubicBezTo>
                  <a:pt x="6166047" y="2916847"/>
                  <a:pt x="6148263" y="2910919"/>
                  <a:pt x="6130479" y="2916847"/>
                </a:cubicBezTo>
                <a:cubicBezTo>
                  <a:pt x="6124551" y="2922776"/>
                  <a:pt x="6112695" y="2934633"/>
                  <a:pt x="6100839" y="2940562"/>
                </a:cubicBezTo>
                <a:cubicBezTo>
                  <a:pt x="6088983" y="2940562"/>
                  <a:pt x="6083055" y="2928705"/>
                  <a:pt x="6077127" y="2922776"/>
                </a:cubicBezTo>
                <a:cubicBezTo>
                  <a:pt x="6071199" y="2922776"/>
                  <a:pt x="6071199" y="2922776"/>
                  <a:pt x="6071199" y="2922776"/>
                </a:cubicBezTo>
                <a:cubicBezTo>
                  <a:pt x="6065271" y="2922776"/>
                  <a:pt x="6065271" y="2928705"/>
                  <a:pt x="6065271" y="2934633"/>
                </a:cubicBezTo>
                <a:cubicBezTo>
                  <a:pt x="6071199" y="2940562"/>
                  <a:pt x="6077127" y="2952419"/>
                  <a:pt x="6083055" y="2958347"/>
                </a:cubicBezTo>
                <a:cubicBezTo>
                  <a:pt x="6088983" y="2958347"/>
                  <a:pt x="6094911" y="2958347"/>
                  <a:pt x="6100839" y="2958347"/>
                </a:cubicBezTo>
                <a:cubicBezTo>
                  <a:pt x="6118623" y="2970204"/>
                  <a:pt x="6118623" y="2976133"/>
                  <a:pt x="6100839" y="2999847"/>
                </a:cubicBezTo>
                <a:cubicBezTo>
                  <a:pt x="6094911" y="2999847"/>
                  <a:pt x="6083055" y="3005776"/>
                  <a:pt x="6077127" y="3005776"/>
                </a:cubicBezTo>
                <a:cubicBezTo>
                  <a:pt x="6077127" y="3011704"/>
                  <a:pt x="6071199" y="3011704"/>
                  <a:pt x="6071199" y="3017633"/>
                </a:cubicBezTo>
                <a:cubicBezTo>
                  <a:pt x="6071199" y="3023561"/>
                  <a:pt x="6071199" y="3029490"/>
                  <a:pt x="6065271" y="3041347"/>
                </a:cubicBezTo>
                <a:cubicBezTo>
                  <a:pt x="6065271" y="3047276"/>
                  <a:pt x="6059343" y="3053204"/>
                  <a:pt x="6053415" y="3059133"/>
                </a:cubicBezTo>
                <a:cubicBezTo>
                  <a:pt x="6047487" y="3053204"/>
                  <a:pt x="6041559" y="3053204"/>
                  <a:pt x="6035631" y="3047276"/>
                </a:cubicBezTo>
                <a:cubicBezTo>
                  <a:pt x="6035631" y="3029490"/>
                  <a:pt x="6047487" y="3011704"/>
                  <a:pt x="6047487" y="2987990"/>
                </a:cubicBezTo>
                <a:cubicBezTo>
                  <a:pt x="6047487" y="2970204"/>
                  <a:pt x="6041559" y="2952419"/>
                  <a:pt x="6041559" y="2934633"/>
                </a:cubicBezTo>
                <a:cubicBezTo>
                  <a:pt x="6029703" y="2940562"/>
                  <a:pt x="6023775" y="2952419"/>
                  <a:pt x="6023775" y="2964276"/>
                </a:cubicBezTo>
                <a:cubicBezTo>
                  <a:pt x="6023775" y="2993919"/>
                  <a:pt x="6023775" y="3023561"/>
                  <a:pt x="6023775" y="3047276"/>
                </a:cubicBezTo>
                <a:cubicBezTo>
                  <a:pt x="6023775" y="3053204"/>
                  <a:pt x="6023775" y="3065061"/>
                  <a:pt x="6023775" y="3070990"/>
                </a:cubicBezTo>
                <a:cubicBezTo>
                  <a:pt x="6023775" y="3076918"/>
                  <a:pt x="6017847" y="3076918"/>
                  <a:pt x="6017847" y="3076918"/>
                </a:cubicBezTo>
                <a:cubicBezTo>
                  <a:pt x="6011919" y="3082847"/>
                  <a:pt x="6005991" y="3082847"/>
                  <a:pt x="6005991" y="3082847"/>
                </a:cubicBezTo>
                <a:cubicBezTo>
                  <a:pt x="5988207" y="3076918"/>
                  <a:pt x="5970423" y="3076918"/>
                  <a:pt x="5952639" y="3070990"/>
                </a:cubicBezTo>
                <a:cubicBezTo>
                  <a:pt x="5940783" y="3076918"/>
                  <a:pt x="5934855" y="3082847"/>
                  <a:pt x="5928927" y="3088775"/>
                </a:cubicBezTo>
                <a:cubicBezTo>
                  <a:pt x="5928927" y="3094704"/>
                  <a:pt x="5928927" y="3106561"/>
                  <a:pt x="5928927" y="3112490"/>
                </a:cubicBezTo>
                <a:cubicBezTo>
                  <a:pt x="5922999" y="3130275"/>
                  <a:pt x="5899287" y="3124347"/>
                  <a:pt x="5887431" y="3130275"/>
                </a:cubicBezTo>
                <a:cubicBezTo>
                  <a:pt x="5887431" y="3142132"/>
                  <a:pt x="5881503" y="3153989"/>
                  <a:pt x="5881503" y="3159918"/>
                </a:cubicBezTo>
                <a:cubicBezTo>
                  <a:pt x="5881503" y="3171775"/>
                  <a:pt x="5887431" y="3177704"/>
                  <a:pt x="5893359" y="3177704"/>
                </a:cubicBezTo>
                <a:cubicBezTo>
                  <a:pt x="5899287" y="3183632"/>
                  <a:pt x="5911143" y="3183632"/>
                  <a:pt x="5911143" y="3183632"/>
                </a:cubicBezTo>
                <a:cubicBezTo>
                  <a:pt x="5922999" y="3189561"/>
                  <a:pt x="5922999" y="3195489"/>
                  <a:pt x="5917071" y="3201418"/>
                </a:cubicBezTo>
                <a:cubicBezTo>
                  <a:pt x="5911143" y="3236989"/>
                  <a:pt x="5881503" y="3254775"/>
                  <a:pt x="5863719" y="3278489"/>
                </a:cubicBezTo>
                <a:cubicBezTo>
                  <a:pt x="5857791" y="3296275"/>
                  <a:pt x="5845935" y="3302203"/>
                  <a:pt x="5834079" y="3308132"/>
                </a:cubicBezTo>
                <a:cubicBezTo>
                  <a:pt x="5822223" y="3314060"/>
                  <a:pt x="5816295" y="3319989"/>
                  <a:pt x="5804439" y="3325917"/>
                </a:cubicBezTo>
                <a:cubicBezTo>
                  <a:pt x="5804439" y="3331846"/>
                  <a:pt x="5798511" y="3337775"/>
                  <a:pt x="5798511" y="3349632"/>
                </a:cubicBezTo>
                <a:cubicBezTo>
                  <a:pt x="5792583" y="3355560"/>
                  <a:pt x="5780727" y="3355560"/>
                  <a:pt x="5768871" y="3361489"/>
                </a:cubicBezTo>
                <a:cubicBezTo>
                  <a:pt x="5762943" y="3373346"/>
                  <a:pt x="5762943" y="3385203"/>
                  <a:pt x="5757015" y="3397060"/>
                </a:cubicBezTo>
                <a:cubicBezTo>
                  <a:pt x="5751087" y="3402989"/>
                  <a:pt x="5745160" y="3414846"/>
                  <a:pt x="5739232" y="3426703"/>
                </a:cubicBezTo>
                <a:cubicBezTo>
                  <a:pt x="5721448" y="3432631"/>
                  <a:pt x="5709592" y="3444489"/>
                  <a:pt x="5691808" y="3450417"/>
                </a:cubicBezTo>
                <a:cubicBezTo>
                  <a:pt x="5679952" y="3468203"/>
                  <a:pt x="5674024" y="3480060"/>
                  <a:pt x="5650312" y="3491917"/>
                </a:cubicBezTo>
                <a:cubicBezTo>
                  <a:pt x="5650312" y="3485988"/>
                  <a:pt x="5650312" y="3485988"/>
                  <a:pt x="5650312" y="3485988"/>
                </a:cubicBezTo>
                <a:cubicBezTo>
                  <a:pt x="5650312" y="3503774"/>
                  <a:pt x="5644384" y="3521560"/>
                  <a:pt x="5632528" y="3539345"/>
                </a:cubicBezTo>
                <a:cubicBezTo>
                  <a:pt x="5626600" y="3545274"/>
                  <a:pt x="5614744" y="3551202"/>
                  <a:pt x="5602888" y="3557131"/>
                </a:cubicBezTo>
                <a:cubicBezTo>
                  <a:pt x="5602888" y="3563060"/>
                  <a:pt x="5596960" y="3574917"/>
                  <a:pt x="5585104" y="3580845"/>
                </a:cubicBezTo>
                <a:cubicBezTo>
                  <a:pt x="5567320" y="3598631"/>
                  <a:pt x="5555464" y="3622345"/>
                  <a:pt x="5549536" y="3646059"/>
                </a:cubicBezTo>
                <a:cubicBezTo>
                  <a:pt x="5549536" y="3651988"/>
                  <a:pt x="5543608" y="3651988"/>
                  <a:pt x="5543608" y="3657916"/>
                </a:cubicBezTo>
                <a:cubicBezTo>
                  <a:pt x="5537680" y="3663845"/>
                  <a:pt x="5531752" y="3663845"/>
                  <a:pt x="5519896" y="3663845"/>
                </a:cubicBezTo>
                <a:cubicBezTo>
                  <a:pt x="5519896" y="3675702"/>
                  <a:pt x="5513968" y="3687559"/>
                  <a:pt x="5508040" y="3699416"/>
                </a:cubicBezTo>
                <a:cubicBezTo>
                  <a:pt x="5496184" y="3699416"/>
                  <a:pt x="5490256" y="3705345"/>
                  <a:pt x="5478400" y="3711273"/>
                </a:cubicBezTo>
                <a:cubicBezTo>
                  <a:pt x="5466544" y="3717202"/>
                  <a:pt x="5472472" y="3734988"/>
                  <a:pt x="5466544" y="3746845"/>
                </a:cubicBezTo>
                <a:cubicBezTo>
                  <a:pt x="5460616" y="3758702"/>
                  <a:pt x="5448760" y="3752773"/>
                  <a:pt x="5442832" y="3758702"/>
                </a:cubicBezTo>
                <a:cubicBezTo>
                  <a:pt x="5436904" y="3764630"/>
                  <a:pt x="5430976" y="3776487"/>
                  <a:pt x="5430976" y="3782416"/>
                </a:cubicBezTo>
                <a:cubicBezTo>
                  <a:pt x="5413192" y="3794273"/>
                  <a:pt x="5401336" y="3788345"/>
                  <a:pt x="5389480" y="3788345"/>
                </a:cubicBezTo>
                <a:cubicBezTo>
                  <a:pt x="5383552" y="3788345"/>
                  <a:pt x="5377624" y="3794273"/>
                  <a:pt x="5365768" y="3794273"/>
                </a:cubicBezTo>
                <a:cubicBezTo>
                  <a:pt x="5353912" y="3806130"/>
                  <a:pt x="5347984" y="3823916"/>
                  <a:pt x="5330200" y="3829844"/>
                </a:cubicBezTo>
                <a:cubicBezTo>
                  <a:pt x="5318344" y="3835773"/>
                  <a:pt x="5312416" y="3847630"/>
                  <a:pt x="5306488" y="3853559"/>
                </a:cubicBezTo>
                <a:cubicBezTo>
                  <a:pt x="5288704" y="3853559"/>
                  <a:pt x="5288704" y="3823916"/>
                  <a:pt x="5264992" y="3829844"/>
                </a:cubicBezTo>
                <a:cubicBezTo>
                  <a:pt x="5259064" y="3823916"/>
                  <a:pt x="5264992" y="3817987"/>
                  <a:pt x="5270920" y="3817987"/>
                </a:cubicBezTo>
                <a:cubicBezTo>
                  <a:pt x="5276848" y="3812059"/>
                  <a:pt x="5276848" y="3812059"/>
                  <a:pt x="5276848" y="3800202"/>
                </a:cubicBezTo>
                <a:cubicBezTo>
                  <a:pt x="5276848" y="3800202"/>
                  <a:pt x="5276848" y="3800202"/>
                  <a:pt x="5270920" y="3800202"/>
                </a:cubicBezTo>
                <a:cubicBezTo>
                  <a:pt x="5264992" y="3800202"/>
                  <a:pt x="5253136" y="3794273"/>
                  <a:pt x="5241280" y="3794273"/>
                </a:cubicBezTo>
                <a:cubicBezTo>
                  <a:pt x="5235352" y="3806130"/>
                  <a:pt x="5235352" y="3812059"/>
                  <a:pt x="5229424" y="3817987"/>
                </a:cubicBezTo>
                <a:cubicBezTo>
                  <a:pt x="5223496" y="3823916"/>
                  <a:pt x="5217568" y="3829844"/>
                  <a:pt x="5205712" y="3823916"/>
                </a:cubicBezTo>
                <a:cubicBezTo>
                  <a:pt x="5199784" y="3812059"/>
                  <a:pt x="5211640" y="3806130"/>
                  <a:pt x="5205712" y="3794273"/>
                </a:cubicBezTo>
                <a:cubicBezTo>
                  <a:pt x="5205712" y="3794273"/>
                  <a:pt x="5199784" y="3788345"/>
                  <a:pt x="5199784" y="3788345"/>
                </a:cubicBezTo>
                <a:cubicBezTo>
                  <a:pt x="5182000" y="3794273"/>
                  <a:pt x="5164216" y="3806130"/>
                  <a:pt x="5146432" y="3812059"/>
                </a:cubicBezTo>
                <a:cubicBezTo>
                  <a:pt x="5140504" y="3806130"/>
                  <a:pt x="5128648" y="3800202"/>
                  <a:pt x="5122720" y="3794273"/>
                </a:cubicBezTo>
                <a:cubicBezTo>
                  <a:pt x="5110864" y="3800202"/>
                  <a:pt x="5116792" y="3817987"/>
                  <a:pt x="5104936" y="3823916"/>
                </a:cubicBezTo>
                <a:cubicBezTo>
                  <a:pt x="5099008" y="3823916"/>
                  <a:pt x="5091598" y="3822434"/>
                  <a:pt x="5084188" y="3822434"/>
                </a:cubicBezTo>
                <a:lnTo>
                  <a:pt x="5067808" y="3828284"/>
                </a:lnTo>
                <a:lnTo>
                  <a:pt x="5051584" y="3812059"/>
                </a:lnTo>
                <a:cubicBezTo>
                  <a:pt x="5039728" y="3806130"/>
                  <a:pt x="5021944" y="3800202"/>
                  <a:pt x="5010088" y="3800202"/>
                </a:cubicBezTo>
                <a:cubicBezTo>
                  <a:pt x="4998232" y="3782416"/>
                  <a:pt x="4992304" y="3770559"/>
                  <a:pt x="4980448" y="3752773"/>
                </a:cubicBezTo>
                <a:cubicBezTo>
                  <a:pt x="4968592" y="3740916"/>
                  <a:pt x="4956736" y="3734988"/>
                  <a:pt x="4950808" y="3717202"/>
                </a:cubicBezTo>
                <a:cubicBezTo>
                  <a:pt x="4938952" y="3717202"/>
                  <a:pt x="4944880" y="3729059"/>
                  <a:pt x="4938952" y="3729059"/>
                </a:cubicBezTo>
                <a:cubicBezTo>
                  <a:pt x="4927096" y="3746845"/>
                  <a:pt x="4909312" y="3752773"/>
                  <a:pt x="4897456" y="3770559"/>
                </a:cubicBezTo>
                <a:cubicBezTo>
                  <a:pt x="4885600" y="3782416"/>
                  <a:pt x="4867816" y="3794273"/>
                  <a:pt x="4850032" y="3812059"/>
                </a:cubicBezTo>
                <a:cubicBezTo>
                  <a:pt x="4838176" y="3823916"/>
                  <a:pt x="4826320" y="3835773"/>
                  <a:pt x="4814464" y="3859487"/>
                </a:cubicBezTo>
                <a:cubicBezTo>
                  <a:pt x="4790752" y="3865416"/>
                  <a:pt x="4778896" y="3883201"/>
                  <a:pt x="4772968" y="3906916"/>
                </a:cubicBezTo>
                <a:cubicBezTo>
                  <a:pt x="4767040" y="3924701"/>
                  <a:pt x="4761112" y="3936558"/>
                  <a:pt x="4761112" y="3954344"/>
                </a:cubicBezTo>
                <a:cubicBezTo>
                  <a:pt x="4755184" y="3948415"/>
                  <a:pt x="4749256" y="3948415"/>
                  <a:pt x="4743328" y="3948415"/>
                </a:cubicBezTo>
                <a:cubicBezTo>
                  <a:pt x="4731472" y="3948415"/>
                  <a:pt x="4719616" y="3954344"/>
                  <a:pt x="4707760" y="3966201"/>
                </a:cubicBezTo>
                <a:cubicBezTo>
                  <a:pt x="4707760" y="3983987"/>
                  <a:pt x="4707760" y="4001772"/>
                  <a:pt x="4701832" y="4019558"/>
                </a:cubicBezTo>
                <a:cubicBezTo>
                  <a:pt x="4695904" y="4025487"/>
                  <a:pt x="4689976" y="4031415"/>
                  <a:pt x="4689976" y="4031415"/>
                </a:cubicBezTo>
                <a:cubicBezTo>
                  <a:pt x="4672192" y="4025487"/>
                  <a:pt x="4660336" y="4043272"/>
                  <a:pt x="4642552" y="4037344"/>
                </a:cubicBezTo>
                <a:cubicBezTo>
                  <a:pt x="4630696" y="4025487"/>
                  <a:pt x="4612912" y="4037344"/>
                  <a:pt x="4601056" y="4037344"/>
                </a:cubicBezTo>
                <a:cubicBezTo>
                  <a:pt x="4595128" y="4037344"/>
                  <a:pt x="4595128" y="4037344"/>
                  <a:pt x="4589200" y="4037344"/>
                </a:cubicBezTo>
                <a:cubicBezTo>
                  <a:pt x="4583272" y="4043272"/>
                  <a:pt x="4583272" y="4055129"/>
                  <a:pt x="4577344" y="4061058"/>
                </a:cubicBezTo>
                <a:cubicBezTo>
                  <a:pt x="4571416" y="4066986"/>
                  <a:pt x="4571416" y="4066986"/>
                  <a:pt x="4565488" y="4066986"/>
                </a:cubicBezTo>
                <a:cubicBezTo>
                  <a:pt x="4553632" y="4061058"/>
                  <a:pt x="4559560" y="4043272"/>
                  <a:pt x="4547704" y="4037344"/>
                </a:cubicBezTo>
                <a:cubicBezTo>
                  <a:pt x="4541776" y="4037344"/>
                  <a:pt x="4541776" y="4037344"/>
                  <a:pt x="4541776" y="4043272"/>
                </a:cubicBezTo>
                <a:cubicBezTo>
                  <a:pt x="4541776" y="4049201"/>
                  <a:pt x="4541776" y="4055129"/>
                  <a:pt x="4541776" y="4061058"/>
                </a:cubicBezTo>
                <a:cubicBezTo>
                  <a:pt x="4535848" y="4066986"/>
                  <a:pt x="4529920" y="4072915"/>
                  <a:pt x="4523992" y="4066986"/>
                </a:cubicBezTo>
                <a:cubicBezTo>
                  <a:pt x="4518064" y="4055129"/>
                  <a:pt x="4523992" y="4049201"/>
                  <a:pt x="4523992" y="4037344"/>
                </a:cubicBezTo>
                <a:cubicBezTo>
                  <a:pt x="4518064" y="4031415"/>
                  <a:pt x="4512136" y="4025487"/>
                  <a:pt x="4506208" y="4025487"/>
                </a:cubicBezTo>
                <a:cubicBezTo>
                  <a:pt x="4494352" y="4031415"/>
                  <a:pt x="4482496" y="4031415"/>
                  <a:pt x="4476568" y="4043272"/>
                </a:cubicBezTo>
                <a:cubicBezTo>
                  <a:pt x="4476568" y="4049201"/>
                  <a:pt x="4482496" y="4049201"/>
                  <a:pt x="4482496" y="4055129"/>
                </a:cubicBezTo>
                <a:cubicBezTo>
                  <a:pt x="4488424" y="4055129"/>
                  <a:pt x="4488424" y="4061058"/>
                  <a:pt x="4488424" y="4066986"/>
                </a:cubicBezTo>
                <a:cubicBezTo>
                  <a:pt x="4488424" y="4066986"/>
                  <a:pt x="4482496" y="4072915"/>
                  <a:pt x="4482496" y="4072915"/>
                </a:cubicBezTo>
                <a:cubicBezTo>
                  <a:pt x="4470640" y="4072915"/>
                  <a:pt x="4458784" y="4061058"/>
                  <a:pt x="4446928" y="4072915"/>
                </a:cubicBezTo>
                <a:cubicBezTo>
                  <a:pt x="4441000" y="4066986"/>
                  <a:pt x="4441000" y="4066986"/>
                  <a:pt x="4441000" y="4066986"/>
                </a:cubicBezTo>
                <a:cubicBezTo>
                  <a:pt x="4435072" y="4061058"/>
                  <a:pt x="4441000" y="4049201"/>
                  <a:pt x="4441000" y="4037344"/>
                </a:cubicBezTo>
                <a:cubicBezTo>
                  <a:pt x="4441000" y="4031415"/>
                  <a:pt x="4435072" y="4031415"/>
                  <a:pt x="4429144" y="4025487"/>
                </a:cubicBezTo>
                <a:cubicBezTo>
                  <a:pt x="4405432" y="4031415"/>
                  <a:pt x="4381720" y="4031415"/>
                  <a:pt x="4358008" y="4037344"/>
                </a:cubicBezTo>
                <a:cubicBezTo>
                  <a:pt x="4334296" y="4025487"/>
                  <a:pt x="4310584" y="4019558"/>
                  <a:pt x="4280944" y="4007701"/>
                </a:cubicBezTo>
                <a:cubicBezTo>
                  <a:pt x="4280944" y="4007701"/>
                  <a:pt x="4275016" y="4007701"/>
                  <a:pt x="4269088" y="4013629"/>
                </a:cubicBezTo>
                <a:cubicBezTo>
                  <a:pt x="4239448" y="4025487"/>
                  <a:pt x="4215736" y="4043272"/>
                  <a:pt x="4186096" y="4066986"/>
                </a:cubicBezTo>
                <a:cubicBezTo>
                  <a:pt x="4162384" y="4090701"/>
                  <a:pt x="4132744" y="4108486"/>
                  <a:pt x="4109032" y="4132200"/>
                </a:cubicBezTo>
                <a:cubicBezTo>
                  <a:pt x="4043824" y="4144058"/>
                  <a:pt x="4002328" y="4114415"/>
                  <a:pt x="3960832" y="4066986"/>
                </a:cubicBezTo>
                <a:cubicBezTo>
                  <a:pt x="3954904" y="4025487"/>
                  <a:pt x="3966760" y="3995844"/>
                  <a:pt x="3996400" y="3978058"/>
                </a:cubicBezTo>
                <a:cubicBezTo>
                  <a:pt x="4014184" y="3966201"/>
                  <a:pt x="4026040" y="3954344"/>
                  <a:pt x="4037896" y="3936558"/>
                </a:cubicBezTo>
                <a:cubicBezTo>
                  <a:pt x="4067536" y="3924701"/>
                  <a:pt x="4085320" y="3895058"/>
                  <a:pt x="4109032" y="3877273"/>
                </a:cubicBezTo>
                <a:cubicBezTo>
                  <a:pt x="4126816" y="3865416"/>
                  <a:pt x="4138672" y="3853559"/>
                  <a:pt x="4150528" y="3841701"/>
                </a:cubicBezTo>
                <a:cubicBezTo>
                  <a:pt x="4168312" y="3823916"/>
                  <a:pt x="4180168" y="3806130"/>
                  <a:pt x="4180168" y="3782416"/>
                </a:cubicBezTo>
                <a:cubicBezTo>
                  <a:pt x="4186096" y="3776487"/>
                  <a:pt x="4180168" y="3782416"/>
                  <a:pt x="4180168" y="3776487"/>
                </a:cubicBezTo>
                <a:cubicBezTo>
                  <a:pt x="4150528" y="3788345"/>
                  <a:pt x="4126816" y="3806130"/>
                  <a:pt x="4109032" y="3823916"/>
                </a:cubicBezTo>
                <a:cubicBezTo>
                  <a:pt x="4067536" y="3853559"/>
                  <a:pt x="4026040" y="3889130"/>
                  <a:pt x="3984544" y="3918773"/>
                </a:cubicBezTo>
                <a:cubicBezTo>
                  <a:pt x="3960832" y="3936558"/>
                  <a:pt x="3937120" y="3948415"/>
                  <a:pt x="3913408" y="3966201"/>
                </a:cubicBezTo>
                <a:cubicBezTo>
                  <a:pt x="3895624" y="3983987"/>
                  <a:pt x="3871912" y="3995844"/>
                  <a:pt x="3854128" y="4013629"/>
                </a:cubicBezTo>
                <a:cubicBezTo>
                  <a:pt x="3830416" y="4031415"/>
                  <a:pt x="3806704" y="4049201"/>
                  <a:pt x="3788920" y="4066986"/>
                </a:cubicBezTo>
                <a:cubicBezTo>
                  <a:pt x="3747424" y="4090701"/>
                  <a:pt x="3717784" y="4120343"/>
                  <a:pt x="3688144" y="4149986"/>
                </a:cubicBezTo>
                <a:cubicBezTo>
                  <a:pt x="3676288" y="4161843"/>
                  <a:pt x="3670360" y="4167772"/>
                  <a:pt x="3652576" y="4167772"/>
                </a:cubicBezTo>
                <a:cubicBezTo>
                  <a:pt x="3640720" y="4167772"/>
                  <a:pt x="3634792" y="4155915"/>
                  <a:pt x="3628864" y="4149986"/>
                </a:cubicBezTo>
                <a:cubicBezTo>
                  <a:pt x="3622936" y="4138129"/>
                  <a:pt x="3617008" y="4120343"/>
                  <a:pt x="3605152" y="4108486"/>
                </a:cubicBezTo>
                <a:cubicBezTo>
                  <a:pt x="3593296" y="4102558"/>
                  <a:pt x="3587368" y="4084772"/>
                  <a:pt x="3581440" y="4072915"/>
                </a:cubicBezTo>
                <a:cubicBezTo>
                  <a:pt x="3569584" y="4061058"/>
                  <a:pt x="3557728" y="4049201"/>
                  <a:pt x="3551800" y="4043272"/>
                </a:cubicBezTo>
                <a:cubicBezTo>
                  <a:pt x="3545872" y="4031415"/>
                  <a:pt x="3545872" y="4019558"/>
                  <a:pt x="3551800" y="4007701"/>
                </a:cubicBezTo>
                <a:cubicBezTo>
                  <a:pt x="3551800" y="4001772"/>
                  <a:pt x="3557728" y="3995844"/>
                  <a:pt x="3557728" y="3995844"/>
                </a:cubicBezTo>
                <a:cubicBezTo>
                  <a:pt x="3575512" y="3983987"/>
                  <a:pt x="3587368" y="3972130"/>
                  <a:pt x="3587368" y="3948415"/>
                </a:cubicBezTo>
                <a:cubicBezTo>
                  <a:pt x="3599224" y="3948415"/>
                  <a:pt x="3605152" y="3948415"/>
                  <a:pt x="3611080" y="3942487"/>
                </a:cubicBezTo>
                <a:cubicBezTo>
                  <a:pt x="3628864" y="3936558"/>
                  <a:pt x="3628864" y="3912844"/>
                  <a:pt x="3646648" y="3906916"/>
                </a:cubicBezTo>
                <a:cubicBezTo>
                  <a:pt x="3658504" y="3900987"/>
                  <a:pt x="3664432" y="3883201"/>
                  <a:pt x="3676288" y="3877273"/>
                </a:cubicBezTo>
                <a:cubicBezTo>
                  <a:pt x="3682216" y="3871344"/>
                  <a:pt x="3688144" y="3871344"/>
                  <a:pt x="3694072" y="3865416"/>
                </a:cubicBezTo>
                <a:cubicBezTo>
                  <a:pt x="3705928" y="3859487"/>
                  <a:pt x="3705928" y="3841701"/>
                  <a:pt x="3711856" y="3835773"/>
                </a:cubicBezTo>
                <a:cubicBezTo>
                  <a:pt x="3705928" y="3823916"/>
                  <a:pt x="3700000" y="3823916"/>
                  <a:pt x="3700000" y="3823916"/>
                </a:cubicBezTo>
                <a:cubicBezTo>
                  <a:pt x="3688144" y="3835773"/>
                  <a:pt x="3682216" y="3841701"/>
                  <a:pt x="3676288" y="3847630"/>
                </a:cubicBezTo>
                <a:cubicBezTo>
                  <a:pt x="3670360" y="3853559"/>
                  <a:pt x="3664432" y="3853559"/>
                  <a:pt x="3664432" y="3853559"/>
                </a:cubicBezTo>
                <a:cubicBezTo>
                  <a:pt x="3664432" y="3847630"/>
                  <a:pt x="3658504" y="3841701"/>
                  <a:pt x="3664432" y="3841701"/>
                </a:cubicBezTo>
                <a:cubicBezTo>
                  <a:pt x="3664432" y="3835773"/>
                  <a:pt x="3670360" y="3829844"/>
                  <a:pt x="3676288" y="3823916"/>
                </a:cubicBezTo>
                <a:cubicBezTo>
                  <a:pt x="3682216" y="3817987"/>
                  <a:pt x="3694072" y="3812059"/>
                  <a:pt x="3700000" y="3806130"/>
                </a:cubicBezTo>
                <a:cubicBezTo>
                  <a:pt x="3711856" y="3794273"/>
                  <a:pt x="3717784" y="3788345"/>
                  <a:pt x="3723712" y="3776487"/>
                </a:cubicBezTo>
                <a:cubicBezTo>
                  <a:pt x="3729640" y="3770559"/>
                  <a:pt x="3741496" y="3764630"/>
                  <a:pt x="3747424" y="3758702"/>
                </a:cubicBezTo>
                <a:lnTo>
                  <a:pt x="3757096" y="3729683"/>
                </a:lnTo>
                <a:lnTo>
                  <a:pt x="3759280" y="3729059"/>
                </a:lnTo>
                <a:cubicBezTo>
                  <a:pt x="3759280" y="3723130"/>
                  <a:pt x="3765208" y="3717202"/>
                  <a:pt x="3771136" y="3717202"/>
                </a:cubicBezTo>
                <a:lnTo>
                  <a:pt x="3773407" y="3713195"/>
                </a:lnTo>
                <a:lnTo>
                  <a:pt x="3780769" y="3719425"/>
                </a:lnTo>
                <a:cubicBezTo>
                  <a:pt x="3784474" y="3721648"/>
                  <a:pt x="3788920" y="3723130"/>
                  <a:pt x="3794848" y="3723130"/>
                </a:cubicBezTo>
                <a:cubicBezTo>
                  <a:pt x="3794848" y="3729059"/>
                  <a:pt x="3794848" y="3734988"/>
                  <a:pt x="3794848" y="3740916"/>
                </a:cubicBezTo>
                <a:cubicBezTo>
                  <a:pt x="3806704" y="3740916"/>
                  <a:pt x="3812632" y="3734988"/>
                  <a:pt x="3818560" y="3729059"/>
                </a:cubicBezTo>
                <a:cubicBezTo>
                  <a:pt x="3824488" y="3723130"/>
                  <a:pt x="3830416" y="3711273"/>
                  <a:pt x="3836344" y="3705345"/>
                </a:cubicBezTo>
                <a:cubicBezTo>
                  <a:pt x="3842272" y="3705345"/>
                  <a:pt x="3848200" y="3705345"/>
                  <a:pt x="3854128" y="3711273"/>
                </a:cubicBezTo>
                <a:cubicBezTo>
                  <a:pt x="3860056" y="3705345"/>
                  <a:pt x="3860056" y="3705345"/>
                  <a:pt x="3860056" y="3705345"/>
                </a:cubicBezTo>
                <a:cubicBezTo>
                  <a:pt x="3865984" y="3693488"/>
                  <a:pt x="3865984" y="3681631"/>
                  <a:pt x="3871912" y="3669773"/>
                </a:cubicBezTo>
                <a:cubicBezTo>
                  <a:pt x="3877840" y="3669773"/>
                  <a:pt x="3877840" y="3663845"/>
                  <a:pt x="3871912" y="3663845"/>
                </a:cubicBezTo>
                <a:cubicBezTo>
                  <a:pt x="3871912" y="3663845"/>
                  <a:pt x="3871912" y="3669773"/>
                  <a:pt x="3871912" y="3669773"/>
                </a:cubicBezTo>
                <a:cubicBezTo>
                  <a:pt x="3860056" y="3675702"/>
                  <a:pt x="3848200" y="3675702"/>
                  <a:pt x="3836344" y="3681631"/>
                </a:cubicBezTo>
                <a:cubicBezTo>
                  <a:pt x="3836344" y="3669773"/>
                  <a:pt x="3842272" y="3657916"/>
                  <a:pt x="3854128" y="3646059"/>
                </a:cubicBezTo>
                <a:cubicBezTo>
                  <a:pt x="3865984" y="3640131"/>
                  <a:pt x="3871912" y="3628274"/>
                  <a:pt x="3883768" y="3622345"/>
                </a:cubicBezTo>
                <a:cubicBezTo>
                  <a:pt x="3889696" y="3616417"/>
                  <a:pt x="3901552" y="3604559"/>
                  <a:pt x="3913408" y="3598631"/>
                </a:cubicBezTo>
                <a:cubicBezTo>
                  <a:pt x="3919336" y="3580845"/>
                  <a:pt x="3919336" y="3568988"/>
                  <a:pt x="3925264" y="3557131"/>
                </a:cubicBezTo>
                <a:cubicBezTo>
                  <a:pt x="3943048" y="3557131"/>
                  <a:pt x="3954904" y="3557131"/>
                  <a:pt x="3972688" y="3557131"/>
                </a:cubicBezTo>
                <a:cubicBezTo>
                  <a:pt x="3978616" y="3563060"/>
                  <a:pt x="3978616" y="3563060"/>
                  <a:pt x="3984544" y="3557131"/>
                </a:cubicBezTo>
                <a:cubicBezTo>
                  <a:pt x="3984544" y="3551202"/>
                  <a:pt x="3990472" y="3551202"/>
                  <a:pt x="3996400" y="3545274"/>
                </a:cubicBezTo>
                <a:cubicBezTo>
                  <a:pt x="3996400" y="3521560"/>
                  <a:pt x="3996400" y="3497845"/>
                  <a:pt x="4002328" y="3480060"/>
                </a:cubicBezTo>
                <a:cubicBezTo>
                  <a:pt x="4002328" y="3480060"/>
                  <a:pt x="3996400" y="3474131"/>
                  <a:pt x="3996400" y="3474131"/>
                </a:cubicBezTo>
                <a:cubicBezTo>
                  <a:pt x="3984544" y="3474131"/>
                  <a:pt x="3978616" y="3491917"/>
                  <a:pt x="3972688" y="3497845"/>
                </a:cubicBezTo>
                <a:cubicBezTo>
                  <a:pt x="3948976" y="3509703"/>
                  <a:pt x="3937120" y="3533417"/>
                  <a:pt x="3925264" y="3557131"/>
                </a:cubicBezTo>
                <a:cubicBezTo>
                  <a:pt x="3919336" y="3557131"/>
                  <a:pt x="3913408" y="3563060"/>
                  <a:pt x="3907480" y="3563060"/>
                </a:cubicBezTo>
                <a:cubicBezTo>
                  <a:pt x="3889696" y="3586774"/>
                  <a:pt x="3865984" y="3604559"/>
                  <a:pt x="3848200" y="3628274"/>
                </a:cubicBezTo>
                <a:cubicBezTo>
                  <a:pt x="3836344" y="3634202"/>
                  <a:pt x="3830416" y="3634202"/>
                  <a:pt x="3824488" y="3640131"/>
                </a:cubicBezTo>
                <a:cubicBezTo>
                  <a:pt x="3818560" y="3651988"/>
                  <a:pt x="3806704" y="3669773"/>
                  <a:pt x="3800776" y="3681631"/>
                </a:cubicBezTo>
                <a:cubicBezTo>
                  <a:pt x="3794848" y="3684595"/>
                  <a:pt x="3788920" y="3689041"/>
                  <a:pt x="3783733" y="3694970"/>
                </a:cubicBezTo>
                <a:lnTo>
                  <a:pt x="3773407" y="3713195"/>
                </a:lnTo>
                <a:lnTo>
                  <a:pt x="3771136" y="3711273"/>
                </a:lnTo>
                <a:cubicBezTo>
                  <a:pt x="3765208" y="3717202"/>
                  <a:pt x="3759280" y="3723130"/>
                  <a:pt x="3759280" y="3723130"/>
                </a:cubicBezTo>
                <a:lnTo>
                  <a:pt x="3757096" y="3729683"/>
                </a:lnTo>
                <a:lnTo>
                  <a:pt x="3743719" y="3733506"/>
                </a:lnTo>
                <a:cubicBezTo>
                  <a:pt x="3738532" y="3736470"/>
                  <a:pt x="3732604" y="3740916"/>
                  <a:pt x="3723712" y="3746845"/>
                </a:cubicBezTo>
                <a:cubicBezTo>
                  <a:pt x="3670360" y="3770559"/>
                  <a:pt x="3605152" y="3764630"/>
                  <a:pt x="3539944" y="3758702"/>
                </a:cubicBezTo>
                <a:cubicBezTo>
                  <a:pt x="3516232" y="3776487"/>
                  <a:pt x="3492520" y="3788345"/>
                  <a:pt x="3468808" y="3812059"/>
                </a:cubicBezTo>
                <a:cubicBezTo>
                  <a:pt x="3421384" y="3847630"/>
                  <a:pt x="3379888" y="3877273"/>
                  <a:pt x="3332464" y="3900987"/>
                </a:cubicBezTo>
                <a:cubicBezTo>
                  <a:pt x="3302824" y="3906916"/>
                  <a:pt x="3279112" y="3906916"/>
                  <a:pt x="3249472" y="3906916"/>
                </a:cubicBezTo>
                <a:cubicBezTo>
                  <a:pt x="3237616" y="3912844"/>
                  <a:pt x="3219832" y="3918773"/>
                  <a:pt x="3207976" y="3924701"/>
                </a:cubicBezTo>
                <a:cubicBezTo>
                  <a:pt x="3160552" y="3930630"/>
                  <a:pt x="3119056" y="3930630"/>
                  <a:pt x="3083488" y="3930630"/>
                </a:cubicBezTo>
                <a:cubicBezTo>
                  <a:pt x="3041992" y="3948415"/>
                  <a:pt x="3024208" y="3978058"/>
                  <a:pt x="2994568" y="3995844"/>
                </a:cubicBezTo>
                <a:cubicBezTo>
                  <a:pt x="2953072" y="4037344"/>
                  <a:pt x="2911576" y="4072915"/>
                  <a:pt x="2870081" y="4108486"/>
                </a:cubicBezTo>
                <a:cubicBezTo>
                  <a:pt x="2846369" y="4132200"/>
                  <a:pt x="2822657" y="4144058"/>
                  <a:pt x="2804873" y="4167772"/>
                </a:cubicBezTo>
                <a:cubicBezTo>
                  <a:pt x="2781161" y="4179629"/>
                  <a:pt x="2781161" y="4179629"/>
                  <a:pt x="2769304" y="4179629"/>
                </a:cubicBezTo>
                <a:cubicBezTo>
                  <a:pt x="2769304" y="4167772"/>
                  <a:pt x="2787089" y="4167772"/>
                  <a:pt x="2787089" y="4155915"/>
                </a:cubicBezTo>
                <a:cubicBezTo>
                  <a:pt x="2793016" y="4144058"/>
                  <a:pt x="2798945" y="4138129"/>
                  <a:pt x="2798945" y="4126272"/>
                </a:cubicBezTo>
                <a:cubicBezTo>
                  <a:pt x="2810800" y="4108486"/>
                  <a:pt x="2822657" y="4096629"/>
                  <a:pt x="2840441" y="4090701"/>
                </a:cubicBezTo>
                <a:cubicBezTo>
                  <a:pt x="2846369" y="4078844"/>
                  <a:pt x="2852297" y="4066986"/>
                  <a:pt x="2858224" y="4055129"/>
                </a:cubicBezTo>
                <a:cubicBezTo>
                  <a:pt x="2864153" y="4055129"/>
                  <a:pt x="2876008" y="4049201"/>
                  <a:pt x="2881936" y="4043272"/>
                </a:cubicBezTo>
                <a:cubicBezTo>
                  <a:pt x="2887864" y="4031415"/>
                  <a:pt x="2893792" y="4019558"/>
                  <a:pt x="2899720" y="4007701"/>
                </a:cubicBezTo>
                <a:cubicBezTo>
                  <a:pt x="2911576" y="4001772"/>
                  <a:pt x="2917504" y="4001772"/>
                  <a:pt x="2923432" y="4001772"/>
                </a:cubicBezTo>
                <a:cubicBezTo>
                  <a:pt x="2935288" y="3989915"/>
                  <a:pt x="2929360" y="3972130"/>
                  <a:pt x="2941216" y="3960272"/>
                </a:cubicBezTo>
                <a:cubicBezTo>
                  <a:pt x="2947144" y="3960272"/>
                  <a:pt x="2953072" y="3954344"/>
                  <a:pt x="2964928" y="3954344"/>
                </a:cubicBezTo>
                <a:cubicBezTo>
                  <a:pt x="2964928" y="3942487"/>
                  <a:pt x="2970856" y="3936558"/>
                  <a:pt x="2976784" y="3924701"/>
                </a:cubicBezTo>
                <a:cubicBezTo>
                  <a:pt x="2982712" y="3924701"/>
                  <a:pt x="2988640" y="3918773"/>
                  <a:pt x="3000496" y="3918773"/>
                </a:cubicBezTo>
                <a:cubicBezTo>
                  <a:pt x="3000496" y="3900987"/>
                  <a:pt x="3006424" y="3883201"/>
                  <a:pt x="3012352" y="3865416"/>
                </a:cubicBezTo>
                <a:cubicBezTo>
                  <a:pt x="3012352" y="3859487"/>
                  <a:pt x="3012352" y="3847630"/>
                  <a:pt x="3012352" y="3841701"/>
                </a:cubicBezTo>
                <a:cubicBezTo>
                  <a:pt x="3012352" y="3835773"/>
                  <a:pt x="3006424" y="3835773"/>
                  <a:pt x="3006424" y="3829844"/>
                </a:cubicBezTo>
                <a:cubicBezTo>
                  <a:pt x="3000496" y="3829844"/>
                  <a:pt x="3000496" y="3835773"/>
                  <a:pt x="2994568" y="3835773"/>
                </a:cubicBezTo>
                <a:cubicBezTo>
                  <a:pt x="2994568" y="3841701"/>
                  <a:pt x="2994568" y="3847630"/>
                  <a:pt x="2994568" y="3853559"/>
                </a:cubicBezTo>
                <a:cubicBezTo>
                  <a:pt x="2982712" y="3883201"/>
                  <a:pt x="2964928" y="3912844"/>
                  <a:pt x="2935288" y="3930630"/>
                </a:cubicBezTo>
                <a:cubicBezTo>
                  <a:pt x="2929360" y="3924701"/>
                  <a:pt x="2929360" y="3918773"/>
                  <a:pt x="2923432" y="3912844"/>
                </a:cubicBezTo>
                <a:cubicBezTo>
                  <a:pt x="2917504" y="3912844"/>
                  <a:pt x="2917504" y="3912844"/>
                  <a:pt x="2917504" y="3918773"/>
                </a:cubicBezTo>
                <a:cubicBezTo>
                  <a:pt x="2911576" y="3918773"/>
                  <a:pt x="2917504" y="3918773"/>
                  <a:pt x="2917504" y="3924701"/>
                </a:cubicBezTo>
                <a:cubicBezTo>
                  <a:pt x="2923432" y="3924701"/>
                  <a:pt x="2929360" y="3924701"/>
                  <a:pt x="2935288" y="3930630"/>
                </a:cubicBezTo>
                <a:cubicBezTo>
                  <a:pt x="2923432" y="3942487"/>
                  <a:pt x="2911576" y="3954344"/>
                  <a:pt x="2899720" y="3972130"/>
                </a:cubicBezTo>
                <a:cubicBezTo>
                  <a:pt x="2893792" y="3972130"/>
                  <a:pt x="2893792" y="3972130"/>
                  <a:pt x="2887864" y="3972130"/>
                </a:cubicBezTo>
                <a:cubicBezTo>
                  <a:pt x="2887864" y="3954344"/>
                  <a:pt x="2893792" y="3936558"/>
                  <a:pt x="2881936" y="3918773"/>
                </a:cubicBezTo>
                <a:cubicBezTo>
                  <a:pt x="2876008" y="3918773"/>
                  <a:pt x="2876008" y="3918773"/>
                  <a:pt x="2870081" y="3924701"/>
                </a:cubicBezTo>
                <a:cubicBezTo>
                  <a:pt x="2864153" y="3936558"/>
                  <a:pt x="2864153" y="3948415"/>
                  <a:pt x="2876008" y="3960272"/>
                </a:cubicBezTo>
                <a:cubicBezTo>
                  <a:pt x="2876008" y="3966201"/>
                  <a:pt x="2881936" y="3972130"/>
                  <a:pt x="2887864" y="3972130"/>
                </a:cubicBezTo>
                <a:cubicBezTo>
                  <a:pt x="2887864" y="3983987"/>
                  <a:pt x="2881936" y="3995844"/>
                  <a:pt x="2870081" y="4001772"/>
                </a:cubicBezTo>
                <a:cubicBezTo>
                  <a:pt x="2864153" y="4001772"/>
                  <a:pt x="2864153" y="4001772"/>
                  <a:pt x="2858224" y="4001772"/>
                </a:cubicBezTo>
                <a:cubicBezTo>
                  <a:pt x="2858224" y="3983987"/>
                  <a:pt x="2852297" y="3966201"/>
                  <a:pt x="2852297" y="3948415"/>
                </a:cubicBezTo>
                <a:cubicBezTo>
                  <a:pt x="2852297" y="3948415"/>
                  <a:pt x="2846369" y="3948415"/>
                  <a:pt x="2846369" y="3948415"/>
                </a:cubicBezTo>
                <a:cubicBezTo>
                  <a:pt x="2840441" y="3942487"/>
                  <a:pt x="2834512" y="3948415"/>
                  <a:pt x="2828585" y="3954344"/>
                </a:cubicBezTo>
                <a:cubicBezTo>
                  <a:pt x="2822657" y="3966201"/>
                  <a:pt x="2822657" y="3978058"/>
                  <a:pt x="2822657" y="3989915"/>
                </a:cubicBezTo>
                <a:cubicBezTo>
                  <a:pt x="2828585" y="4001772"/>
                  <a:pt x="2834512" y="4019558"/>
                  <a:pt x="2840441" y="4031415"/>
                </a:cubicBezTo>
                <a:cubicBezTo>
                  <a:pt x="2828585" y="4049201"/>
                  <a:pt x="2822657" y="4061058"/>
                  <a:pt x="2804873" y="4066986"/>
                </a:cubicBezTo>
                <a:cubicBezTo>
                  <a:pt x="2798945" y="4061058"/>
                  <a:pt x="2798945" y="4055129"/>
                  <a:pt x="2798945" y="4049201"/>
                </a:cubicBezTo>
                <a:cubicBezTo>
                  <a:pt x="2804873" y="4037344"/>
                  <a:pt x="2810800" y="4031415"/>
                  <a:pt x="2816728" y="4025487"/>
                </a:cubicBezTo>
                <a:cubicBezTo>
                  <a:pt x="2810800" y="4019558"/>
                  <a:pt x="2810800" y="4013629"/>
                  <a:pt x="2810800" y="4013629"/>
                </a:cubicBezTo>
                <a:cubicBezTo>
                  <a:pt x="2804873" y="4007701"/>
                  <a:pt x="2798945" y="3995844"/>
                  <a:pt x="2793016" y="3989915"/>
                </a:cubicBezTo>
                <a:cubicBezTo>
                  <a:pt x="2781161" y="3995844"/>
                  <a:pt x="2769304" y="4007701"/>
                  <a:pt x="2763377" y="4013629"/>
                </a:cubicBezTo>
                <a:cubicBezTo>
                  <a:pt x="2751520" y="4025487"/>
                  <a:pt x="2745592" y="4031415"/>
                  <a:pt x="2739665" y="4037344"/>
                </a:cubicBezTo>
                <a:cubicBezTo>
                  <a:pt x="2733737" y="4043272"/>
                  <a:pt x="2727808" y="4049201"/>
                  <a:pt x="2721880" y="4049201"/>
                </a:cubicBezTo>
                <a:cubicBezTo>
                  <a:pt x="2692241" y="4072915"/>
                  <a:pt x="2656672" y="4096629"/>
                  <a:pt x="2627033" y="4126272"/>
                </a:cubicBezTo>
                <a:cubicBezTo>
                  <a:pt x="2609249" y="4138129"/>
                  <a:pt x="2597392" y="4149986"/>
                  <a:pt x="2579609" y="4167772"/>
                </a:cubicBezTo>
                <a:cubicBezTo>
                  <a:pt x="2567753" y="4179629"/>
                  <a:pt x="2549968" y="4191486"/>
                  <a:pt x="2532184" y="4203343"/>
                </a:cubicBezTo>
                <a:cubicBezTo>
                  <a:pt x="2526256" y="4221129"/>
                  <a:pt x="2508472" y="4227057"/>
                  <a:pt x="2496617" y="4238915"/>
                </a:cubicBezTo>
                <a:cubicBezTo>
                  <a:pt x="2461048" y="4268557"/>
                  <a:pt x="2425481" y="4304129"/>
                  <a:pt x="2389913" y="4327843"/>
                </a:cubicBezTo>
                <a:cubicBezTo>
                  <a:pt x="2383985" y="4333771"/>
                  <a:pt x="2378056" y="4333771"/>
                  <a:pt x="2378056" y="4339700"/>
                </a:cubicBezTo>
                <a:cubicBezTo>
                  <a:pt x="2342489" y="4369343"/>
                  <a:pt x="2312848" y="4393057"/>
                  <a:pt x="2271352" y="4416771"/>
                </a:cubicBezTo>
                <a:cubicBezTo>
                  <a:pt x="2253569" y="4434557"/>
                  <a:pt x="2229857" y="4446414"/>
                  <a:pt x="2212073" y="4464199"/>
                </a:cubicBezTo>
                <a:cubicBezTo>
                  <a:pt x="2200216" y="4476057"/>
                  <a:pt x="2182432" y="4487914"/>
                  <a:pt x="2164649" y="4487914"/>
                </a:cubicBezTo>
                <a:cubicBezTo>
                  <a:pt x="2158720" y="4493842"/>
                  <a:pt x="2158720" y="4487914"/>
                  <a:pt x="2152793" y="4481985"/>
                </a:cubicBezTo>
                <a:cubicBezTo>
                  <a:pt x="2158720" y="4476057"/>
                  <a:pt x="2158720" y="4470128"/>
                  <a:pt x="2164649" y="4458271"/>
                </a:cubicBezTo>
                <a:cubicBezTo>
                  <a:pt x="2164649" y="4440485"/>
                  <a:pt x="2164649" y="4422700"/>
                  <a:pt x="2170577" y="4404914"/>
                </a:cubicBezTo>
                <a:cubicBezTo>
                  <a:pt x="2170577" y="4398985"/>
                  <a:pt x="2170577" y="4398985"/>
                  <a:pt x="2170577" y="4398985"/>
                </a:cubicBezTo>
                <a:cubicBezTo>
                  <a:pt x="2182432" y="4398985"/>
                  <a:pt x="2188361" y="4393057"/>
                  <a:pt x="2200216" y="4393057"/>
                </a:cubicBezTo>
                <a:cubicBezTo>
                  <a:pt x="2194289" y="4387128"/>
                  <a:pt x="2194289" y="4381200"/>
                  <a:pt x="2194289" y="4369343"/>
                </a:cubicBezTo>
                <a:cubicBezTo>
                  <a:pt x="2200216" y="4363414"/>
                  <a:pt x="2200216" y="4351557"/>
                  <a:pt x="2206144" y="4345628"/>
                </a:cubicBezTo>
                <a:cubicBezTo>
                  <a:pt x="2206144" y="4333771"/>
                  <a:pt x="2206144" y="4327843"/>
                  <a:pt x="2194289" y="4321914"/>
                </a:cubicBezTo>
                <a:cubicBezTo>
                  <a:pt x="2188361" y="4333771"/>
                  <a:pt x="2194289" y="4351557"/>
                  <a:pt x="2170577" y="4363414"/>
                </a:cubicBezTo>
                <a:cubicBezTo>
                  <a:pt x="2170577" y="4357486"/>
                  <a:pt x="2158720" y="4357486"/>
                  <a:pt x="2152793" y="4357486"/>
                </a:cubicBezTo>
                <a:cubicBezTo>
                  <a:pt x="2146865" y="4327843"/>
                  <a:pt x="2158720" y="4310057"/>
                  <a:pt x="2164649" y="4286343"/>
                </a:cubicBezTo>
                <a:cubicBezTo>
                  <a:pt x="2152793" y="4250772"/>
                  <a:pt x="2146865" y="4221129"/>
                  <a:pt x="2170577" y="4185557"/>
                </a:cubicBezTo>
                <a:cubicBezTo>
                  <a:pt x="2182432" y="4203343"/>
                  <a:pt x="2176504" y="4221129"/>
                  <a:pt x="2176504" y="4238915"/>
                </a:cubicBezTo>
                <a:cubicBezTo>
                  <a:pt x="2182432" y="4250772"/>
                  <a:pt x="2176504" y="4268557"/>
                  <a:pt x="2182432" y="4280414"/>
                </a:cubicBezTo>
                <a:cubicBezTo>
                  <a:pt x="2188361" y="4280414"/>
                  <a:pt x="2194289" y="4274486"/>
                  <a:pt x="2194289" y="4274486"/>
                </a:cubicBezTo>
                <a:cubicBezTo>
                  <a:pt x="2200216" y="4268557"/>
                  <a:pt x="2200216" y="4262629"/>
                  <a:pt x="2200216" y="4256700"/>
                </a:cubicBezTo>
                <a:cubicBezTo>
                  <a:pt x="2200216" y="4221129"/>
                  <a:pt x="2200216" y="4185557"/>
                  <a:pt x="2200216" y="4155915"/>
                </a:cubicBezTo>
                <a:cubicBezTo>
                  <a:pt x="2200216" y="4126272"/>
                  <a:pt x="2200216" y="4096629"/>
                  <a:pt x="2212073" y="4066986"/>
                </a:cubicBezTo>
                <a:cubicBezTo>
                  <a:pt x="2206144" y="4049201"/>
                  <a:pt x="2200216" y="4031415"/>
                  <a:pt x="2200216" y="4013629"/>
                </a:cubicBezTo>
                <a:cubicBezTo>
                  <a:pt x="2200216" y="4007701"/>
                  <a:pt x="2200216" y="4001772"/>
                  <a:pt x="2194289" y="3995844"/>
                </a:cubicBezTo>
                <a:cubicBezTo>
                  <a:pt x="2194289" y="3995844"/>
                  <a:pt x="2188361" y="3995844"/>
                  <a:pt x="2188361" y="3995844"/>
                </a:cubicBezTo>
                <a:cubicBezTo>
                  <a:pt x="2170577" y="4019558"/>
                  <a:pt x="2188361" y="4049201"/>
                  <a:pt x="2170577" y="4078844"/>
                </a:cubicBezTo>
                <a:cubicBezTo>
                  <a:pt x="2164649" y="4084772"/>
                  <a:pt x="2152793" y="4090701"/>
                  <a:pt x="2146865" y="4096629"/>
                </a:cubicBezTo>
                <a:cubicBezTo>
                  <a:pt x="2140936" y="4102558"/>
                  <a:pt x="2135008" y="4108486"/>
                  <a:pt x="2129081" y="4114415"/>
                </a:cubicBezTo>
                <a:cubicBezTo>
                  <a:pt x="2111296" y="4114415"/>
                  <a:pt x="2111296" y="4108486"/>
                  <a:pt x="2111296" y="4096629"/>
                </a:cubicBezTo>
                <a:cubicBezTo>
                  <a:pt x="2123153" y="4090701"/>
                  <a:pt x="2117224" y="4084772"/>
                  <a:pt x="2117224" y="4072915"/>
                </a:cubicBezTo>
                <a:cubicBezTo>
                  <a:pt x="2117224" y="4072915"/>
                  <a:pt x="2111296" y="4066986"/>
                  <a:pt x="2111296" y="4066986"/>
                </a:cubicBezTo>
                <a:cubicBezTo>
                  <a:pt x="2105369" y="4072915"/>
                  <a:pt x="2105369" y="4072915"/>
                  <a:pt x="2105369" y="4078844"/>
                </a:cubicBezTo>
                <a:cubicBezTo>
                  <a:pt x="2105369" y="4084772"/>
                  <a:pt x="2111296" y="4090701"/>
                  <a:pt x="2111296" y="4096629"/>
                </a:cubicBezTo>
                <a:cubicBezTo>
                  <a:pt x="2105369" y="4102558"/>
                  <a:pt x="2105369" y="4108486"/>
                  <a:pt x="2105369" y="4120343"/>
                </a:cubicBezTo>
                <a:cubicBezTo>
                  <a:pt x="2099441" y="4138129"/>
                  <a:pt x="2093512" y="4149986"/>
                  <a:pt x="2075729" y="4155915"/>
                </a:cubicBezTo>
                <a:cubicBezTo>
                  <a:pt x="2069801" y="4161843"/>
                  <a:pt x="2063873" y="4167772"/>
                  <a:pt x="2052017" y="4167772"/>
                </a:cubicBezTo>
                <a:cubicBezTo>
                  <a:pt x="2040161" y="4155915"/>
                  <a:pt x="2046089" y="4144058"/>
                  <a:pt x="2046089" y="4126272"/>
                </a:cubicBezTo>
                <a:cubicBezTo>
                  <a:pt x="2052017" y="4120343"/>
                  <a:pt x="2063873" y="4114415"/>
                  <a:pt x="2069801" y="4108486"/>
                </a:cubicBezTo>
                <a:cubicBezTo>
                  <a:pt x="2069801" y="4096629"/>
                  <a:pt x="2057945" y="4102558"/>
                  <a:pt x="2052017" y="4102558"/>
                </a:cubicBezTo>
                <a:cubicBezTo>
                  <a:pt x="2046089" y="4102558"/>
                  <a:pt x="2040161" y="4096629"/>
                  <a:pt x="2034233" y="4096629"/>
                </a:cubicBezTo>
                <a:cubicBezTo>
                  <a:pt x="2034233" y="4114415"/>
                  <a:pt x="2028305" y="4126272"/>
                  <a:pt x="2028305" y="4144058"/>
                </a:cubicBezTo>
                <a:cubicBezTo>
                  <a:pt x="2028305" y="4155915"/>
                  <a:pt x="2034233" y="4173700"/>
                  <a:pt x="2028305" y="4197415"/>
                </a:cubicBezTo>
                <a:cubicBezTo>
                  <a:pt x="2028305" y="4197415"/>
                  <a:pt x="2022377" y="4209272"/>
                  <a:pt x="2016449" y="4215200"/>
                </a:cubicBezTo>
                <a:cubicBezTo>
                  <a:pt x="2010521" y="4221129"/>
                  <a:pt x="1998665" y="4221129"/>
                  <a:pt x="1992737" y="4227057"/>
                </a:cubicBezTo>
                <a:cubicBezTo>
                  <a:pt x="1986809" y="4232986"/>
                  <a:pt x="1980881" y="4238915"/>
                  <a:pt x="1974953" y="4244843"/>
                </a:cubicBezTo>
                <a:cubicBezTo>
                  <a:pt x="1963097" y="4244843"/>
                  <a:pt x="1963097" y="4232986"/>
                  <a:pt x="1957169" y="4227057"/>
                </a:cubicBezTo>
                <a:cubicBezTo>
                  <a:pt x="1951241" y="4227057"/>
                  <a:pt x="1945313" y="4227057"/>
                  <a:pt x="1945313" y="4232986"/>
                </a:cubicBezTo>
                <a:cubicBezTo>
                  <a:pt x="1945313" y="4244843"/>
                  <a:pt x="1951241" y="4262629"/>
                  <a:pt x="1939385" y="4274486"/>
                </a:cubicBezTo>
                <a:cubicBezTo>
                  <a:pt x="1939385" y="4274486"/>
                  <a:pt x="1933457" y="4280414"/>
                  <a:pt x="1933457" y="4280414"/>
                </a:cubicBezTo>
                <a:cubicBezTo>
                  <a:pt x="1927529" y="4262629"/>
                  <a:pt x="1927529" y="4250772"/>
                  <a:pt x="1927529" y="4232986"/>
                </a:cubicBezTo>
                <a:cubicBezTo>
                  <a:pt x="1921601" y="4221129"/>
                  <a:pt x="1921601" y="4203343"/>
                  <a:pt x="1921601" y="4191486"/>
                </a:cubicBezTo>
                <a:cubicBezTo>
                  <a:pt x="1921601" y="4179629"/>
                  <a:pt x="1921601" y="4161843"/>
                  <a:pt x="1921601" y="4149986"/>
                </a:cubicBezTo>
                <a:cubicBezTo>
                  <a:pt x="1921601" y="4138129"/>
                  <a:pt x="1921601" y="4120343"/>
                  <a:pt x="1915673" y="4108486"/>
                </a:cubicBezTo>
                <a:cubicBezTo>
                  <a:pt x="1903817" y="4120343"/>
                  <a:pt x="1909745" y="4132200"/>
                  <a:pt x="1909745" y="4149986"/>
                </a:cubicBezTo>
                <a:cubicBezTo>
                  <a:pt x="1903817" y="4161843"/>
                  <a:pt x="1903817" y="4173700"/>
                  <a:pt x="1903817" y="4185557"/>
                </a:cubicBezTo>
                <a:cubicBezTo>
                  <a:pt x="1903817" y="4197415"/>
                  <a:pt x="1909745" y="4209272"/>
                  <a:pt x="1909745" y="4227057"/>
                </a:cubicBezTo>
                <a:cubicBezTo>
                  <a:pt x="1909745" y="4238915"/>
                  <a:pt x="1903817" y="4250772"/>
                  <a:pt x="1903817" y="4262629"/>
                </a:cubicBezTo>
                <a:cubicBezTo>
                  <a:pt x="1903817" y="4274486"/>
                  <a:pt x="1909745" y="4286343"/>
                  <a:pt x="1915673" y="4292272"/>
                </a:cubicBezTo>
                <a:cubicBezTo>
                  <a:pt x="1909745" y="4321914"/>
                  <a:pt x="1891961" y="4333771"/>
                  <a:pt x="1868249" y="4339700"/>
                </a:cubicBezTo>
                <a:cubicBezTo>
                  <a:pt x="1850465" y="4357486"/>
                  <a:pt x="1838609" y="4381200"/>
                  <a:pt x="1814897" y="4393057"/>
                </a:cubicBezTo>
                <a:cubicBezTo>
                  <a:pt x="1803041" y="4387128"/>
                  <a:pt x="1808969" y="4375271"/>
                  <a:pt x="1808969" y="4363414"/>
                </a:cubicBezTo>
                <a:cubicBezTo>
                  <a:pt x="1820825" y="4357486"/>
                  <a:pt x="1826753" y="4357486"/>
                  <a:pt x="1838609" y="4351557"/>
                </a:cubicBezTo>
                <a:cubicBezTo>
                  <a:pt x="1838609" y="4345628"/>
                  <a:pt x="1844537" y="4333771"/>
                  <a:pt x="1850465" y="4327843"/>
                </a:cubicBezTo>
                <a:cubicBezTo>
                  <a:pt x="1856393" y="4321914"/>
                  <a:pt x="1862321" y="4315986"/>
                  <a:pt x="1868249" y="4310057"/>
                </a:cubicBezTo>
                <a:cubicBezTo>
                  <a:pt x="1874177" y="4304129"/>
                  <a:pt x="1874177" y="4304129"/>
                  <a:pt x="1874177" y="4298200"/>
                </a:cubicBezTo>
                <a:cubicBezTo>
                  <a:pt x="1874177" y="4280414"/>
                  <a:pt x="1874177" y="4262629"/>
                  <a:pt x="1886033" y="4244843"/>
                </a:cubicBezTo>
                <a:cubicBezTo>
                  <a:pt x="1874177" y="4215200"/>
                  <a:pt x="1874177" y="4191486"/>
                  <a:pt x="1880105" y="4167772"/>
                </a:cubicBezTo>
                <a:cubicBezTo>
                  <a:pt x="1886033" y="4155915"/>
                  <a:pt x="1880105" y="4138129"/>
                  <a:pt x="1880105" y="4126272"/>
                </a:cubicBezTo>
                <a:cubicBezTo>
                  <a:pt x="1886033" y="4120343"/>
                  <a:pt x="1886033" y="4108486"/>
                  <a:pt x="1891961" y="4102558"/>
                </a:cubicBezTo>
                <a:cubicBezTo>
                  <a:pt x="1880105" y="4090701"/>
                  <a:pt x="1880105" y="4090701"/>
                  <a:pt x="1868249" y="4096629"/>
                </a:cubicBezTo>
                <a:cubicBezTo>
                  <a:pt x="1862321" y="4102558"/>
                  <a:pt x="1862321" y="4114415"/>
                  <a:pt x="1862321" y="4120343"/>
                </a:cubicBezTo>
                <a:cubicBezTo>
                  <a:pt x="1862321" y="4138129"/>
                  <a:pt x="1862321" y="4149986"/>
                  <a:pt x="1862321" y="4161843"/>
                </a:cubicBezTo>
                <a:cubicBezTo>
                  <a:pt x="1862321" y="4167772"/>
                  <a:pt x="1856393" y="4173700"/>
                  <a:pt x="1850465" y="4173700"/>
                </a:cubicBezTo>
                <a:cubicBezTo>
                  <a:pt x="1850465" y="4167772"/>
                  <a:pt x="1844537" y="4167772"/>
                  <a:pt x="1844537" y="4161843"/>
                </a:cubicBezTo>
                <a:cubicBezTo>
                  <a:pt x="1838609" y="4155915"/>
                  <a:pt x="1850465" y="4144058"/>
                  <a:pt x="1838609" y="4138129"/>
                </a:cubicBezTo>
                <a:cubicBezTo>
                  <a:pt x="1826753" y="4144058"/>
                  <a:pt x="1826753" y="4144058"/>
                  <a:pt x="1820825" y="4173700"/>
                </a:cubicBezTo>
                <a:cubicBezTo>
                  <a:pt x="1820825" y="4185557"/>
                  <a:pt x="1826753" y="4197415"/>
                  <a:pt x="1838609" y="4209272"/>
                </a:cubicBezTo>
                <a:cubicBezTo>
                  <a:pt x="1844537" y="4203343"/>
                  <a:pt x="1850465" y="4203343"/>
                  <a:pt x="1856393" y="4203343"/>
                </a:cubicBezTo>
                <a:cubicBezTo>
                  <a:pt x="1862321" y="4209272"/>
                  <a:pt x="1862321" y="4209272"/>
                  <a:pt x="1856393" y="4215200"/>
                </a:cubicBezTo>
                <a:cubicBezTo>
                  <a:pt x="1850465" y="4221129"/>
                  <a:pt x="1844537" y="4221129"/>
                  <a:pt x="1838609" y="4227057"/>
                </a:cubicBezTo>
                <a:cubicBezTo>
                  <a:pt x="1838609" y="4227057"/>
                  <a:pt x="1832681" y="4232986"/>
                  <a:pt x="1832681" y="4238915"/>
                </a:cubicBezTo>
                <a:cubicBezTo>
                  <a:pt x="1832681" y="4250772"/>
                  <a:pt x="1832681" y="4268557"/>
                  <a:pt x="1826753" y="4286343"/>
                </a:cubicBezTo>
                <a:cubicBezTo>
                  <a:pt x="1826753" y="4304129"/>
                  <a:pt x="1826753" y="4321914"/>
                  <a:pt x="1814897" y="4339700"/>
                </a:cubicBezTo>
                <a:cubicBezTo>
                  <a:pt x="1803041" y="4345628"/>
                  <a:pt x="1797113" y="4333771"/>
                  <a:pt x="1785257" y="4333771"/>
                </a:cubicBezTo>
                <a:cubicBezTo>
                  <a:pt x="1779329" y="4363414"/>
                  <a:pt x="1767473" y="4393057"/>
                  <a:pt x="1779329" y="4422700"/>
                </a:cubicBezTo>
                <a:cubicBezTo>
                  <a:pt x="1773401" y="4422700"/>
                  <a:pt x="1767473" y="4428628"/>
                  <a:pt x="1767473" y="4428628"/>
                </a:cubicBezTo>
                <a:cubicBezTo>
                  <a:pt x="1761545" y="4422700"/>
                  <a:pt x="1755617" y="4422700"/>
                  <a:pt x="1749689" y="4416771"/>
                </a:cubicBezTo>
                <a:cubicBezTo>
                  <a:pt x="1743761" y="4416771"/>
                  <a:pt x="1737833" y="4416771"/>
                  <a:pt x="1737833" y="4416771"/>
                </a:cubicBezTo>
                <a:cubicBezTo>
                  <a:pt x="1725977" y="4428628"/>
                  <a:pt x="1731905" y="4446414"/>
                  <a:pt x="1725977" y="4458271"/>
                </a:cubicBezTo>
                <a:cubicBezTo>
                  <a:pt x="1725977" y="4464199"/>
                  <a:pt x="1720049" y="4464199"/>
                  <a:pt x="1714121" y="4470128"/>
                </a:cubicBezTo>
                <a:cubicBezTo>
                  <a:pt x="1714121" y="4440485"/>
                  <a:pt x="1714121" y="4416771"/>
                  <a:pt x="1714121" y="4387128"/>
                </a:cubicBezTo>
                <a:cubicBezTo>
                  <a:pt x="1708193" y="4381200"/>
                  <a:pt x="1714121" y="4375271"/>
                  <a:pt x="1714121" y="4363414"/>
                </a:cubicBezTo>
                <a:cubicBezTo>
                  <a:pt x="1714121" y="4339700"/>
                  <a:pt x="1720049" y="4315986"/>
                  <a:pt x="1714121" y="4292272"/>
                </a:cubicBezTo>
                <a:cubicBezTo>
                  <a:pt x="1714121" y="4286343"/>
                  <a:pt x="1708193" y="4280414"/>
                  <a:pt x="1702265" y="4280414"/>
                </a:cubicBezTo>
                <a:cubicBezTo>
                  <a:pt x="1708193" y="4262629"/>
                  <a:pt x="1708193" y="4250772"/>
                  <a:pt x="1708193" y="4232986"/>
                </a:cubicBezTo>
                <a:cubicBezTo>
                  <a:pt x="1708193" y="4227057"/>
                  <a:pt x="1702265" y="4227057"/>
                  <a:pt x="1702265" y="4221129"/>
                </a:cubicBezTo>
                <a:cubicBezTo>
                  <a:pt x="1696337" y="4221129"/>
                  <a:pt x="1696337" y="4221129"/>
                  <a:pt x="1690409" y="4221129"/>
                </a:cubicBezTo>
                <a:cubicBezTo>
                  <a:pt x="1690409" y="4227057"/>
                  <a:pt x="1690409" y="4232986"/>
                  <a:pt x="1690409" y="4238915"/>
                </a:cubicBezTo>
                <a:cubicBezTo>
                  <a:pt x="1690409" y="4244843"/>
                  <a:pt x="1696337" y="4250772"/>
                  <a:pt x="1690409" y="4256700"/>
                </a:cubicBezTo>
                <a:cubicBezTo>
                  <a:pt x="1672625" y="4256700"/>
                  <a:pt x="1660769" y="4250772"/>
                  <a:pt x="1648913" y="4244843"/>
                </a:cubicBezTo>
                <a:cubicBezTo>
                  <a:pt x="1642985" y="4232986"/>
                  <a:pt x="1637057" y="4227057"/>
                  <a:pt x="1619273" y="4227057"/>
                </a:cubicBezTo>
                <a:cubicBezTo>
                  <a:pt x="1613345" y="4238915"/>
                  <a:pt x="1607417" y="4256700"/>
                  <a:pt x="1601489" y="4268557"/>
                </a:cubicBezTo>
                <a:cubicBezTo>
                  <a:pt x="1595561" y="4262629"/>
                  <a:pt x="1589633" y="4262629"/>
                  <a:pt x="1583705" y="4256700"/>
                </a:cubicBezTo>
                <a:cubicBezTo>
                  <a:pt x="1559993" y="4268557"/>
                  <a:pt x="1577777" y="4286343"/>
                  <a:pt x="1565921" y="4304129"/>
                </a:cubicBezTo>
                <a:cubicBezTo>
                  <a:pt x="1559993" y="4298200"/>
                  <a:pt x="1559993" y="4292272"/>
                  <a:pt x="1554065" y="4286343"/>
                </a:cubicBezTo>
                <a:cubicBezTo>
                  <a:pt x="1554065" y="4268557"/>
                  <a:pt x="1559993" y="4256700"/>
                  <a:pt x="1548137" y="4250772"/>
                </a:cubicBezTo>
                <a:cubicBezTo>
                  <a:pt x="1554065" y="4232986"/>
                  <a:pt x="1559993" y="4221129"/>
                  <a:pt x="1559993" y="4209272"/>
                </a:cubicBezTo>
                <a:cubicBezTo>
                  <a:pt x="1548137" y="4197415"/>
                  <a:pt x="1542209" y="4185557"/>
                  <a:pt x="1548137" y="4167772"/>
                </a:cubicBezTo>
                <a:cubicBezTo>
                  <a:pt x="1554065" y="4155915"/>
                  <a:pt x="1554065" y="4144058"/>
                  <a:pt x="1554065" y="4126272"/>
                </a:cubicBezTo>
                <a:cubicBezTo>
                  <a:pt x="1554065" y="4126272"/>
                  <a:pt x="1559993" y="4120343"/>
                  <a:pt x="1559993" y="4114415"/>
                </a:cubicBezTo>
                <a:cubicBezTo>
                  <a:pt x="1571849" y="4114415"/>
                  <a:pt x="1577777" y="4120343"/>
                  <a:pt x="1571849" y="4132200"/>
                </a:cubicBezTo>
                <a:cubicBezTo>
                  <a:pt x="1565921" y="4149986"/>
                  <a:pt x="1577777" y="4167772"/>
                  <a:pt x="1577777" y="4191486"/>
                </a:cubicBezTo>
                <a:cubicBezTo>
                  <a:pt x="1577777" y="4197415"/>
                  <a:pt x="1583705" y="4203343"/>
                  <a:pt x="1589633" y="4197415"/>
                </a:cubicBezTo>
                <a:cubicBezTo>
                  <a:pt x="1595561" y="4132200"/>
                  <a:pt x="1595561" y="4114415"/>
                  <a:pt x="1583705" y="4072915"/>
                </a:cubicBezTo>
                <a:cubicBezTo>
                  <a:pt x="1583705" y="4072915"/>
                  <a:pt x="1577777" y="4072915"/>
                  <a:pt x="1571849" y="4072915"/>
                </a:cubicBezTo>
                <a:cubicBezTo>
                  <a:pt x="1571849" y="4078844"/>
                  <a:pt x="1565921" y="4078844"/>
                  <a:pt x="1565921" y="4078844"/>
                </a:cubicBezTo>
                <a:cubicBezTo>
                  <a:pt x="1565921" y="4078844"/>
                  <a:pt x="1559993" y="4078844"/>
                  <a:pt x="1559993" y="4078844"/>
                </a:cubicBezTo>
                <a:cubicBezTo>
                  <a:pt x="1554065" y="4066986"/>
                  <a:pt x="1548137" y="4055129"/>
                  <a:pt x="1542209" y="4037344"/>
                </a:cubicBezTo>
                <a:cubicBezTo>
                  <a:pt x="1536281" y="4055129"/>
                  <a:pt x="1536281" y="4066986"/>
                  <a:pt x="1536281" y="4078844"/>
                </a:cubicBezTo>
                <a:cubicBezTo>
                  <a:pt x="1536281" y="4090701"/>
                  <a:pt x="1530353" y="4102558"/>
                  <a:pt x="1536281" y="4120343"/>
                </a:cubicBezTo>
                <a:cubicBezTo>
                  <a:pt x="1542209" y="4132200"/>
                  <a:pt x="1530353" y="4144058"/>
                  <a:pt x="1530353" y="4155915"/>
                </a:cubicBezTo>
                <a:cubicBezTo>
                  <a:pt x="1524425" y="4161843"/>
                  <a:pt x="1536281" y="4173700"/>
                  <a:pt x="1524425" y="4179629"/>
                </a:cubicBezTo>
                <a:cubicBezTo>
                  <a:pt x="1524425" y="4173700"/>
                  <a:pt x="1518497" y="4167772"/>
                  <a:pt x="1512569" y="4161843"/>
                </a:cubicBezTo>
                <a:cubicBezTo>
                  <a:pt x="1512569" y="4144058"/>
                  <a:pt x="1512569" y="4120343"/>
                  <a:pt x="1512569" y="4102558"/>
                </a:cubicBezTo>
                <a:cubicBezTo>
                  <a:pt x="1512569" y="4090701"/>
                  <a:pt x="1506641" y="4084772"/>
                  <a:pt x="1506641" y="4078844"/>
                </a:cubicBezTo>
                <a:cubicBezTo>
                  <a:pt x="1506641" y="4066986"/>
                  <a:pt x="1512569" y="4055129"/>
                  <a:pt x="1512569" y="4037344"/>
                </a:cubicBezTo>
                <a:cubicBezTo>
                  <a:pt x="1512569" y="4031415"/>
                  <a:pt x="1506641" y="4019558"/>
                  <a:pt x="1506641" y="4007701"/>
                </a:cubicBezTo>
                <a:cubicBezTo>
                  <a:pt x="1512569" y="3983987"/>
                  <a:pt x="1524425" y="3966201"/>
                  <a:pt x="1524425" y="3942487"/>
                </a:cubicBezTo>
                <a:cubicBezTo>
                  <a:pt x="1518497" y="3936558"/>
                  <a:pt x="1512569" y="3930630"/>
                  <a:pt x="1506641" y="3924701"/>
                </a:cubicBezTo>
                <a:cubicBezTo>
                  <a:pt x="1506641" y="3912844"/>
                  <a:pt x="1512569" y="3900987"/>
                  <a:pt x="1524425" y="3895058"/>
                </a:cubicBezTo>
                <a:cubicBezTo>
                  <a:pt x="1536281" y="3906916"/>
                  <a:pt x="1536281" y="3924701"/>
                  <a:pt x="1536281" y="3942487"/>
                </a:cubicBezTo>
                <a:cubicBezTo>
                  <a:pt x="1536281" y="3960272"/>
                  <a:pt x="1536281" y="3972130"/>
                  <a:pt x="1536281" y="3989915"/>
                </a:cubicBezTo>
                <a:cubicBezTo>
                  <a:pt x="1554065" y="3983987"/>
                  <a:pt x="1542209" y="3966201"/>
                  <a:pt x="1554065" y="3954344"/>
                </a:cubicBezTo>
                <a:cubicBezTo>
                  <a:pt x="1559993" y="3942487"/>
                  <a:pt x="1559993" y="3930630"/>
                  <a:pt x="1559993" y="3918773"/>
                </a:cubicBezTo>
                <a:cubicBezTo>
                  <a:pt x="1571849" y="3912844"/>
                  <a:pt x="1577777" y="3912844"/>
                  <a:pt x="1583705" y="3912844"/>
                </a:cubicBezTo>
                <a:cubicBezTo>
                  <a:pt x="1595561" y="3889130"/>
                  <a:pt x="1595561" y="3889130"/>
                  <a:pt x="1583705" y="3847630"/>
                </a:cubicBezTo>
                <a:cubicBezTo>
                  <a:pt x="1583705" y="3841701"/>
                  <a:pt x="1589633" y="3835773"/>
                  <a:pt x="1589633" y="3823916"/>
                </a:cubicBezTo>
                <a:cubicBezTo>
                  <a:pt x="1589633" y="3817987"/>
                  <a:pt x="1589633" y="3812059"/>
                  <a:pt x="1595561" y="3800202"/>
                </a:cubicBezTo>
                <a:cubicBezTo>
                  <a:pt x="1589633" y="3788345"/>
                  <a:pt x="1583705" y="3782416"/>
                  <a:pt x="1583705" y="3770559"/>
                </a:cubicBezTo>
                <a:cubicBezTo>
                  <a:pt x="1577777" y="3758702"/>
                  <a:pt x="1577777" y="3746845"/>
                  <a:pt x="1577777" y="3734988"/>
                </a:cubicBezTo>
                <a:cubicBezTo>
                  <a:pt x="1571849" y="3734988"/>
                  <a:pt x="1565921" y="3729059"/>
                  <a:pt x="1559993" y="3723130"/>
                </a:cubicBezTo>
                <a:cubicBezTo>
                  <a:pt x="1559993" y="3693488"/>
                  <a:pt x="1559993" y="3663845"/>
                  <a:pt x="1559993" y="3634202"/>
                </a:cubicBezTo>
                <a:cubicBezTo>
                  <a:pt x="1559993" y="3628274"/>
                  <a:pt x="1559993" y="3616417"/>
                  <a:pt x="1571849" y="3610488"/>
                </a:cubicBezTo>
                <a:cubicBezTo>
                  <a:pt x="1571849" y="3622345"/>
                  <a:pt x="1571849" y="3634202"/>
                  <a:pt x="1577777" y="3646059"/>
                </a:cubicBezTo>
                <a:cubicBezTo>
                  <a:pt x="1583705" y="3663845"/>
                  <a:pt x="1583705" y="3681631"/>
                  <a:pt x="1571849" y="3699416"/>
                </a:cubicBezTo>
                <a:cubicBezTo>
                  <a:pt x="1571849" y="3699416"/>
                  <a:pt x="1571849" y="3705345"/>
                  <a:pt x="1571849" y="3711273"/>
                </a:cubicBezTo>
                <a:cubicBezTo>
                  <a:pt x="1577777" y="3717202"/>
                  <a:pt x="1583705" y="3717202"/>
                  <a:pt x="1589633" y="3717202"/>
                </a:cubicBezTo>
                <a:cubicBezTo>
                  <a:pt x="1595561" y="3711273"/>
                  <a:pt x="1589633" y="3693488"/>
                  <a:pt x="1601489" y="3687559"/>
                </a:cubicBezTo>
                <a:cubicBezTo>
                  <a:pt x="1601489" y="3687559"/>
                  <a:pt x="1607417" y="3687559"/>
                  <a:pt x="1607417" y="3693488"/>
                </a:cubicBezTo>
                <a:cubicBezTo>
                  <a:pt x="1613345" y="3711273"/>
                  <a:pt x="1613345" y="3723130"/>
                  <a:pt x="1619273" y="3740916"/>
                </a:cubicBezTo>
                <a:cubicBezTo>
                  <a:pt x="1619273" y="3746845"/>
                  <a:pt x="1625201" y="3752773"/>
                  <a:pt x="1625201" y="3752773"/>
                </a:cubicBezTo>
                <a:cubicBezTo>
                  <a:pt x="1637057" y="3746845"/>
                  <a:pt x="1654841" y="3758702"/>
                  <a:pt x="1666697" y="3746845"/>
                </a:cubicBezTo>
                <a:cubicBezTo>
                  <a:pt x="1672625" y="3729059"/>
                  <a:pt x="1672625" y="3711273"/>
                  <a:pt x="1672625" y="3699416"/>
                </a:cubicBezTo>
                <a:cubicBezTo>
                  <a:pt x="1672625" y="3693488"/>
                  <a:pt x="1666697" y="3693488"/>
                  <a:pt x="1666697" y="3687559"/>
                </a:cubicBezTo>
                <a:cubicBezTo>
                  <a:pt x="1660769" y="3687559"/>
                  <a:pt x="1654841" y="3693488"/>
                  <a:pt x="1654841" y="3699416"/>
                </a:cubicBezTo>
                <a:cubicBezTo>
                  <a:pt x="1648913" y="3705345"/>
                  <a:pt x="1654841" y="3717202"/>
                  <a:pt x="1654841" y="3723130"/>
                </a:cubicBezTo>
                <a:cubicBezTo>
                  <a:pt x="1654841" y="3729059"/>
                  <a:pt x="1654841" y="3729059"/>
                  <a:pt x="1648913" y="3734988"/>
                </a:cubicBezTo>
                <a:cubicBezTo>
                  <a:pt x="1642985" y="3734988"/>
                  <a:pt x="1637057" y="3734988"/>
                  <a:pt x="1637057" y="3729059"/>
                </a:cubicBezTo>
                <a:cubicBezTo>
                  <a:pt x="1631129" y="3723130"/>
                  <a:pt x="1631129" y="3717202"/>
                  <a:pt x="1631129" y="3717202"/>
                </a:cubicBezTo>
                <a:cubicBezTo>
                  <a:pt x="1631129" y="3699416"/>
                  <a:pt x="1637057" y="3687559"/>
                  <a:pt x="1631129" y="3675702"/>
                </a:cubicBezTo>
                <a:cubicBezTo>
                  <a:pt x="1631129" y="3657916"/>
                  <a:pt x="1631129" y="3646059"/>
                  <a:pt x="1637057" y="3634202"/>
                </a:cubicBezTo>
                <a:cubicBezTo>
                  <a:pt x="1637057" y="3628274"/>
                  <a:pt x="1637057" y="3616417"/>
                  <a:pt x="1637057" y="3610488"/>
                </a:cubicBezTo>
                <a:cubicBezTo>
                  <a:pt x="1637057" y="3592702"/>
                  <a:pt x="1625201" y="3574917"/>
                  <a:pt x="1625201" y="3551202"/>
                </a:cubicBezTo>
                <a:cubicBezTo>
                  <a:pt x="1625201" y="3545274"/>
                  <a:pt x="1619273" y="3545274"/>
                  <a:pt x="1619273" y="3545274"/>
                </a:cubicBezTo>
                <a:cubicBezTo>
                  <a:pt x="1613345" y="3557131"/>
                  <a:pt x="1613345" y="3568988"/>
                  <a:pt x="1613345" y="3580845"/>
                </a:cubicBezTo>
                <a:cubicBezTo>
                  <a:pt x="1607417" y="3592702"/>
                  <a:pt x="1607417" y="3598631"/>
                  <a:pt x="1595561" y="3610488"/>
                </a:cubicBezTo>
                <a:cubicBezTo>
                  <a:pt x="1589633" y="3610488"/>
                  <a:pt x="1577777" y="3610488"/>
                  <a:pt x="1571849" y="3610488"/>
                </a:cubicBezTo>
                <a:cubicBezTo>
                  <a:pt x="1565921" y="3604559"/>
                  <a:pt x="1559993" y="3598631"/>
                  <a:pt x="1559993" y="3586774"/>
                </a:cubicBezTo>
                <a:cubicBezTo>
                  <a:pt x="1559993" y="3580845"/>
                  <a:pt x="1565921" y="3574917"/>
                  <a:pt x="1565921" y="3568988"/>
                </a:cubicBezTo>
                <a:cubicBezTo>
                  <a:pt x="1571849" y="3574917"/>
                  <a:pt x="1577777" y="3574917"/>
                  <a:pt x="1583705" y="3580845"/>
                </a:cubicBezTo>
                <a:cubicBezTo>
                  <a:pt x="1589633" y="3574917"/>
                  <a:pt x="1589633" y="3586774"/>
                  <a:pt x="1589633" y="3574917"/>
                </a:cubicBezTo>
                <a:cubicBezTo>
                  <a:pt x="1589633" y="3563060"/>
                  <a:pt x="1589633" y="3551202"/>
                  <a:pt x="1589633" y="3545274"/>
                </a:cubicBezTo>
                <a:cubicBezTo>
                  <a:pt x="1583705" y="3521560"/>
                  <a:pt x="1589633" y="3497845"/>
                  <a:pt x="1595561" y="3480060"/>
                </a:cubicBezTo>
                <a:cubicBezTo>
                  <a:pt x="1601489" y="3468203"/>
                  <a:pt x="1613345" y="3480060"/>
                  <a:pt x="1619273" y="3474131"/>
                </a:cubicBezTo>
                <a:cubicBezTo>
                  <a:pt x="1631129" y="3468203"/>
                  <a:pt x="1637057" y="3456346"/>
                  <a:pt x="1637057" y="3444489"/>
                </a:cubicBezTo>
                <a:cubicBezTo>
                  <a:pt x="1631129" y="3432631"/>
                  <a:pt x="1631129" y="3426703"/>
                  <a:pt x="1625201" y="3414846"/>
                </a:cubicBezTo>
                <a:cubicBezTo>
                  <a:pt x="1625201" y="3408917"/>
                  <a:pt x="1625201" y="3402989"/>
                  <a:pt x="1631129" y="3397060"/>
                </a:cubicBezTo>
                <a:cubicBezTo>
                  <a:pt x="1642985" y="3397060"/>
                  <a:pt x="1660769" y="3397060"/>
                  <a:pt x="1672625" y="3397060"/>
                </a:cubicBezTo>
                <a:cubicBezTo>
                  <a:pt x="1672625" y="3391132"/>
                  <a:pt x="1666697" y="3379274"/>
                  <a:pt x="1666697" y="3373346"/>
                </a:cubicBezTo>
                <a:cubicBezTo>
                  <a:pt x="1672625" y="3367417"/>
                  <a:pt x="1678553" y="3361489"/>
                  <a:pt x="1684481" y="3361489"/>
                </a:cubicBezTo>
                <a:cubicBezTo>
                  <a:pt x="1690409" y="3349632"/>
                  <a:pt x="1678553" y="3337775"/>
                  <a:pt x="1678553" y="3325917"/>
                </a:cubicBezTo>
                <a:cubicBezTo>
                  <a:pt x="1672625" y="3319989"/>
                  <a:pt x="1672625" y="3308132"/>
                  <a:pt x="1672625" y="3296275"/>
                </a:cubicBezTo>
                <a:cubicBezTo>
                  <a:pt x="1678553" y="3296275"/>
                  <a:pt x="1684481" y="3302203"/>
                  <a:pt x="1690409" y="3302203"/>
                </a:cubicBezTo>
                <a:cubicBezTo>
                  <a:pt x="1696337" y="3308132"/>
                  <a:pt x="1702265" y="3314060"/>
                  <a:pt x="1702265" y="3314060"/>
                </a:cubicBezTo>
                <a:cubicBezTo>
                  <a:pt x="1714121" y="3314060"/>
                  <a:pt x="1714121" y="3308132"/>
                  <a:pt x="1714121" y="3302203"/>
                </a:cubicBezTo>
                <a:cubicBezTo>
                  <a:pt x="1714121" y="3284418"/>
                  <a:pt x="1714121" y="3266632"/>
                  <a:pt x="1714121" y="3248846"/>
                </a:cubicBezTo>
                <a:cubicBezTo>
                  <a:pt x="1714121" y="3236989"/>
                  <a:pt x="1720049" y="3231061"/>
                  <a:pt x="1720049" y="3225132"/>
                </a:cubicBezTo>
                <a:cubicBezTo>
                  <a:pt x="1737833" y="3219204"/>
                  <a:pt x="1749689" y="3231061"/>
                  <a:pt x="1761545" y="3225132"/>
                </a:cubicBezTo>
                <a:cubicBezTo>
                  <a:pt x="1773401" y="3219204"/>
                  <a:pt x="1785257" y="3231061"/>
                  <a:pt x="1791185" y="3225132"/>
                </a:cubicBezTo>
                <a:cubicBezTo>
                  <a:pt x="1803041" y="3219204"/>
                  <a:pt x="1808969" y="3207346"/>
                  <a:pt x="1808969" y="3195489"/>
                </a:cubicBezTo>
                <a:cubicBezTo>
                  <a:pt x="1808969" y="3165847"/>
                  <a:pt x="1808969" y="3130275"/>
                  <a:pt x="1808969" y="3094704"/>
                </a:cubicBezTo>
                <a:cubicBezTo>
                  <a:pt x="1808969" y="3088775"/>
                  <a:pt x="1808969" y="3082847"/>
                  <a:pt x="1814897" y="3070990"/>
                </a:cubicBezTo>
                <a:cubicBezTo>
                  <a:pt x="1814897" y="3065061"/>
                  <a:pt x="1814897" y="3053204"/>
                  <a:pt x="1820825" y="3047276"/>
                </a:cubicBezTo>
                <a:cubicBezTo>
                  <a:pt x="1826753" y="3059133"/>
                  <a:pt x="1832681" y="3070990"/>
                  <a:pt x="1838609" y="3088775"/>
                </a:cubicBezTo>
                <a:cubicBezTo>
                  <a:pt x="1838609" y="3094704"/>
                  <a:pt x="1838609" y="3106561"/>
                  <a:pt x="1832681" y="3112490"/>
                </a:cubicBezTo>
                <a:cubicBezTo>
                  <a:pt x="1832681" y="3124347"/>
                  <a:pt x="1838609" y="3136204"/>
                  <a:pt x="1850465" y="3148061"/>
                </a:cubicBezTo>
                <a:cubicBezTo>
                  <a:pt x="1880105" y="3148061"/>
                  <a:pt x="1880105" y="3148061"/>
                  <a:pt x="1891961" y="3112490"/>
                </a:cubicBezTo>
                <a:cubicBezTo>
                  <a:pt x="1886033" y="3106561"/>
                  <a:pt x="1886033" y="3100633"/>
                  <a:pt x="1880105" y="3106561"/>
                </a:cubicBezTo>
                <a:cubicBezTo>
                  <a:pt x="1874177" y="3112490"/>
                  <a:pt x="1874177" y="3118418"/>
                  <a:pt x="1868249" y="3124347"/>
                </a:cubicBezTo>
                <a:cubicBezTo>
                  <a:pt x="1868249" y="3124347"/>
                  <a:pt x="1862321" y="3130275"/>
                  <a:pt x="1862321" y="3130275"/>
                </a:cubicBezTo>
                <a:cubicBezTo>
                  <a:pt x="1862321" y="3130275"/>
                  <a:pt x="1856393" y="3130275"/>
                  <a:pt x="1856393" y="3130275"/>
                </a:cubicBezTo>
                <a:cubicBezTo>
                  <a:pt x="1856393" y="3130275"/>
                  <a:pt x="1856393" y="3124347"/>
                  <a:pt x="1856393" y="3124347"/>
                </a:cubicBezTo>
                <a:cubicBezTo>
                  <a:pt x="1850465" y="3106561"/>
                  <a:pt x="1862321" y="3094704"/>
                  <a:pt x="1868249" y="3076918"/>
                </a:cubicBezTo>
                <a:cubicBezTo>
                  <a:pt x="1874177" y="3065061"/>
                  <a:pt x="1886033" y="3059133"/>
                  <a:pt x="1891961" y="3053204"/>
                </a:cubicBezTo>
                <a:cubicBezTo>
                  <a:pt x="1897889" y="3035418"/>
                  <a:pt x="1891961" y="3017633"/>
                  <a:pt x="1891961" y="3005776"/>
                </a:cubicBezTo>
                <a:cubicBezTo>
                  <a:pt x="1891961" y="2999847"/>
                  <a:pt x="1897889" y="2993919"/>
                  <a:pt x="1897889" y="2993919"/>
                </a:cubicBezTo>
                <a:cubicBezTo>
                  <a:pt x="1903817" y="2993919"/>
                  <a:pt x="1903817" y="2993919"/>
                  <a:pt x="1903817" y="2993919"/>
                </a:cubicBezTo>
                <a:cubicBezTo>
                  <a:pt x="1915673" y="2999847"/>
                  <a:pt x="1909745" y="3017633"/>
                  <a:pt x="1921601" y="3017633"/>
                </a:cubicBezTo>
                <a:cubicBezTo>
                  <a:pt x="1933457" y="3005776"/>
                  <a:pt x="1933457" y="2993919"/>
                  <a:pt x="1933457" y="2976133"/>
                </a:cubicBezTo>
                <a:cubicBezTo>
                  <a:pt x="1933457" y="2970204"/>
                  <a:pt x="1927529" y="2964276"/>
                  <a:pt x="1933457" y="2958347"/>
                </a:cubicBezTo>
                <a:cubicBezTo>
                  <a:pt x="1933457" y="2946490"/>
                  <a:pt x="1939385" y="2928705"/>
                  <a:pt x="1945313" y="2910919"/>
                </a:cubicBezTo>
                <a:cubicBezTo>
                  <a:pt x="1945313" y="2904990"/>
                  <a:pt x="1951241" y="2893133"/>
                  <a:pt x="1957169" y="2887205"/>
                </a:cubicBezTo>
                <a:cubicBezTo>
                  <a:pt x="1969025" y="2869419"/>
                  <a:pt x="1986809" y="2869419"/>
                  <a:pt x="2004593" y="2857562"/>
                </a:cubicBezTo>
                <a:cubicBezTo>
                  <a:pt x="2010521" y="2845705"/>
                  <a:pt x="2004593" y="2827919"/>
                  <a:pt x="2004593" y="2816062"/>
                </a:cubicBezTo>
                <a:cubicBezTo>
                  <a:pt x="1998665" y="2804205"/>
                  <a:pt x="1986809" y="2792348"/>
                  <a:pt x="1980881" y="2786419"/>
                </a:cubicBezTo>
                <a:cubicBezTo>
                  <a:pt x="1969025" y="2774562"/>
                  <a:pt x="1974953" y="2756777"/>
                  <a:pt x="1957169" y="2738991"/>
                </a:cubicBezTo>
                <a:cubicBezTo>
                  <a:pt x="1957169" y="2738991"/>
                  <a:pt x="1945313" y="2733062"/>
                  <a:pt x="1939385" y="2727134"/>
                </a:cubicBezTo>
                <a:cubicBezTo>
                  <a:pt x="1933457" y="2715277"/>
                  <a:pt x="1939385" y="2703420"/>
                  <a:pt x="1933457" y="2691562"/>
                </a:cubicBezTo>
                <a:cubicBezTo>
                  <a:pt x="1933457" y="2685634"/>
                  <a:pt x="1933457" y="2673777"/>
                  <a:pt x="1933457" y="2661920"/>
                </a:cubicBezTo>
                <a:cubicBezTo>
                  <a:pt x="1933457" y="2655991"/>
                  <a:pt x="1933457" y="2644134"/>
                  <a:pt x="1927529" y="2632277"/>
                </a:cubicBezTo>
                <a:cubicBezTo>
                  <a:pt x="1915673" y="2644134"/>
                  <a:pt x="1921601" y="2661920"/>
                  <a:pt x="1915673" y="2679705"/>
                </a:cubicBezTo>
                <a:cubicBezTo>
                  <a:pt x="1909745" y="2691562"/>
                  <a:pt x="1909745" y="2709348"/>
                  <a:pt x="1903817" y="2721205"/>
                </a:cubicBezTo>
                <a:cubicBezTo>
                  <a:pt x="1903817" y="2721205"/>
                  <a:pt x="1897889" y="2721205"/>
                  <a:pt x="1897889" y="2721205"/>
                </a:cubicBezTo>
                <a:cubicBezTo>
                  <a:pt x="1897889" y="2709348"/>
                  <a:pt x="1891961" y="2697491"/>
                  <a:pt x="1891961" y="2685634"/>
                </a:cubicBezTo>
                <a:cubicBezTo>
                  <a:pt x="1897889" y="2673777"/>
                  <a:pt x="1897889" y="2661920"/>
                  <a:pt x="1903817" y="2650063"/>
                </a:cubicBezTo>
                <a:cubicBezTo>
                  <a:pt x="1903817" y="2644134"/>
                  <a:pt x="1897889" y="2632277"/>
                  <a:pt x="1886033" y="2632277"/>
                </a:cubicBezTo>
                <a:cubicBezTo>
                  <a:pt x="1880105" y="2644134"/>
                  <a:pt x="1874177" y="2661920"/>
                  <a:pt x="1874177" y="2679705"/>
                </a:cubicBezTo>
                <a:cubicBezTo>
                  <a:pt x="1862321" y="2691562"/>
                  <a:pt x="1850465" y="2691562"/>
                  <a:pt x="1850465" y="2709348"/>
                </a:cubicBezTo>
                <a:cubicBezTo>
                  <a:pt x="1838609" y="2727134"/>
                  <a:pt x="1838609" y="2744919"/>
                  <a:pt x="1844537" y="2768634"/>
                </a:cubicBezTo>
                <a:cubicBezTo>
                  <a:pt x="1856393" y="2762705"/>
                  <a:pt x="1862321" y="2750848"/>
                  <a:pt x="1862321" y="2738991"/>
                </a:cubicBezTo>
                <a:cubicBezTo>
                  <a:pt x="1856393" y="2733062"/>
                  <a:pt x="1856393" y="2721205"/>
                  <a:pt x="1850465" y="2709348"/>
                </a:cubicBezTo>
                <a:cubicBezTo>
                  <a:pt x="1856393" y="2709348"/>
                  <a:pt x="1868249" y="2709348"/>
                  <a:pt x="1874177" y="2709348"/>
                </a:cubicBezTo>
                <a:cubicBezTo>
                  <a:pt x="1880105" y="2738991"/>
                  <a:pt x="1868249" y="2762705"/>
                  <a:pt x="1862321" y="2792348"/>
                </a:cubicBezTo>
                <a:cubicBezTo>
                  <a:pt x="1862321" y="2786419"/>
                  <a:pt x="1862321" y="2786419"/>
                  <a:pt x="1862321" y="2786419"/>
                </a:cubicBezTo>
                <a:cubicBezTo>
                  <a:pt x="1856393" y="2792348"/>
                  <a:pt x="1850465" y="2792348"/>
                  <a:pt x="1838609" y="2792348"/>
                </a:cubicBezTo>
                <a:cubicBezTo>
                  <a:pt x="1832681" y="2798276"/>
                  <a:pt x="1826753" y="2798276"/>
                  <a:pt x="1826753" y="2804205"/>
                </a:cubicBezTo>
                <a:cubicBezTo>
                  <a:pt x="1820825" y="2810134"/>
                  <a:pt x="1814897" y="2810134"/>
                  <a:pt x="1808969" y="2810134"/>
                </a:cubicBezTo>
                <a:cubicBezTo>
                  <a:pt x="1797113" y="2816062"/>
                  <a:pt x="1791185" y="2821991"/>
                  <a:pt x="1779329" y="2827919"/>
                </a:cubicBezTo>
                <a:cubicBezTo>
                  <a:pt x="1773401" y="2833848"/>
                  <a:pt x="1773401" y="2827919"/>
                  <a:pt x="1767473" y="2821991"/>
                </a:cubicBezTo>
                <a:cubicBezTo>
                  <a:pt x="1761545" y="2821991"/>
                  <a:pt x="1761545" y="2821991"/>
                  <a:pt x="1755617" y="2821991"/>
                </a:cubicBezTo>
                <a:cubicBezTo>
                  <a:pt x="1755617" y="2833848"/>
                  <a:pt x="1749689" y="2851633"/>
                  <a:pt x="1743761" y="2863490"/>
                </a:cubicBezTo>
                <a:cubicBezTo>
                  <a:pt x="1743761" y="2869419"/>
                  <a:pt x="1743761" y="2875348"/>
                  <a:pt x="1737833" y="2881276"/>
                </a:cubicBezTo>
                <a:cubicBezTo>
                  <a:pt x="1731905" y="2881276"/>
                  <a:pt x="1720049" y="2887205"/>
                  <a:pt x="1714121" y="2887205"/>
                </a:cubicBezTo>
                <a:cubicBezTo>
                  <a:pt x="1696337" y="2910919"/>
                  <a:pt x="1702265" y="2940562"/>
                  <a:pt x="1684481" y="2958347"/>
                </a:cubicBezTo>
                <a:cubicBezTo>
                  <a:pt x="1684481" y="2964276"/>
                  <a:pt x="1678553" y="2964276"/>
                  <a:pt x="1678553" y="2964276"/>
                </a:cubicBezTo>
                <a:cubicBezTo>
                  <a:pt x="1672625" y="2958347"/>
                  <a:pt x="1666697" y="2958347"/>
                  <a:pt x="1660769" y="2952419"/>
                </a:cubicBezTo>
                <a:cubicBezTo>
                  <a:pt x="1654841" y="2952419"/>
                  <a:pt x="1648913" y="2952419"/>
                  <a:pt x="1648913" y="2958347"/>
                </a:cubicBezTo>
                <a:cubicBezTo>
                  <a:pt x="1642985" y="2964276"/>
                  <a:pt x="1642985" y="2976133"/>
                  <a:pt x="1648913" y="2982062"/>
                </a:cubicBezTo>
                <a:cubicBezTo>
                  <a:pt x="1648913" y="2987990"/>
                  <a:pt x="1648913" y="2993919"/>
                  <a:pt x="1648913" y="2993919"/>
                </a:cubicBezTo>
                <a:cubicBezTo>
                  <a:pt x="1637057" y="3005776"/>
                  <a:pt x="1625201" y="3005776"/>
                  <a:pt x="1619273" y="3017633"/>
                </a:cubicBezTo>
                <a:cubicBezTo>
                  <a:pt x="1619273" y="3023561"/>
                  <a:pt x="1613345" y="3035418"/>
                  <a:pt x="1613345" y="3041347"/>
                </a:cubicBezTo>
                <a:cubicBezTo>
                  <a:pt x="1601489" y="3047276"/>
                  <a:pt x="1595561" y="3041347"/>
                  <a:pt x="1589633" y="3035418"/>
                </a:cubicBezTo>
                <a:cubicBezTo>
                  <a:pt x="1571849" y="3053204"/>
                  <a:pt x="1554065" y="3070990"/>
                  <a:pt x="1536281" y="3088775"/>
                </a:cubicBezTo>
                <a:cubicBezTo>
                  <a:pt x="1518497" y="3112490"/>
                  <a:pt x="1500713" y="3130275"/>
                  <a:pt x="1477001" y="3136204"/>
                </a:cubicBezTo>
                <a:cubicBezTo>
                  <a:pt x="1465145" y="3159918"/>
                  <a:pt x="1459217" y="3183632"/>
                  <a:pt x="1453289" y="3201418"/>
                </a:cubicBezTo>
                <a:cubicBezTo>
                  <a:pt x="1447361" y="3201418"/>
                  <a:pt x="1441433" y="3207346"/>
                  <a:pt x="1441433" y="3207346"/>
                </a:cubicBezTo>
                <a:cubicBezTo>
                  <a:pt x="1417721" y="3207346"/>
                  <a:pt x="1394009" y="3207346"/>
                  <a:pt x="1376225" y="3213275"/>
                </a:cubicBezTo>
                <a:cubicBezTo>
                  <a:pt x="1364369" y="3207346"/>
                  <a:pt x="1364369" y="3195489"/>
                  <a:pt x="1370297" y="3189561"/>
                </a:cubicBezTo>
                <a:cubicBezTo>
                  <a:pt x="1376225" y="3183632"/>
                  <a:pt x="1382153" y="3177704"/>
                  <a:pt x="1388081" y="3171775"/>
                </a:cubicBezTo>
                <a:cubicBezTo>
                  <a:pt x="1388081" y="3177704"/>
                  <a:pt x="1388081" y="3177704"/>
                  <a:pt x="1388081" y="3183632"/>
                </a:cubicBezTo>
                <a:cubicBezTo>
                  <a:pt x="1394009" y="3189561"/>
                  <a:pt x="1394009" y="3189561"/>
                  <a:pt x="1399937" y="3183632"/>
                </a:cubicBezTo>
                <a:cubicBezTo>
                  <a:pt x="1399937" y="3183632"/>
                  <a:pt x="1399937" y="3177704"/>
                  <a:pt x="1399937" y="3177704"/>
                </a:cubicBezTo>
                <a:cubicBezTo>
                  <a:pt x="1394009" y="3177704"/>
                  <a:pt x="1394009" y="3177704"/>
                  <a:pt x="1388081" y="3171775"/>
                </a:cubicBezTo>
                <a:cubicBezTo>
                  <a:pt x="1394009" y="3165847"/>
                  <a:pt x="1399937" y="3159918"/>
                  <a:pt x="1394009" y="3148061"/>
                </a:cubicBezTo>
                <a:cubicBezTo>
                  <a:pt x="1382153" y="3142132"/>
                  <a:pt x="1376225" y="3153989"/>
                  <a:pt x="1364369" y="3153989"/>
                </a:cubicBezTo>
                <a:cubicBezTo>
                  <a:pt x="1352513" y="3171775"/>
                  <a:pt x="1358441" y="3183632"/>
                  <a:pt x="1352513" y="3201418"/>
                </a:cubicBezTo>
                <a:cubicBezTo>
                  <a:pt x="1352513" y="3213275"/>
                  <a:pt x="1346585" y="3225132"/>
                  <a:pt x="1352513" y="3236989"/>
                </a:cubicBezTo>
                <a:cubicBezTo>
                  <a:pt x="1352513" y="3242918"/>
                  <a:pt x="1352513" y="3242918"/>
                  <a:pt x="1352513" y="3242918"/>
                </a:cubicBezTo>
                <a:cubicBezTo>
                  <a:pt x="1346585" y="3272561"/>
                  <a:pt x="1340657" y="3302203"/>
                  <a:pt x="1340657" y="3331846"/>
                </a:cubicBezTo>
                <a:cubicBezTo>
                  <a:pt x="1328801" y="3343703"/>
                  <a:pt x="1311017" y="3337775"/>
                  <a:pt x="1293233" y="3349632"/>
                </a:cubicBezTo>
                <a:cubicBezTo>
                  <a:pt x="1293233" y="3355560"/>
                  <a:pt x="1287305" y="3361489"/>
                  <a:pt x="1281377" y="3373346"/>
                </a:cubicBezTo>
                <a:cubicBezTo>
                  <a:pt x="1275449" y="3379274"/>
                  <a:pt x="1269521" y="3367417"/>
                  <a:pt x="1257665" y="3361489"/>
                </a:cubicBezTo>
                <a:cubicBezTo>
                  <a:pt x="1257665" y="3367417"/>
                  <a:pt x="1251737" y="3367417"/>
                  <a:pt x="1245809" y="3367417"/>
                </a:cubicBezTo>
                <a:cubicBezTo>
                  <a:pt x="1228025" y="3349632"/>
                  <a:pt x="1233953" y="3331846"/>
                  <a:pt x="1222097" y="3314060"/>
                </a:cubicBezTo>
                <a:cubicBezTo>
                  <a:pt x="1222097" y="3314060"/>
                  <a:pt x="1216169" y="3314060"/>
                  <a:pt x="1216169" y="3314060"/>
                </a:cubicBezTo>
                <a:cubicBezTo>
                  <a:pt x="1204313" y="3325917"/>
                  <a:pt x="1192457" y="3337775"/>
                  <a:pt x="1180601" y="3349632"/>
                </a:cubicBezTo>
                <a:cubicBezTo>
                  <a:pt x="1174673" y="3355560"/>
                  <a:pt x="1174673" y="3367417"/>
                  <a:pt x="1168745" y="3379274"/>
                </a:cubicBezTo>
                <a:cubicBezTo>
                  <a:pt x="1168745" y="3385203"/>
                  <a:pt x="1174673" y="3391132"/>
                  <a:pt x="1174673" y="3397060"/>
                </a:cubicBezTo>
                <a:cubicBezTo>
                  <a:pt x="1174673" y="3402989"/>
                  <a:pt x="1168745" y="3414846"/>
                  <a:pt x="1162817" y="3420774"/>
                </a:cubicBezTo>
                <a:cubicBezTo>
                  <a:pt x="1156889" y="3426703"/>
                  <a:pt x="1162817" y="3438560"/>
                  <a:pt x="1150961" y="3438560"/>
                </a:cubicBezTo>
                <a:cubicBezTo>
                  <a:pt x="1150961" y="3438560"/>
                  <a:pt x="1145033" y="3432631"/>
                  <a:pt x="1145033" y="3432631"/>
                </a:cubicBezTo>
                <a:cubicBezTo>
                  <a:pt x="1145033" y="3426703"/>
                  <a:pt x="1145033" y="3414846"/>
                  <a:pt x="1139105" y="3408917"/>
                </a:cubicBezTo>
                <a:cubicBezTo>
                  <a:pt x="1145033" y="3402989"/>
                  <a:pt x="1145033" y="3402989"/>
                  <a:pt x="1139105" y="3397060"/>
                </a:cubicBezTo>
                <a:cubicBezTo>
                  <a:pt x="1145033" y="3391132"/>
                  <a:pt x="1145033" y="3391132"/>
                  <a:pt x="1145033" y="3385203"/>
                </a:cubicBezTo>
                <a:cubicBezTo>
                  <a:pt x="1139105" y="3379274"/>
                  <a:pt x="1139105" y="3379274"/>
                  <a:pt x="1133177" y="3379274"/>
                </a:cubicBezTo>
                <a:cubicBezTo>
                  <a:pt x="1127249" y="3379274"/>
                  <a:pt x="1121321" y="3385203"/>
                  <a:pt x="1115393" y="3385203"/>
                </a:cubicBezTo>
                <a:cubicBezTo>
                  <a:pt x="1109465" y="3385203"/>
                  <a:pt x="1103537" y="3379274"/>
                  <a:pt x="1097609" y="3379274"/>
                </a:cubicBezTo>
                <a:lnTo>
                  <a:pt x="1097453" y="3378182"/>
                </a:lnTo>
                <a:lnTo>
                  <a:pt x="1097609" y="3373346"/>
                </a:lnTo>
                <a:cubicBezTo>
                  <a:pt x="1091681" y="3373346"/>
                  <a:pt x="1091681" y="3373346"/>
                  <a:pt x="1091681" y="3373346"/>
                </a:cubicBezTo>
                <a:cubicBezTo>
                  <a:pt x="1094645" y="3373346"/>
                  <a:pt x="1096127" y="3373346"/>
                  <a:pt x="1096868" y="3374087"/>
                </a:cubicBezTo>
                <a:lnTo>
                  <a:pt x="1097453" y="3378182"/>
                </a:lnTo>
                <a:lnTo>
                  <a:pt x="1096868" y="3396319"/>
                </a:lnTo>
                <a:cubicBezTo>
                  <a:pt x="1096127" y="3402989"/>
                  <a:pt x="1094645" y="3408917"/>
                  <a:pt x="1091681" y="3414846"/>
                </a:cubicBezTo>
                <a:cubicBezTo>
                  <a:pt x="1085753" y="3432631"/>
                  <a:pt x="1085753" y="3444489"/>
                  <a:pt x="1091681" y="3462274"/>
                </a:cubicBezTo>
                <a:cubicBezTo>
                  <a:pt x="1097609" y="3474131"/>
                  <a:pt x="1115393" y="3474131"/>
                  <a:pt x="1121321" y="3480060"/>
                </a:cubicBezTo>
                <a:cubicBezTo>
                  <a:pt x="1121321" y="3503774"/>
                  <a:pt x="1133177" y="3527488"/>
                  <a:pt x="1109465" y="3551202"/>
                </a:cubicBezTo>
                <a:cubicBezTo>
                  <a:pt x="1097609" y="3545274"/>
                  <a:pt x="1097609" y="3533417"/>
                  <a:pt x="1097609" y="3521560"/>
                </a:cubicBezTo>
                <a:cubicBezTo>
                  <a:pt x="1097609" y="3521560"/>
                  <a:pt x="1103537" y="3515631"/>
                  <a:pt x="1103537" y="3515631"/>
                </a:cubicBezTo>
                <a:cubicBezTo>
                  <a:pt x="1103537" y="3509703"/>
                  <a:pt x="1103537" y="3509703"/>
                  <a:pt x="1097609" y="3509703"/>
                </a:cubicBezTo>
                <a:cubicBezTo>
                  <a:pt x="1097609" y="3509703"/>
                  <a:pt x="1097609" y="3509703"/>
                  <a:pt x="1097609" y="3515631"/>
                </a:cubicBezTo>
                <a:cubicBezTo>
                  <a:pt x="1097609" y="3515631"/>
                  <a:pt x="1097609" y="3521560"/>
                  <a:pt x="1097609" y="3521560"/>
                </a:cubicBezTo>
                <a:cubicBezTo>
                  <a:pt x="1091681" y="3527488"/>
                  <a:pt x="1085753" y="3533417"/>
                  <a:pt x="1085753" y="3539345"/>
                </a:cubicBezTo>
                <a:cubicBezTo>
                  <a:pt x="1085753" y="3551202"/>
                  <a:pt x="1085753" y="3563060"/>
                  <a:pt x="1085753" y="3574917"/>
                </a:cubicBezTo>
                <a:cubicBezTo>
                  <a:pt x="1079825" y="3580845"/>
                  <a:pt x="1073897" y="3580845"/>
                  <a:pt x="1067969" y="3580845"/>
                </a:cubicBezTo>
                <a:cubicBezTo>
                  <a:pt x="1056113" y="3574917"/>
                  <a:pt x="1067969" y="3563060"/>
                  <a:pt x="1067969" y="3551202"/>
                </a:cubicBezTo>
                <a:cubicBezTo>
                  <a:pt x="1062041" y="3545274"/>
                  <a:pt x="1056113" y="3545274"/>
                  <a:pt x="1050185" y="3551202"/>
                </a:cubicBezTo>
                <a:cubicBezTo>
                  <a:pt x="1038329" y="3557131"/>
                  <a:pt x="1038329" y="3574917"/>
                  <a:pt x="1020545" y="3574917"/>
                </a:cubicBezTo>
                <a:cubicBezTo>
                  <a:pt x="1014617" y="3568988"/>
                  <a:pt x="1020545" y="3545274"/>
                  <a:pt x="1002761" y="3539345"/>
                </a:cubicBezTo>
                <a:cubicBezTo>
                  <a:pt x="990905" y="3545274"/>
                  <a:pt x="979049" y="3545274"/>
                  <a:pt x="967193" y="3551202"/>
                </a:cubicBezTo>
                <a:cubicBezTo>
                  <a:pt x="961265" y="3557131"/>
                  <a:pt x="961265" y="3563060"/>
                  <a:pt x="955337" y="3574917"/>
                </a:cubicBezTo>
                <a:cubicBezTo>
                  <a:pt x="949409" y="3574917"/>
                  <a:pt x="937553" y="3580845"/>
                  <a:pt x="931625" y="3586774"/>
                </a:cubicBezTo>
                <a:cubicBezTo>
                  <a:pt x="925697" y="3598631"/>
                  <a:pt x="925697" y="3610488"/>
                  <a:pt x="919769" y="3616417"/>
                </a:cubicBezTo>
                <a:cubicBezTo>
                  <a:pt x="919769" y="3628274"/>
                  <a:pt x="925697" y="3634202"/>
                  <a:pt x="925697" y="3640131"/>
                </a:cubicBezTo>
                <a:cubicBezTo>
                  <a:pt x="919769" y="3651988"/>
                  <a:pt x="919769" y="3663845"/>
                  <a:pt x="907913" y="3669773"/>
                </a:cubicBezTo>
                <a:cubicBezTo>
                  <a:pt x="901985" y="3669773"/>
                  <a:pt x="896057" y="3669773"/>
                  <a:pt x="890129" y="3663845"/>
                </a:cubicBezTo>
                <a:cubicBezTo>
                  <a:pt x="872345" y="3669773"/>
                  <a:pt x="890129" y="3693488"/>
                  <a:pt x="872345" y="3693488"/>
                </a:cubicBezTo>
                <a:cubicBezTo>
                  <a:pt x="866417" y="3693488"/>
                  <a:pt x="860489" y="3693488"/>
                  <a:pt x="860489" y="3693488"/>
                </a:cubicBezTo>
                <a:cubicBezTo>
                  <a:pt x="860489" y="3681631"/>
                  <a:pt x="860489" y="3675702"/>
                  <a:pt x="854561" y="3669773"/>
                </a:cubicBezTo>
                <a:cubicBezTo>
                  <a:pt x="854561" y="3669773"/>
                  <a:pt x="854561" y="3663845"/>
                  <a:pt x="854561" y="3663845"/>
                </a:cubicBezTo>
                <a:cubicBezTo>
                  <a:pt x="842705" y="3669773"/>
                  <a:pt x="836777" y="3669773"/>
                  <a:pt x="830849" y="3669773"/>
                </a:cubicBezTo>
                <a:cubicBezTo>
                  <a:pt x="818993" y="3669773"/>
                  <a:pt x="813065" y="3663845"/>
                  <a:pt x="801209" y="3663845"/>
                </a:cubicBezTo>
                <a:cubicBezTo>
                  <a:pt x="795281" y="3663845"/>
                  <a:pt x="795281" y="3675702"/>
                  <a:pt x="789353" y="3681631"/>
                </a:cubicBezTo>
                <a:cubicBezTo>
                  <a:pt x="783425" y="3687559"/>
                  <a:pt x="777497" y="3699416"/>
                  <a:pt x="771569" y="3705345"/>
                </a:cubicBezTo>
                <a:cubicBezTo>
                  <a:pt x="771569" y="3705345"/>
                  <a:pt x="771569" y="3705345"/>
                  <a:pt x="765641" y="3705345"/>
                </a:cubicBezTo>
                <a:cubicBezTo>
                  <a:pt x="765641" y="3699416"/>
                  <a:pt x="765641" y="3699416"/>
                  <a:pt x="765641" y="3693488"/>
                </a:cubicBezTo>
                <a:cubicBezTo>
                  <a:pt x="765641" y="3681631"/>
                  <a:pt x="771569" y="3669773"/>
                  <a:pt x="777497" y="3657916"/>
                </a:cubicBezTo>
                <a:cubicBezTo>
                  <a:pt x="777497" y="3651988"/>
                  <a:pt x="777497" y="3640131"/>
                  <a:pt x="777497" y="3628274"/>
                </a:cubicBezTo>
                <a:cubicBezTo>
                  <a:pt x="783425" y="3622345"/>
                  <a:pt x="777497" y="3616417"/>
                  <a:pt x="783425" y="3610488"/>
                </a:cubicBezTo>
                <a:cubicBezTo>
                  <a:pt x="789353" y="3604559"/>
                  <a:pt x="789353" y="3604559"/>
                  <a:pt x="795281" y="3610488"/>
                </a:cubicBezTo>
                <a:cubicBezTo>
                  <a:pt x="795281" y="3622345"/>
                  <a:pt x="789353" y="3634202"/>
                  <a:pt x="807137" y="3640131"/>
                </a:cubicBezTo>
                <a:cubicBezTo>
                  <a:pt x="818993" y="3628274"/>
                  <a:pt x="824921" y="3610488"/>
                  <a:pt x="824921" y="3598631"/>
                </a:cubicBezTo>
                <a:cubicBezTo>
                  <a:pt x="824921" y="3580845"/>
                  <a:pt x="813065" y="3563060"/>
                  <a:pt x="818993" y="3545274"/>
                </a:cubicBezTo>
                <a:cubicBezTo>
                  <a:pt x="818993" y="3533417"/>
                  <a:pt x="824921" y="3527488"/>
                  <a:pt x="830849" y="3527488"/>
                </a:cubicBezTo>
                <a:cubicBezTo>
                  <a:pt x="842705" y="3521560"/>
                  <a:pt x="848633" y="3509703"/>
                  <a:pt x="854561" y="3491917"/>
                </a:cubicBezTo>
                <a:cubicBezTo>
                  <a:pt x="854561" y="3480060"/>
                  <a:pt x="860489" y="3462274"/>
                  <a:pt x="848633" y="3450417"/>
                </a:cubicBezTo>
                <a:cubicBezTo>
                  <a:pt x="830849" y="3450417"/>
                  <a:pt x="818993" y="3450417"/>
                  <a:pt x="807137" y="3462274"/>
                </a:cubicBezTo>
                <a:cubicBezTo>
                  <a:pt x="801209" y="3474131"/>
                  <a:pt x="795281" y="3491917"/>
                  <a:pt x="783425" y="3503774"/>
                </a:cubicBezTo>
                <a:cubicBezTo>
                  <a:pt x="777497" y="3521560"/>
                  <a:pt x="783425" y="3533417"/>
                  <a:pt x="777497" y="3539345"/>
                </a:cubicBezTo>
                <a:cubicBezTo>
                  <a:pt x="765641" y="3545274"/>
                  <a:pt x="753785" y="3545274"/>
                  <a:pt x="747857" y="3539345"/>
                </a:cubicBezTo>
                <a:cubicBezTo>
                  <a:pt x="741929" y="3527488"/>
                  <a:pt x="736001" y="3515631"/>
                  <a:pt x="730073" y="3509703"/>
                </a:cubicBezTo>
                <a:cubicBezTo>
                  <a:pt x="736001" y="3468203"/>
                  <a:pt x="741929" y="3432631"/>
                  <a:pt x="759713" y="3397060"/>
                </a:cubicBezTo>
                <a:cubicBezTo>
                  <a:pt x="771569" y="3385203"/>
                  <a:pt x="777497" y="3373346"/>
                  <a:pt x="771569" y="3361489"/>
                </a:cubicBezTo>
                <a:cubicBezTo>
                  <a:pt x="807137" y="3331846"/>
                  <a:pt x="818993" y="3296275"/>
                  <a:pt x="824921" y="3260703"/>
                </a:cubicBezTo>
                <a:cubicBezTo>
                  <a:pt x="824921" y="3248846"/>
                  <a:pt x="830849" y="3236989"/>
                  <a:pt x="830849" y="3225132"/>
                </a:cubicBezTo>
                <a:cubicBezTo>
                  <a:pt x="824921" y="3201418"/>
                  <a:pt x="824921" y="3177704"/>
                  <a:pt x="830849" y="3153989"/>
                </a:cubicBezTo>
                <a:cubicBezTo>
                  <a:pt x="836777" y="3136204"/>
                  <a:pt x="830849" y="3112490"/>
                  <a:pt x="830849" y="3094704"/>
                </a:cubicBezTo>
                <a:cubicBezTo>
                  <a:pt x="830849" y="3088775"/>
                  <a:pt x="836777" y="3082847"/>
                  <a:pt x="842705" y="3088775"/>
                </a:cubicBezTo>
                <a:cubicBezTo>
                  <a:pt x="848633" y="3094704"/>
                  <a:pt x="860489" y="3100633"/>
                  <a:pt x="866417" y="3112490"/>
                </a:cubicBezTo>
                <a:cubicBezTo>
                  <a:pt x="866417" y="3100633"/>
                  <a:pt x="872345" y="3094704"/>
                  <a:pt x="878273" y="3088775"/>
                </a:cubicBezTo>
                <a:cubicBezTo>
                  <a:pt x="878273" y="3088775"/>
                  <a:pt x="884201" y="3088775"/>
                  <a:pt x="890129" y="3088775"/>
                </a:cubicBezTo>
                <a:cubicBezTo>
                  <a:pt x="901985" y="3082847"/>
                  <a:pt x="901985" y="3070990"/>
                  <a:pt x="901985" y="3065061"/>
                </a:cubicBezTo>
                <a:cubicBezTo>
                  <a:pt x="907913" y="3041347"/>
                  <a:pt x="901985" y="3023561"/>
                  <a:pt x="896057" y="3005776"/>
                </a:cubicBezTo>
                <a:cubicBezTo>
                  <a:pt x="901985" y="2987990"/>
                  <a:pt x="907913" y="2970204"/>
                  <a:pt x="913841" y="2958347"/>
                </a:cubicBezTo>
                <a:cubicBezTo>
                  <a:pt x="919769" y="2940562"/>
                  <a:pt x="907913" y="2922776"/>
                  <a:pt x="919769" y="2910919"/>
                </a:cubicBezTo>
                <a:cubicBezTo>
                  <a:pt x="937553" y="2910919"/>
                  <a:pt x="943481" y="2922776"/>
                  <a:pt x="943481" y="2934633"/>
                </a:cubicBezTo>
                <a:cubicBezTo>
                  <a:pt x="943481" y="2946490"/>
                  <a:pt x="937553" y="2958347"/>
                  <a:pt x="931625" y="2976133"/>
                </a:cubicBezTo>
                <a:cubicBezTo>
                  <a:pt x="931625" y="2982062"/>
                  <a:pt x="931625" y="2987990"/>
                  <a:pt x="937553" y="2993919"/>
                </a:cubicBezTo>
                <a:cubicBezTo>
                  <a:pt x="937553" y="2999847"/>
                  <a:pt x="937553" y="3011704"/>
                  <a:pt x="943481" y="3017633"/>
                </a:cubicBezTo>
                <a:cubicBezTo>
                  <a:pt x="955337" y="3011704"/>
                  <a:pt x="961265" y="2999847"/>
                  <a:pt x="967193" y="2987990"/>
                </a:cubicBezTo>
                <a:cubicBezTo>
                  <a:pt x="961265" y="2976133"/>
                  <a:pt x="979049" y="2970204"/>
                  <a:pt x="979049" y="2952419"/>
                </a:cubicBezTo>
                <a:cubicBezTo>
                  <a:pt x="973121" y="2946490"/>
                  <a:pt x="967193" y="2934633"/>
                  <a:pt x="961265" y="2928705"/>
                </a:cubicBezTo>
                <a:cubicBezTo>
                  <a:pt x="961265" y="2916847"/>
                  <a:pt x="955337" y="2910919"/>
                  <a:pt x="967193" y="2904990"/>
                </a:cubicBezTo>
                <a:cubicBezTo>
                  <a:pt x="984977" y="2899062"/>
                  <a:pt x="1002761" y="2910919"/>
                  <a:pt x="1020545" y="2910919"/>
                </a:cubicBezTo>
                <a:cubicBezTo>
                  <a:pt x="1020545" y="2904990"/>
                  <a:pt x="1020545" y="2904990"/>
                  <a:pt x="1026473" y="2899062"/>
                </a:cubicBezTo>
                <a:cubicBezTo>
                  <a:pt x="1020545" y="2887205"/>
                  <a:pt x="1020545" y="2881276"/>
                  <a:pt x="1014617" y="2869419"/>
                </a:cubicBezTo>
                <a:cubicBezTo>
                  <a:pt x="1020545" y="2869419"/>
                  <a:pt x="1020545" y="2869419"/>
                  <a:pt x="1020545" y="2869419"/>
                </a:cubicBezTo>
                <a:cubicBezTo>
                  <a:pt x="1020545" y="2863490"/>
                  <a:pt x="1020545" y="2863490"/>
                  <a:pt x="1020545" y="2863490"/>
                </a:cubicBezTo>
                <a:cubicBezTo>
                  <a:pt x="1020545" y="2863490"/>
                  <a:pt x="1020545" y="2869419"/>
                  <a:pt x="1014617" y="2869419"/>
                </a:cubicBezTo>
                <a:cubicBezTo>
                  <a:pt x="1014617" y="2869419"/>
                  <a:pt x="1008689" y="2863490"/>
                  <a:pt x="1002761" y="2863490"/>
                </a:cubicBezTo>
                <a:cubicBezTo>
                  <a:pt x="990905" y="2857562"/>
                  <a:pt x="990905" y="2851633"/>
                  <a:pt x="984977" y="2839776"/>
                </a:cubicBezTo>
                <a:cubicBezTo>
                  <a:pt x="984977" y="2827919"/>
                  <a:pt x="990905" y="2810134"/>
                  <a:pt x="996833" y="2798276"/>
                </a:cubicBezTo>
                <a:cubicBezTo>
                  <a:pt x="1002761" y="2798276"/>
                  <a:pt x="1008689" y="2792348"/>
                  <a:pt x="1014617" y="2792348"/>
                </a:cubicBezTo>
                <a:cubicBezTo>
                  <a:pt x="1020545" y="2792348"/>
                  <a:pt x="1020545" y="2792348"/>
                  <a:pt x="1026473" y="2792348"/>
                </a:cubicBezTo>
                <a:cubicBezTo>
                  <a:pt x="1038329" y="2780491"/>
                  <a:pt x="1038329" y="2780491"/>
                  <a:pt x="1038329" y="2750848"/>
                </a:cubicBezTo>
                <a:cubicBezTo>
                  <a:pt x="1032401" y="2744919"/>
                  <a:pt x="1026473" y="2733062"/>
                  <a:pt x="1020545" y="2727134"/>
                </a:cubicBezTo>
                <a:cubicBezTo>
                  <a:pt x="1020545" y="2709348"/>
                  <a:pt x="1026473" y="2691562"/>
                  <a:pt x="1044257" y="2685634"/>
                </a:cubicBezTo>
                <a:cubicBezTo>
                  <a:pt x="1056113" y="2697491"/>
                  <a:pt x="1050185" y="2715277"/>
                  <a:pt x="1050185" y="2727134"/>
                </a:cubicBezTo>
                <a:cubicBezTo>
                  <a:pt x="1050185" y="2727134"/>
                  <a:pt x="1056113" y="2727134"/>
                  <a:pt x="1056113" y="2727134"/>
                </a:cubicBezTo>
                <a:cubicBezTo>
                  <a:pt x="1067969" y="2709348"/>
                  <a:pt x="1073897" y="2697491"/>
                  <a:pt x="1085753" y="2679705"/>
                </a:cubicBezTo>
                <a:cubicBezTo>
                  <a:pt x="1091681" y="2667848"/>
                  <a:pt x="1073897" y="2655991"/>
                  <a:pt x="1073897" y="2632277"/>
                </a:cubicBezTo>
                <a:cubicBezTo>
                  <a:pt x="1073897" y="2620420"/>
                  <a:pt x="1097609" y="2608563"/>
                  <a:pt x="1091681" y="2590777"/>
                </a:cubicBezTo>
                <a:cubicBezTo>
                  <a:pt x="1103537" y="2590777"/>
                  <a:pt x="1109465" y="2596706"/>
                  <a:pt x="1109465" y="2602634"/>
                </a:cubicBezTo>
                <a:cubicBezTo>
                  <a:pt x="1103537" y="2620420"/>
                  <a:pt x="1103537" y="2644134"/>
                  <a:pt x="1103537" y="2661920"/>
                </a:cubicBezTo>
                <a:cubicBezTo>
                  <a:pt x="1115393" y="2679705"/>
                  <a:pt x="1133177" y="2685634"/>
                  <a:pt x="1150961" y="2697491"/>
                </a:cubicBezTo>
                <a:cubicBezTo>
                  <a:pt x="1150961" y="2679705"/>
                  <a:pt x="1156889" y="2661920"/>
                  <a:pt x="1162817" y="2644134"/>
                </a:cubicBezTo>
                <a:cubicBezTo>
                  <a:pt x="1162817" y="2638206"/>
                  <a:pt x="1162817" y="2632277"/>
                  <a:pt x="1150961" y="2626348"/>
                </a:cubicBezTo>
                <a:cubicBezTo>
                  <a:pt x="1139105" y="2632277"/>
                  <a:pt x="1145033" y="2644134"/>
                  <a:pt x="1139105" y="2655991"/>
                </a:cubicBezTo>
                <a:cubicBezTo>
                  <a:pt x="1139105" y="2655991"/>
                  <a:pt x="1133177" y="2655991"/>
                  <a:pt x="1133177" y="2655991"/>
                </a:cubicBezTo>
                <a:cubicBezTo>
                  <a:pt x="1127249" y="2650063"/>
                  <a:pt x="1127249" y="2644134"/>
                  <a:pt x="1127249" y="2638206"/>
                </a:cubicBezTo>
                <a:cubicBezTo>
                  <a:pt x="1127249" y="2626348"/>
                  <a:pt x="1127249" y="2620420"/>
                  <a:pt x="1127249" y="2614491"/>
                </a:cubicBezTo>
                <a:cubicBezTo>
                  <a:pt x="1127249" y="2602634"/>
                  <a:pt x="1127249" y="2590777"/>
                  <a:pt x="1121321" y="2578920"/>
                </a:cubicBezTo>
                <a:cubicBezTo>
                  <a:pt x="1127249" y="2567063"/>
                  <a:pt x="1127249" y="2549277"/>
                  <a:pt x="1133177" y="2537420"/>
                </a:cubicBezTo>
                <a:cubicBezTo>
                  <a:pt x="1145033" y="2537420"/>
                  <a:pt x="1150961" y="2537420"/>
                  <a:pt x="1156889" y="2537420"/>
                </a:cubicBezTo>
                <a:cubicBezTo>
                  <a:pt x="1156889" y="2531492"/>
                  <a:pt x="1162817" y="2531492"/>
                  <a:pt x="1162817" y="2525563"/>
                </a:cubicBezTo>
                <a:cubicBezTo>
                  <a:pt x="1162817" y="2507777"/>
                  <a:pt x="1162817" y="2495920"/>
                  <a:pt x="1162817" y="2478135"/>
                </a:cubicBezTo>
                <a:cubicBezTo>
                  <a:pt x="1162817" y="2466278"/>
                  <a:pt x="1162817" y="2448492"/>
                  <a:pt x="1162817" y="2436635"/>
                </a:cubicBezTo>
                <a:cubicBezTo>
                  <a:pt x="1162817" y="2430706"/>
                  <a:pt x="1168745" y="2424778"/>
                  <a:pt x="1168745" y="2424778"/>
                </a:cubicBezTo>
                <a:cubicBezTo>
                  <a:pt x="1180601" y="2418849"/>
                  <a:pt x="1186529" y="2424778"/>
                  <a:pt x="1186529" y="2430706"/>
                </a:cubicBezTo>
                <a:cubicBezTo>
                  <a:pt x="1192457" y="2430706"/>
                  <a:pt x="1192457" y="2436635"/>
                  <a:pt x="1192457" y="2442563"/>
                </a:cubicBezTo>
                <a:cubicBezTo>
                  <a:pt x="1186529" y="2460349"/>
                  <a:pt x="1180601" y="2478135"/>
                  <a:pt x="1180601" y="2495920"/>
                </a:cubicBezTo>
                <a:cubicBezTo>
                  <a:pt x="1192457" y="2507777"/>
                  <a:pt x="1192457" y="2507777"/>
                  <a:pt x="1204313" y="2495920"/>
                </a:cubicBezTo>
                <a:cubicBezTo>
                  <a:pt x="1204313" y="2489992"/>
                  <a:pt x="1198385" y="2484063"/>
                  <a:pt x="1198385" y="2472206"/>
                </a:cubicBezTo>
                <a:cubicBezTo>
                  <a:pt x="1198385" y="2460349"/>
                  <a:pt x="1204313" y="2448492"/>
                  <a:pt x="1216169" y="2442563"/>
                </a:cubicBezTo>
                <a:cubicBezTo>
                  <a:pt x="1222097" y="2436635"/>
                  <a:pt x="1228025" y="2442563"/>
                  <a:pt x="1228025" y="2448492"/>
                </a:cubicBezTo>
                <a:cubicBezTo>
                  <a:pt x="1228025" y="2460349"/>
                  <a:pt x="1233953" y="2472206"/>
                  <a:pt x="1233953" y="2484063"/>
                </a:cubicBezTo>
                <a:cubicBezTo>
                  <a:pt x="1233953" y="2501849"/>
                  <a:pt x="1233953" y="2513706"/>
                  <a:pt x="1233953" y="2531492"/>
                </a:cubicBezTo>
                <a:cubicBezTo>
                  <a:pt x="1245809" y="2519634"/>
                  <a:pt x="1245809" y="2507777"/>
                  <a:pt x="1251737" y="2495920"/>
                </a:cubicBezTo>
                <a:cubicBezTo>
                  <a:pt x="1257665" y="2495920"/>
                  <a:pt x="1263593" y="2495920"/>
                  <a:pt x="1269521" y="2489992"/>
                </a:cubicBezTo>
                <a:cubicBezTo>
                  <a:pt x="1275449" y="2484063"/>
                  <a:pt x="1269521" y="2478135"/>
                  <a:pt x="1263593" y="2472206"/>
                </a:cubicBezTo>
                <a:cubicBezTo>
                  <a:pt x="1269521" y="2466278"/>
                  <a:pt x="1269521" y="2460349"/>
                  <a:pt x="1269521" y="2460349"/>
                </a:cubicBezTo>
                <a:cubicBezTo>
                  <a:pt x="1263593" y="2448492"/>
                  <a:pt x="1245809" y="2454420"/>
                  <a:pt x="1245809" y="2430706"/>
                </a:cubicBezTo>
                <a:cubicBezTo>
                  <a:pt x="1245809" y="2424778"/>
                  <a:pt x="1251737" y="2418849"/>
                  <a:pt x="1251737" y="2401063"/>
                </a:cubicBezTo>
                <a:cubicBezTo>
                  <a:pt x="1251737" y="2395135"/>
                  <a:pt x="1245809" y="2383278"/>
                  <a:pt x="1245809" y="2371421"/>
                </a:cubicBezTo>
                <a:cubicBezTo>
                  <a:pt x="1245809" y="2365492"/>
                  <a:pt x="1251737" y="2365492"/>
                  <a:pt x="1251737" y="2365492"/>
                </a:cubicBezTo>
                <a:cubicBezTo>
                  <a:pt x="1263593" y="2365492"/>
                  <a:pt x="1269521" y="2371421"/>
                  <a:pt x="1281377" y="2377349"/>
                </a:cubicBezTo>
                <a:cubicBezTo>
                  <a:pt x="1287305" y="2365492"/>
                  <a:pt x="1287305" y="2359564"/>
                  <a:pt x="1287305" y="2347706"/>
                </a:cubicBezTo>
                <a:cubicBezTo>
                  <a:pt x="1281377" y="2335849"/>
                  <a:pt x="1269521" y="2323992"/>
                  <a:pt x="1263593" y="2312135"/>
                </a:cubicBezTo>
                <a:cubicBezTo>
                  <a:pt x="1263593" y="2312135"/>
                  <a:pt x="1263593" y="2306207"/>
                  <a:pt x="1263593" y="2306207"/>
                </a:cubicBezTo>
                <a:cubicBezTo>
                  <a:pt x="1269521" y="2306207"/>
                  <a:pt x="1275449" y="2300278"/>
                  <a:pt x="1281377" y="2300278"/>
                </a:cubicBezTo>
                <a:cubicBezTo>
                  <a:pt x="1287305" y="2288421"/>
                  <a:pt x="1275449" y="2282492"/>
                  <a:pt x="1275449" y="2270635"/>
                </a:cubicBezTo>
                <a:cubicBezTo>
                  <a:pt x="1275449" y="2264707"/>
                  <a:pt x="1281377" y="2252850"/>
                  <a:pt x="1281377" y="2246921"/>
                </a:cubicBezTo>
                <a:cubicBezTo>
                  <a:pt x="1275449" y="2240993"/>
                  <a:pt x="1275449" y="2240993"/>
                  <a:pt x="1263593" y="2246921"/>
                </a:cubicBezTo>
                <a:cubicBezTo>
                  <a:pt x="1257665" y="2258778"/>
                  <a:pt x="1263593" y="2264707"/>
                  <a:pt x="1263593" y="2276564"/>
                </a:cubicBezTo>
                <a:cubicBezTo>
                  <a:pt x="1251737" y="2288421"/>
                  <a:pt x="1228025" y="2276564"/>
                  <a:pt x="1216169" y="2294350"/>
                </a:cubicBezTo>
                <a:cubicBezTo>
                  <a:pt x="1216169" y="2300278"/>
                  <a:pt x="1216169" y="2312135"/>
                  <a:pt x="1216169" y="2318064"/>
                </a:cubicBezTo>
                <a:cubicBezTo>
                  <a:pt x="1204313" y="2329921"/>
                  <a:pt x="1192457" y="2318064"/>
                  <a:pt x="1186529" y="2318064"/>
                </a:cubicBezTo>
                <a:cubicBezTo>
                  <a:pt x="1180601" y="2323992"/>
                  <a:pt x="1174673" y="2329921"/>
                  <a:pt x="1180601" y="2335849"/>
                </a:cubicBezTo>
                <a:cubicBezTo>
                  <a:pt x="1180601" y="2335849"/>
                  <a:pt x="1186529" y="2341778"/>
                  <a:pt x="1192457" y="2347706"/>
                </a:cubicBezTo>
                <a:cubicBezTo>
                  <a:pt x="1198385" y="2347706"/>
                  <a:pt x="1204313" y="2347706"/>
                  <a:pt x="1216169" y="2347706"/>
                </a:cubicBezTo>
                <a:cubicBezTo>
                  <a:pt x="1222097" y="2365492"/>
                  <a:pt x="1228025" y="2383278"/>
                  <a:pt x="1216169" y="2395135"/>
                </a:cubicBezTo>
                <a:cubicBezTo>
                  <a:pt x="1210241" y="2401063"/>
                  <a:pt x="1204313" y="2401063"/>
                  <a:pt x="1198385" y="2395135"/>
                </a:cubicBezTo>
                <a:cubicBezTo>
                  <a:pt x="1204313" y="2389206"/>
                  <a:pt x="1204313" y="2383278"/>
                  <a:pt x="1204313" y="2371421"/>
                </a:cubicBezTo>
                <a:cubicBezTo>
                  <a:pt x="1198385" y="2365492"/>
                  <a:pt x="1210241" y="2365492"/>
                  <a:pt x="1198385" y="2371421"/>
                </a:cubicBezTo>
                <a:cubicBezTo>
                  <a:pt x="1192457" y="2371421"/>
                  <a:pt x="1180601" y="2377349"/>
                  <a:pt x="1174673" y="2383278"/>
                </a:cubicBezTo>
                <a:cubicBezTo>
                  <a:pt x="1156889" y="2377349"/>
                  <a:pt x="1156889" y="2365492"/>
                  <a:pt x="1145033" y="2359564"/>
                </a:cubicBezTo>
                <a:cubicBezTo>
                  <a:pt x="1139105" y="2365492"/>
                  <a:pt x="1127249" y="2377349"/>
                  <a:pt x="1115393" y="2377349"/>
                </a:cubicBezTo>
                <a:cubicBezTo>
                  <a:pt x="1109465" y="2389206"/>
                  <a:pt x="1103537" y="2395135"/>
                  <a:pt x="1097609" y="2406992"/>
                </a:cubicBezTo>
                <a:cubicBezTo>
                  <a:pt x="1091681" y="2412921"/>
                  <a:pt x="1079825" y="2406992"/>
                  <a:pt x="1073897" y="2406992"/>
                </a:cubicBezTo>
                <a:cubicBezTo>
                  <a:pt x="1062041" y="2412921"/>
                  <a:pt x="1056113" y="2418849"/>
                  <a:pt x="1056113" y="2424778"/>
                </a:cubicBezTo>
                <a:cubicBezTo>
                  <a:pt x="1050185" y="2442563"/>
                  <a:pt x="1050185" y="2460349"/>
                  <a:pt x="1050185" y="2484063"/>
                </a:cubicBezTo>
                <a:cubicBezTo>
                  <a:pt x="1050185" y="2489992"/>
                  <a:pt x="1044257" y="2495920"/>
                  <a:pt x="1038329" y="2489992"/>
                </a:cubicBezTo>
                <a:cubicBezTo>
                  <a:pt x="1038329" y="2489992"/>
                  <a:pt x="1038329" y="2489992"/>
                  <a:pt x="1032401" y="2484063"/>
                </a:cubicBezTo>
                <a:cubicBezTo>
                  <a:pt x="1032401" y="2478135"/>
                  <a:pt x="1032401" y="2472206"/>
                  <a:pt x="1032401" y="2472206"/>
                </a:cubicBezTo>
                <a:cubicBezTo>
                  <a:pt x="1032401" y="2460349"/>
                  <a:pt x="1032401" y="2460349"/>
                  <a:pt x="1020545" y="2460349"/>
                </a:cubicBezTo>
                <a:cubicBezTo>
                  <a:pt x="1014617" y="2472206"/>
                  <a:pt x="1008689" y="2478135"/>
                  <a:pt x="1002761" y="2489992"/>
                </a:cubicBezTo>
                <a:cubicBezTo>
                  <a:pt x="973121" y="2501849"/>
                  <a:pt x="961265" y="2525563"/>
                  <a:pt x="943481" y="2537420"/>
                </a:cubicBezTo>
                <a:cubicBezTo>
                  <a:pt x="931625" y="2555206"/>
                  <a:pt x="913841" y="2572991"/>
                  <a:pt x="896057" y="2578920"/>
                </a:cubicBezTo>
                <a:cubicBezTo>
                  <a:pt x="890129" y="2596706"/>
                  <a:pt x="890129" y="2608563"/>
                  <a:pt x="884201" y="2620420"/>
                </a:cubicBezTo>
                <a:cubicBezTo>
                  <a:pt x="890129" y="2626348"/>
                  <a:pt x="890129" y="2638206"/>
                  <a:pt x="890129" y="2644134"/>
                </a:cubicBezTo>
                <a:cubicBezTo>
                  <a:pt x="890129" y="2655991"/>
                  <a:pt x="890129" y="2667848"/>
                  <a:pt x="878273" y="2667848"/>
                </a:cubicBezTo>
                <a:cubicBezTo>
                  <a:pt x="866417" y="2661920"/>
                  <a:pt x="866417" y="2650063"/>
                  <a:pt x="848633" y="2650063"/>
                </a:cubicBezTo>
                <a:cubicBezTo>
                  <a:pt x="842705" y="2655991"/>
                  <a:pt x="836777" y="2655991"/>
                  <a:pt x="824921" y="2661920"/>
                </a:cubicBezTo>
                <a:cubicBezTo>
                  <a:pt x="818993" y="2667848"/>
                  <a:pt x="813065" y="2679705"/>
                  <a:pt x="813065" y="2685634"/>
                </a:cubicBezTo>
                <a:cubicBezTo>
                  <a:pt x="813065" y="2697491"/>
                  <a:pt x="818993" y="2709348"/>
                  <a:pt x="818993" y="2721205"/>
                </a:cubicBezTo>
                <a:cubicBezTo>
                  <a:pt x="795281" y="2733062"/>
                  <a:pt x="795281" y="2733062"/>
                  <a:pt x="783425" y="2709348"/>
                </a:cubicBezTo>
                <a:cubicBezTo>
                  <a:pt x="783425" y="2709348"/>
                  <a:pt x="783425" y="2703420"/>
                  <a:pt x="777497" y="2703420"/>
                </a:cubicBezTo>
                <a:cubicBezTo>
                  <a:pt x="765641" y="2709348"/>
                  <a:pt x="771569" y="2733062"/>
                  <a:pt x="753785" y="2738991"/>
                </a:cubicBezTo>
                <a:cubicBezTo>
                  <a:pt x="741929" y="2744919"/>
                  <a:pt x="736001" y="2744919"/>
                  <a:pt x="724145" y="2750848"/>
                </a:cubicBezTo>
                <a:cubicBezTo>
                  <a:pt x="712289" y="2762705"/>
                  <a:pt x="712289" y="2780491"/>
                  <a:pt x="712289" y="2792348"/>
                </a:cubicBezTo>
                <a:cubicBezTo>
                  <a:pt x="700433" y="2798276"/>
                  <a:pt x="694505" y="2798276"/>
                  <a:pt x="682649" y="2792348"/>
                </a:cubicBezTo>
                <a:cubicBezTo>
                  <a:pt x="676721" y="2798276"/>
                  <a:pt x="664865" y="2804205"/>
                  <a:pt x="658937" y="2810134"/>
                </a:cubicBezTo>
                <a:cubicBezTo>
                  <a:pt x="653009" y="2810134"/>
                  <a:pt x="647081" y="2810134"/>
                  <a:pt x="641153" y="2804205"/>
                </a:cubicBezTo>
                <a:cubicBezTo>
                  <a:pt x="629297" y="2810134"/>
                  <a:pt x="623369" y="2816062"/>
                  <a:pt x="617441" y="2816062"/>
                </a:cubicBezTo>
                <a:cubicBezTo>
                  <a:pt x="605585" y="2816062"/>
                  <a:pt x="599657" y="2810134"/>
                  <a:pt x="593729" y="2798276"/>
                </a:cubicBezTo>
                <a:cubicBezTo>
                  <a:pt x="593729" y="2786419"/>
                  <a:pt x="611513" y="2792348"/>
                  <a:pt x="617441" y="2780491"/>
                </a:cubicBezTo>
                <a:cubicBezTo>
                  <a:pt x="629297" y="2774562"/>
                  <a:pt x="635225" y="2768634"/>
                  <a:pt x="641153" y="2762705"/>
                </a:cubicBezTo>
                <a:cubicBezTo>
                  <a:pt x="647081" y="2756777"/>
                  <a:pt x="647081" y="2750848"/>
                  <a:pt x="647081" y="2744919"/>
                </a:cubicBezTo>
                <a:cubicBezTo>
                  <a:pt x="653009" y="2733062"/>
                  <a:pt x="653009" y="2727134"/>
                  <a:pt x="653009" y="2715277"/>
                </a:cubicBezTo>
                <a:cubicBezTo>
                  <a:pt x="650045" y="2709348"/>
                  <a:pt x="645599" y="2703420"/>
                  <a:pt x="641894" y="2696750"/>
                </a:cubicBezTo>
                <a:lnTo>
                  <a:pt x="636145" y="2676946"/>
                </a:lnTo>
                <a:lnTo>
                  <a:pt x="637342" y="2673353"/>
                </a:lnTo>
                <a:lnTo>
                  <a:pt x="638930" y="2673036"/>
                </a:lnTo>
                <a:cubicBezTo>
                  <a:pt x="641153" y="2672295"/>
                  <a:pt x="644117" y="2670813"/>
                  <a:pt x="647081" y="2667848"/>
                </a:cubicBezTo>
                <a:cubicBezTo>
                  <a:pt x="647081" y="2661920"/>
                  <a:pt x="647081" y="2661920"/>
                  <a:pt x="641153" y="2661920"/>
                </a:cubicBezTo>
                <a:lnTo>
                  <a:pt x="637342" y="2673353"/>
                </a:lnTo>
                <a:lnTo>
                  <a:pt x="635225" y="2673777"/>
                </a:lnTo>
                <a:lnTo>
                  <a:pt x="636145" y="2676946"/>
                </a:lnTo>
                <a:lnTo>
                  <a:pt x="635225" y="2679705"/>
                </a:lnTo>
                <a:cubicBezTo>
                  <a:pt x="617441" y="2685634"/>
                  <a:pt x="605585" y="2697491"/>
                  <a:pt x="587801" y="2709348"/>
                </a:cubicBezTo>
                <a:cubicBezTo>
                  <a:pt x="575945" y="2709348"/>
                  <a:pt x="570017" y="2715277"/>
                  <a:pt x="564089" y="2715277"/>
                </a:cubicBezTo>
                <a:cubicBezTo>
                  <a:pt x="552233" y="2715277"/>
                  <a:pt x="546305" y="2715277"/>
                  <a:pt x="540377" y="2709348"/>
                </a:cubicBezTo>
                <a:cubicBezTo>
                  <a:pt x="534449" y="2697491"/>
                  <a:pt x="534449" y="2697491"/>
                  <a:pt x="552233" y="2673777"/>
                </a:cubicBezTo>
                <a:cubicBezTo>
                  <a:pt x="558161" y="2667848"/>
                  <a:pt x="564089" y="2673777"/>
                  <a:pt x="570017" y="2679705"/>
                </a:cubicBezTo>
                <a:cubicBezTo>
                  <a:pt x="581873" y="2679705"/>
                  <a:pt x="593729" y="2673777"/>
                  <a:pt x="605585" y="2673777"/>
                </a:cubicBezTo>
                <a:cubicBezTo>
                  <a:pt x="605585" y="2667848"/>
                  <a:pt x="605585" y="2661920"/>
                  <a:pt x="605585" y="2661920"/>
                </a:cubicBezTo>
                <a:cubicBezTo>
                  <a:pt x="599657" y="2655991"/>
                  <a:pt x="599657" y="2655991"/>
                  <a:pt x="593729" y="2655991"/>
                </a:cubicBezTo>
                <a:cubicBezTo>
                  <a:pt x="587801" y="2650063"/>
                  <a:pt x="581873" y="2650063"/>
                  <a:pt x="570017" y="2650063"/>
                </a:cubicBezTo>
                <a:cubicBezTo>
                  <a:pt x="546305" y="2655991"/>
                  <a:pt x="546305" y="2655991"/>
                  <a:pt x="522593" y="2650063"/>
                </a:cubicBezTo>
                <a:cubicBezTo>
                  <a:pt x="510737" y="2650063"/>
                  <a:pt x="498881" y="2655991"/>
                  <a:pt x="487025" y="2661920"/>
                </a:cubicBezTo>
                <a:cubicBezTo>
                  <a:pt x="475169" y="2673777"/>
                  <a:pt x="475169" y="2691562"/>
                  <a:pt x="481097" y="2703420"/>
                </a:cubicBezTo>
                <a:cubicBezTo>
                  <a:pt x="492953" y="2715277"/>
                  <a:pt x="510737" y="2709348"/>
                  <a:pt x="510737" y="2721205"/>
                </a:cubicBezTo>
                <a:cubicBezTo>
                  <a:pt x="510737" y="2727134"/>
                  <a:pt x="510737" y="2733062"/>
                  <a:pt x="504809" y="2733062"/>
                </a:cubicBezTo>
                <a:cubicBezTo>
                  <a:pt x="498881" y="2733062"/>
                  <a:pt x="492953" y="2727134"/>
                  <a:pt x="492953" y="2727134"/>
                </a:cubicBezTo>
                <a:cubicBezTo>
                  <a:pt x="475169" y="2738991"/>
                  <a:pt x="469241" y="2750848"/>
                  <a:pt x="487025" y="2762705"/>
                </a:cubicBezTo>
                <a:cubicBezTo>
                  <a:pt x="504809" y="2762705"/>
                  <a:pt x="528521" y="2762705"/>
                  <a:pt x="552233" y="2762705"/>
                </a:cubicBezTo>
                <a:cubicBezTo>
                  <a:pt x="558161" y="2774562"/>
                  <a:pt x="558161" y="2786419"/>
                  <a:pt x="564089" y="2798276"/>
                </a:cubicBezTo>
                <a:cubicBezTo>
                  <a:pt x="558161" y="2810134"/>
                  <a:pt x="558161" y="2816062"/>
                  <a:pt x="546305" y="2821991"/>
                </a:cubicBezTo>
                <a:cubicBezTo>
                  <a:pt x="534449" y="2821991"/>
                  <a:pt x="528521" y="2810134"/>
                  <a:pt x="516665" y="2816062"/>
                </a:cubicBezTo>
                <a:cubicBezTo>
                  <a:pt x="510737" y="2827919"/>
                  <a:pt x="510737" y="2833848"/>
                  <a:pt x="516665" y="2845705"/>
                </a:cubicBezTo>
                <a:cubicBezTo>
                  <a:pt x="522593" y="2851633"/>
                  <a:pt x="534449" y="2851633"/>
                  <a:pt x="546305" y="2851633"/>
                </a:cubicBezTo>
                <a:cubicBezTo>
                  <a:pt x="552233" y="2851633"/>
                  <a:pt x="558161" y="2857562"/>
                  <a:pt x="558161" y="2857562"/>
                </a:cubicBezTo>
                <a:cubicBezTo>
                  <a:pt x="570017" y="2863490"/>
                  <a:pt x="575945" y="2851633"/>
                  <a:pt x="587801" y="2851633"/>
                </a:cubicBezTo>
                <a:cubicBezTo>
                  <a:pt x="593729" y="2845705"/>
                  <a:pt x="605585" y="2845705"/>
                  <a:pt x="611513" y="2845705"/>
                </a:cubicBezTo>
                <a:cubicBezTo>
                  <a:pt x="623369" y="2851633"/>
                  <a:pt x="611513" y="2863490"/>
                  <a:pt x="617441" y="2875348"/>
                </a:cubicBezTo>
                <a:cubicBezTo>
                  <a:pt x="575945" y="2887205"/>
                  <a:pt x="575945" y="2887205"/>
                  <a:pt x="558161" y="2910919"/>
                </a:cubicBezTo>
                <a:cubicBezTo>
                  <a:pt x="564089" y="2910919"/>
                  <a:pt x="564089" y="2916847"/>
                  <a:pt x="570017" y="2922776"/>
                </a:cubicBezTo>
                <a:cubicBezTo>
                  <a:pt x="575945" y="2922776"/>
                  <a:pt x="581873" y="2928705"/>
                  <a:pt x="581873" y="2928705"/>
                </a:cubicBezTo>
                <a:cubicBezTo>
                  <a:pt x="587801" y="2940562"/>
                  <a:pt x="581873" y="2946490"/>
                  <a:pt x="570017" y="2946490"/>
                </a:cubicBezTo>
                <a:cubicBezTo>
                  <a:pt x="570017" y="2946490"/>
                  <a:pt x="564089" y="2952419"/>
                  <a:pt x="558161" y="2952419"/>
                </a:cubicBezTo>
                <a:cubicBezTo>
                  <a:pt x="558161" y="2958347"/>
                  <a:pt x="552233" y="2970204"/>
                  <a:pt x="552233" y="2976133"/>
                </a:cubicBezTo>
                <a:cubicBezTo>
                  <a:pt x="546305" y="2982062"/>
                  <a:pt x="540377" y="2993919"/>
                  <a:pt x="528521" y="2993919"/>
                </a:cubicBezTo>
                <a:cubicBezTo>
                  <a:pt x="522593" y="2982062"/>
                  <a:pt x="516665" y="2970204"/>
                  <a:pt x="510737" y="2964276"/>
                </a:cubicBezTo>
                <a:cubicBezTo>
                  <a:pt x="504809" y="2958347"/>
                  <a:pt x="504809" y="2958347"/>
                  <a:pt x="498881" y="2952419"/>
                </a:cubicBezTo>
                <a:cubicBezTo>
                  <a:pt x="492953" y="2958347"/>
                  <a:pt x="481097" y="2958347"/>
                  <a:pt x="475169" y="2964276"/>
                </a:cubicBezTo>
                <a:cubicBezTo>
                  <a:pt x="475169" y="2964276"/>
                  <a:pt x="475169" y="2964276"/>
                  <a:pt x="469241" y="2964276"/>
                </a:cubicBezTo>
                <a:cubicBezTo>
                  <a:pt x="463313" y="2952419"/>
                  <a:pt x="445529" y="2946490"/>
                  <a:pt x="433673" y="2940562"/>
                </a:cubicBezTo>
                <a:cubicBezTo>
                  <a:pt x="421817" y="2928705"/>
                  <a:pt x="421817" y="2910919"/>
                  <a:pt x="409961" y="2893133"/>
                </a:cubicBezTo>
                <a:cubicBezTo>
                  <a:pt x="404033" y="2887205"/>
                  <a:pt x="386249" y="2875348"/>
                  <a:pt x="380321" y="2869419"/>
                </a:cubicBezTo>
                <a:cubicBezTo>
                  <a:pt x="368465" y="2851633"/>
                  <a:pt x="380321" y="2833848"/>
                  <a:pt x="368465" y="2821991"/>
                </a:cubicBezTo>
                <a:cubicBezTo>
                  <a:pt x="356609" y="2821991"/>
                  <a:pt x="356609" y="2821991"/>
                  <a:pt x="350681" y="2833848"/>
                </a:cubicBezTo>
                <a:cubicBezTo>
                  <a:pt x="344753" y="2827919"/>
                  <a:pt x="338825" y="2821991"/>
                  <a:pt x="332897" y="2816062"/>
                </a:cubicBezTo>
                <a:cubicBezTo>
                  <a:pt x="326969" y="2816062"/>
                  <a:pt x="321041" y="2816062"/>
                  <a:pt x="321041" y="2821991"/>
                </a:cubicBezTo>
                <a:cubicBezTo>
                  <a:pt x="315113" y="2833848"/>
                  <a:pt x="321041" y="2839776"/>
                  <a:pt x="309185" y="2845705"/>
                </a:cubicBezTo>
                <a:cubicBezTo>
                  <a:pt x="303257" y="2833848"/>
                  <a:pt x="297329" y="2816062"/>
                  <a:pt x="291401" y="2804205"/>
                </a:cubicBezTo>
                <a:cubicBezTo>
                  <a:pt x="285473" y="2810134"/>
                  <a:pt x="285473" y="2810134"/>
                  <a:pt x="285473" y="2839776"/>
                </a:cubicBezTo>
                <a:cubicBezTo>
                  <a:pt x="279545" y="2857562"/>
                  <a:pt x="273617" y="2869419"/>
                  <a:pt x="261761" y="2875348"/>
                </a:cubicBezTo>
                <a:cubicBezTo>
                  <a:pt x="243977" y="2869419"/>
                  <a:pt x="232121" y="2857562"/>
                  <a:pt x="220265" y="2845705"/>
                </a:cubicBezTo>
                <a:cubicBezTo>
                  <a:pt x="214337" y="2833848"/>
                  <a:pt x="208409" y="2821991"/>
                  <a:pt x="202481" y="2810134"/>
                </a:cubicBezTo>
                <a:cubicBezTo>
                  <a:pt x="196553" y="2804205"/>
                  <a:pt x="190625" y="2798276"/>
                  <a:pt x="178769" y="2792348"/>
                </a:cubicBezTo>
                <a:cubicBezTo>
                  <a:pt x="172841" y="2780491"/>
                  <a:pt x="166913" y="2762705"/>
                  <a:pt x="155057" y="2744919"/>
                </a:cubicBezTo>
                <a:cubicBezTo>
                  <a:pt x="131345" y="2727134"/>
                  <a:pt x="113561" y="2691562"/>
                  <a:pt x="95777" y="2661920"/>
                </a:cubicBezTo>
                <a:cubicBezTo>
                  <a:pt x="72065" y="2632277"/>
                  <a:pt x="54281" y="2602634"/>
                  <a:pt x="48353" y="2561134"/>
                </a:cubicBezTo>
                <a:cubicBezTo>
                  <a:pt x="42425" y="2543349"/>
                  <a:pt x="36497" y="2525563"/>
                  <a:pt x="36497" y="2507777"/>
                </a:cubicBezTo>
                <a:cubicBezTo>
                  <a:pt x="18713" y="2472206"/>
                  <a:pt x="-4999" y="2442563"/>
                  <a:pt x="929" y="2401063"/>
                </a:cubicBezTo>
                <a:cubicBezTo>
                  <a:pt x="6857" y="2389206"/>
                  <a:pt x="12785" y="2377349"/>
                  <a:pt x="18713" y="2371421"/>
                </a:cubicBezTo>
                <a:cubicBezTo>
                  <a:pt x="24641" y="2365492"/>
                  <a:pt x="30569" y="2365492"/>
                  <a:pt x="30569" y="2365492"/>
                </a:cubicBezTo>
                <a:cubicBezTo>
                  <a:pt x="36497" y="2359564"/>
                  <a:pt x="36497" y="2359564"/>
                  <a:pt x="42425" y="2359564"/>
                </a:cubicBezTo>
                <a:cubicBezTo>
                  <a:pt x="77993" y="2347706"/>
                  <a:pt x="77993" y="2347706"/>
                  <a:pt x="107633" y="2323992"/>
                </a:cubicBezTo>
                <a:cubicBezTo>
                  <a:pt x="113561" y="2323992"/>
                  <a:pt x="119489" y="2329921"/>
                  <a:pt x="125417" y="2335849"/>
                </a:cubicBezTo>
                <a:cubicBezTo>
                  <a:pt x="131345" y="2329921"/>
                  <a:pt x="137273" y="2329921"/>
                  <a:pt x="137273" y="2323992"/>
                </a:cubicBezTo>
                <a:cubicBezTo>
                  <a:pt x="131345" y="2312135"/>
                  <a:pt x="125417" y="2306207"/>
                  <a:pt x="119489" y="2294350"/>
                </a:cubicBezTo>
                <a:cubicBezTo>
                  <a:pt x="131345" y="2246921"/>
                  <a:pt x="137273" y="2193564"/>
                  <a:pt x="149129" y="2140207"/>
                </a:cubicBezTo>
                <a:cubicBezTo>
                  <a:pt x="166913" y="2110564"/>
                  <a:pt x="184697" y="2074993"/>
                  <a:pt x="202481" y="2039422"/>
                </a:cubicBezTo>
                <a:cubicBezTo>
                  <a:pt x="214337" y="2015708"/>
                  <a:pt x="232121" y="1991993"/>
                  <a:pt x="249905" y="1968279"/>
                </a:cubicBezTo>
                <a:cubicBezTo>
                  <a:pt x="273617" y="1944565"/>
                  <a:pt x="291401" y="1920851"/>
                  <a:pt x="309185" y="1891208"/>
                </a:cubicBezTo>
                <a:cubicBezTo>
                  <a:pt x="321041" y="1885280"/>
                  <a:pt x="332897" y="1873422"/>
                  <a:pt x="344753" y="1867494"/>
                </a:cubicBezTo>
                <a:cubicBezTo>
                  <a:pt x="350681" y="1867494"/>
                  <a:pt x="356609" y="1867494"/>
                  <a:pt x="362537" y="1867494"/>
                </a:cubicBezTo>
                <a:cubicBezTo>
                  <a:pt x="380321" y="1867494"/>
                  <a:pt x="392177" y="1867494"/>
                  <a:pt x="404033" y="1855637"/>
                </a:cubicBezTo>
                <a:cubicBezTo>
                  <a:pt x="415889" y="1849708"/>
                  <a:pt x="415889" y="1843780"/>
                  <a:pt x="415889" y="1831923"/>
                </a:cubicBezTo>
                <a:cubicBezTo>
                  <a:pt x="415889" y="1825994"/>
                  <a:pt x="415889" y="1814137"/>
                  <a:pt x="409961" y="1802280"/>
                </a:cubicBezTo>
                <a:cubicBezTo>
                  <a:pt x="415889" y="1790423"/>
                  <a:pt x="427745" y="1772637"/>
                  <a:pt x="433673" y="1760780"/>
                </a:cubicBezTo>
                <a:cubicBezTo>
                  <a:pt x="451457" y="1748923"/>
                  <a:pt x="463313" y="1742994"/>
                  <a:pt x="481097" y="1737066"/>
                </a:cubicBezTo>
                <a:cubicBezTo>
                  <a:pt x="487025" y="1737066"/>
                  <a:pt x="492953" y="1737066"/>
                  <a:pt x="498881" y="1742994"/>
                </a:cubicBezTo>
                <a:cubicBezTo>
                  <a:pt x="522593" y="1731137"/>
                  <a:pt x="522593" y="1731137"/>
                  <a:pt x="528521" y="1719280"/>
                </a:cubicBezTo>
                <a:cubicBezTo>
                  <a:pt x="528521" y="1701494"/>
                  <a:pt x="516665" y="1701494"/>
                  <a:pt x="510737" y="1689637"/>
                </a:cubicBezTo>
                <a:cubicBezTo>
                  <a:pt x="510737" y="1677780"/>
                  <a:pt x="504809" y="1659995"/>
                  <a:pt x="504809" y="1648137"/>
                </a:cubicBezTo>
                <a:cubicBezTo>
                  <a:pt x="510737" y="1636281"/>
                  <a:pt x="528521" y="1642209"/>
                  <a:pt x="534449" y="1636281"/>
                </a:cubicBezTo>
                <a:cubicBezTo>
                  <a:pt x="546305" y="1624423"/>
                  <a:pt x="540377" y="1612566"/>
                  <a:pt x="546305" y="1600709"/>
                </a:cubicBezTo>
                <a:cubicBezTo>
                  <a:pt x="552233" y="1600709"/>
                  <a:pt x="552233" y="1594781"/>
                  <a:pt x="558161" y="1594781"/>
                </a:cubicBezTo>
                <a:cubicBezTo>
                  <a:pt x="570017" y="1594781"/>
                  <a:pt x="587801" y="1588852"/>
                  <a:pt x="605585" y="1576995"/>
                </a:cubicBezTo>
                <a:cubicBezTo>
                  <a:pt x="623369" y="1582923"/>
                  <a:pt x="641153" y="1582923"/>
                  <a:pt x="658937" y="1588852"/>
                </a:cubicBezTo>
                <a:cubicBezTo>
                  <a:pt x="676721" y="1588852"/>
                  <a:pt x="688577" y="1582923"/>
                  <a:pt x="706361" y="1582923"/>
                </a:cubicBezTo>
                <a:cubicBezTo>
                  <a:pt x="712289" y="1576995"/>
                  <a:pt x="712289" y="1571066"/>
                  <a:pt x="718217" y="1565138"/>
                </a:cubicBezTo>
                <a:cubicBezTo>
                  <a:pt x="712289" y="1559209"/>
                  <a:pt x="712289" y="1553281"/>
                  <a:pt x="712289" y="1547352"/>
                </a:cubicBezTo>
                <a:cubicBezTo>
                  <a:pt x="700433" y="1535495"/>
                  <a:pt x="688577" y="1541424"/>
                  <a:pt x="676721" y="1535495"/>
                </a:cubicBezTo>
                <a:cubicBezTo>
                  <a:pt x="676721" y="1529566"/>
                  <a:pt x="676721" y="1523638"/>
                  <a:pt x="682649" y="1517709"/>
                </a:cubicBezTo>
                <a:cubicBezTo>
                  <a:pt x="694505" y="1505852"/>
                  <a:pt x="694505" y="1505852"/>
                  <a:pt x="724145" y="1493995"/>
                </a:cubicBezTo>
                <a:cubicBezTo>
                  <a:pt x="736001" y="1499924"/>
                  <a:pt x="736001" y="1505852"/>
                  <a:pt x="741929" y="1517709"/>
                </a:cubicBezTo>
                <a:cubicBezTo>
                  <a:pt x="736001" y="1523638"/>
                  <a:pt x="736001" y="1529566"/>
                  <a:pt x="730073" y="1535495"/>
                </a:cubicBezTo>
                <a:cubicBezTo>
                  <a:pt x="736001" y="1547352"/>
                  <a:pt x="730073" y="1565138"/>
                  <a:pt x="741929" y="1576995"/>
                </a:cubicBezTo>
                <a:cubicBezTo>
                  <a:pt x="759713" y="1582923"/>
                  <a:pt x="765641" y="1571066"/>
                  <a:pt x="771569" y="1565138"/>
                </a:cubicBezTo>
                <a:cubicBezTo>
                  <a:pt x="777497" y="1559209"/>
                  <a:pt x="789353" y="1565138"/>
                  <a:pt x="795281" y="1553281"/>
                </a:cubicBezTo>
                <a:cubicBezTo>
                  <a:pt x="795281" y="1547352"/>
                  <a:pt x="795281" y="1547352"/>
                  <a:pt x="795281" y="1541424"/>
                </a:cubicBezTo>
                <a:cubicBezTo>
                  <a:pt x="783425" y="1541424"/>
                  <a:pt x="771569" y="1535495"/>
                  <a:pt x="765641" y="1529566"/>
                </a:cubicBezTo>
                <a:cubicBezTo>
                  <a:pt x="759713" y="1517709"/>
                  <a:pt x="765641" y="1499924"/>
                  <a:pt x="753785" y="1488067"/>
                </a:cubicBezTo>
                <a:cubicBezTo>
                  <a:pt x="753785" y="1476209"/>
                  <a:pt x="765641" y="1470281"/>
                  <a:pt x="777497" y="1464352"/>
                </a:cubicBezTo>
                <a:cubicBezTo>
                  <a:pt x="789353" y="1470281"/>
                  <a:pt x="789353" y="1488067"/>
                  <a:pt x="795281" y="1493995"/>
                </a:cubicBezTo>
                <a:cubicBezTo>
                  <a:pt x="807137" y="1499924"/>
                  <a:pt x="813065" y="1493995"/>
                  <a:pt x="813065" y="1488067"/>
                </a:cubicBezTo>
                <a:cubicBezTo>
                  <a:pt x="813065" y="1482138"/>
                  <a:pt x="813065" y="1476209"/>
                  <a:pt x="813065" y="1470281"/>
                </a:cubicBezTo>
                <a:cubicBezTo>
                  <a:pt x="807137" y="1464352"/>
                  <a:pt x="801209" y="1446567"/>
                  <a:pt x="795281" y="1434710"/>
                </a:cubicBezTo>
                <a:cubicBezTo>
                  <a:pt x="789353" y="1416924"/>
                  <a:pt x="795281" y="1405067"/>
                  <a:pt x="813065" y="1399138"/>
                </a:cubicBezTo>
                <a:cubicBezTo>
                  <a:pt x="830849" y="1405067"/>
                  <a:pt x="824921" y="1428781"/>
                  <a:pt x="830849" y="1434710"/>
                </a:cubicBezTo>
                <a:cubicBezTo>
                  <a:pt x="830849" y="1452495"/>
                  <a:pt x="818993" y="1464352"/>
                  <a:pt x="836777" y="1476209"/>
                </a:cubicBezTo>
                <a:cubicBezTo>
                  <a:pt x="848633" y="1476209"/>
                  <a:pt x="860489" y="1470281"/>
                  <a:pt x="878273" y="1464352"/>
                </a:cubicBezTo>
                <a:cubicBezTo>
                  <a:pt x="878273" y="1458424"/>
                  <a:pt x="878273" y="1452495"/>
                  <a:pt x="878273" y="1452495"/>
                </a:cubicBezTo>
                <a:cubicBezTo>
                  <a:pt x="872345" y="1446567"/>
                  <a:pt x="866417" y="1446567"/>
                  <a:pt x="854561" y="1440638"/>
                </a:cubicBezTo>
                <a:cubicBezTo>
                  <a:pt x="854561" y="1434710"/>
                  <a:pt x="848633" y="1422853"/>
                  <a:pt x="842705" y="1416924"/>
                </a:cubicBezTo>
                <a:cubicBezTo>
                  <a:pt x="842705" y="1416924"/>
                  <a:pt x="842705" y="1410995"/>
                  <a:pt x="842705" y="1410995"/>
                </a:cubicBezTo>
                <a:cubicBezTo>
                  <a:pt x="848633" y="1393210"/>
                  <a:pt x="842705" y="1375424"/>
                  <a:pt x="842705" y="1357638"/>
                </a:cubicBezTo>
                <a:cubicBezTo>
                  <a:pt x="842705" y="1339853"/>
                  <a:pt x="848633" y="1327996"/>
                  <a:pt x="854561" y="1316139"/>
                </a:cubicBezTo>
                <a:cubicBezTo>
                  <a:pt x="860489" y="1316139"/>
                  <a:pt x="866417" y="1316139"/>
                  <a:pt x="872345" y="1316139"/>
                </a:cubicBezTo>
                <a:cubicBezTo>
                  <a:pt x="884201" y="1327996"/>
                  <a:pt x="872345" y="1333924"/>
                  <a:pt x="872345" y="1345781"/>
                </a:cubicBezTo>
                <a:cubicBezTo>
                  <a:pt x="872345" y="1357638"/>
                  <a:pt x="872345" y="1363567"/>
                  <a:pt x="872345" y="1375424"/>
                </a:cubicBezTo>
                <a:cubicBezTo>
                  <a:pt x="884201" y="1381353"/>
                  <a:pt x="890129" y="1393210"/>
                  <a:pt x="896057" y="1399138"/>
                </a:cubicBezTo>
                <a:cubicBezTo>
                  <a:pt x="896057" y="1410995"/>
                  <a:pt x="890129" y="1416924"/>
                  <a:pt x="890129" y="1428781"/>
                </a:cubicBezTo>
                <a:cubicBezTo>
                  <a:pt x="901985" y="1440638"/>
                  <a:pt x="907913" y="1422853"/>
                  <a:pt x="919769" y="1422853"/>
                </a:cubicBezTo>
                <a:cubicBezTo>
                  <a:pt x="925697" y="1410995"/>
                  <a:pt x="925697" y="1399138"/>
                  <a:pt x="919769" y="1387281"/>
                </a:cubicBezTo>
                <a:cubicBezTo>
                  <a:pt x="913841" y="1375424"/>
                  <a:pt x="907913" y="1369496"/>
                  <a:pt x="896057" y="1363567"/>
                </a:cubicBezTo>
                <a:cubicBezTo>
                  <a:pt x="896057" y="1345781"/>
                  <a:pt x="901985" y="1345781"/>
                  <a:pt x="919769" y="1351710"/>
                </a:cubicBezTo>
                <a:cubicBezTo>
                  <a:pt x="931625" y="1363567"/>
                  <a:pt x="937553" y="1375424"/>
                  <a:pt x="943481" y="1387281"/>
                </a:cubicBezTo>
                <a:cubicBezTo>
                  <a:pt x="949409" y="1393210"/>
                  <a:pt x="949409" y="1393210"/>
                  <a:pt x="955337" y="1393210"/>
                </a:cubicBezTo>
                <a:cubicBezTo>
                  <a:pt x="955337" y="1405067"/>
                  <a:pt x="937553" y="1405067"/>
                  <a:pt x="943481" y="1416924"/>
                </a:cubicBezTo>
                <a:cubicBezTo>
                  <a:pt x="955337" y="1416924"/>
                  <a:pt x="967193" y="1410995"/>
                  <a:pt x="979049" y="1399138"/>
                </a:cubicBezTo>
                <a:cubicBezTo>
                  <a:pt x="984977" y="1393210"/>
                  <a:pt x="996833" y="1381353"/>
                  <a:pt x="1002761" y="1375424"/>
                </a:cubicBezTo>
                <a:cubicBezTo>
                  <a:pt x="1008689" y="1363567"/>
                  <a:pt x="1008689" y="1351710"/>
                  <a:pt x="996833" y="1339853"/>
                </a:cubicBezTo>
                <a:cubicBezTo>
                  <a:pt x="996833" y="1339853"/>
                  <a:pt x="990905" y="1339853"/>
                  <a:pt x="990905" y="1345781"/>
                </a:cubicBezTo>
                <a:cubicBezTo>
                  <a:pt x="979049" y="1351710"/>
                  <a:pt x="979049" y="1363567"/>
                  <a:pt x="961265" y="1363567"/>
                </a:cubicBezTo>
                <a:cubicBezTo>
                  <a:pt x="961265" y="1363567"/>
                  <a:pt x="955337" y="1363567"/>
                  <a:pt x="949409" y="1357638"/>
                </a:cubicBezTo>
                <a:cubicBezTo>
                  <a:pt x="943481" y="1351710"/>
                  <a:pt x="931625" y="1339853"/>
                  <a:pt x="925697" y="1327996"/>
                </a:cubicBezTo>
                <a:cubicBezTo>
                  <a:pt x="913841" y="1322067"/>
                  <a:pt x="907913" y="1316139"/>
                  <a:pt x="896057" y="1310210"/>
                </a:cubicBezTo>
                <a:cubicBezTo>
                  <a:pt x="896057" y="1298353"/>
                  <a:pt x="896057" y="1286496"/>
                  <a:pt x="896057" y="1274639"/>
                </a:cubicBezTo>
                <a:cubicBezTo>
                  <a:pt x="896057" y="1268710"/>
                  <a:pt x="907913" y="1262782"/>
                  <a:pt x="907913" y="1256853"/>
                </a:cubicBezTo>
                <a:cubicBezTo>
                  <a:pt x="913841" y="1239067"/>
                  <a:pt x="919769" y="1221282"/>
                  <a:pt x="925697" y="1203496"/>
                </a:cubicBezTo>
                <a:cubicBezTo>
                  <a:pt x="925697" y="1191639"/>
                  <a:pt x="925697" y="1179782"/>
                  <a:pt x="925697" y="1167925"/>
                </a:cubicBezTo>
                <a:cubicBezTo>
                  <a:pt x="925697" y="1161996"/>
                  <a:pt x="931625" y="1161996"/>
                  <a:pt x="937553" y="1161996"/>
                </a:cubicBezTo>
                <a:cubicBezTo>
                  <a:pt x="943481" y="1179782"/>
                  <a:pt x="931625" y="1197568"/>
                  <a:pt x="943481" y="1215353"/>
                </a:cubicBezTo>
                <a:cubicBezTo>
                  <a:pt x="949409" y="1215353"/>
                  <a:pt x="955337" y="1215353"/>
                  <a:pt x="955337" y="1209425"/>
                </a:cubicBezTo>
                <a:cubicBezTo>
                  <a:pt x="955337" y="1191639"/>
                  <a:pt x="955337" y="1173853"/>
                  <a:pt x="967193" y="1156068"/>
                </a:cubicBezTo>
                <a:cubicBezTo>
                  <a:pt x="973121" y="1161996"/>
                  <a:pt x="973121" y="1161996"/>
                  <a:pt x="979049" y="1161996"/>
                </a:cubicBezTo>
                <a:cubicBezTo>
                  <a:pt x="979049" y="1167925"/>
                  <a:pt x="979049" y="1173853"/>
                  <a:pt x="979049" y="1179782"/>
                </a:cubicBezTo>
                <a:cubicBezTo>
                  <a:pt x="990905" y="1179782"/>
                  <a:pt x="990905" y="1179782"/>
                  <a:pt x="990905" y="1179782"/>
                </a:cubicBezTo>
                <a:cubicBezTo>
                  <a:pt x="996833" y="1161996"/>
                  <a:pt x="990905" y="1150139"/>
                  <a:pt x="990905" y="1138282"/>
                </a:cubicBezTo>
                <a:cubicBezTo>
                  <a:pt x="984977" y="1132354"/>
                  <a:pt x="979049" y="1120496"/>
                  <a:pt x="973121" y="1114568"/>
                </a:cubicBezTo>
                <a:cubicBezTo>
                  <a:pt x="973121" y="1108639"/>
                  <a:pt x="973121" y="1102711"/>
                  <a:pt x="973121" y="1096782"/>
                </a:cubicBezTo>
                <a:cubicBezTo>
                  <a:pt x="973121" y="1096782"/>
                  <a:pt x="979049" y="1096782"/>
                  <a:pt x="984977" y="1096782"/>
                </a:cubicBezTo>
                <a:cubicBezTo>
                  <a:pt x="990905" y="1084925"/>
                  <a:pt x="990905" y="1073068"/>
                  <a:pt x="996833" y="1061211"/>
                </a:cubicBezTo>
                <a:cubicBezTo>
                  <a:pt x="996833" y="1037497"/>
                  <a:pt x="996833" y="1019711"/>
                  <a:pt x="984977" y="995997"/>
                </a:cubicBezTo>
                <a:cubicBezTo>
                  <a:pt x="990905" y="978211"/>
                  <a:pt x="996833" y="960425"/>
                  <a:pt x="1008689" y="936711"/>
                </a:cubicBezTo>
                <a:cubicBezTo>
                  <a:pt x="1008689" y="936711"/>
                  <a:pt x="1014617" y="930783"/>
                  <a:pt x="1014617" y="930783"/>
                </a:cubicBezTo>
                <a:cubicBezTo>
                  <a:pt x="1014617" y="936711"/>
                  <a:pt x="1020545" y="936711"/>
                  <a:pt x="1020545" y="936711"/>
                </a:cubicBezTo>
                <a:cubicBezTo>
                  <a:pt x="1026473" y="960425"/>
                  <a:pt x="1026473" y="978211"/>
                  <a:pt x="1026473" y="995997"/>
                </a:cubicBezTo>
                <a:cubicBezTo>
                  <a:pt x="1020545" y="1025640"/>
                  <a:pt x="1014617" y="1055282"/>
                  <a:pt x="1026473" y="1084925"/>
                </a:cubicBezTo>
                <a:cubicBezTo>
                  <a:pt x="1020545" y="1102711"/>
                  <a:pt x="1014617" y="1114568"/>
                  <a:pt x="1026473" y="1126425"/>
                </a:cubicBezTo>
                <a:cubicBezTo>
                  <a:pt x="1032401" y="1126425"/>
                  <a:pt x="1032401" y="1126425"/>
                  <a:pt x="1032401" y="1120496"/>
                </a:cubicBezTo>
                <a:cubicBezTo>
                  <a:pt x="1038329" y="1108639"/>
                  <a:pt x="1050185" y="1096782"/>
                  <a:pt x="1050185" y="1084925"/>
                </a:cubicBezTo>
                <a:cubicBezTo>
                  <a:pt x="1062041" y="1078997"/>
                  <a:pt x="1067969" y="1073068"/>
                  <a:pt x="1079825" y="1067139"/>
                </a:cubicBezTo>
                <a:cubicBezTo>
                  <a:pt x="1079825" y="1067139"/>
                  <a:pt x="1085753" y="1061211"/>
                  <a:pt x="1085753" y="1061211"/>
                </a:cubicBezTo>
                <a:cubicBezTo>
                  <a:pt x="1085753" y="1013782"/>
                  <a:pt x="1085753" y="972283"/>
                  <a:pt x="1073897" y="936711"/>
                </a:cubicBezTo>
                <a:cubicBezTo>
                  <a:pt x="1079825" y="912997"/>
                  <a:pt x="1085753" y="889283"/>
                  <a:pt x="1097609" y="871497"/>
                </a:cubicBezTo>
                <a:cubicBezTo>
                  <a:pt x="1103537" y="871497"/>
                  <a:pt x="1109465" y="865569"/>
                  <a:pt x="1109465" y="859640"/>
                </a:cubicBezTo>
                <a:cubicBezTo>
                  <a:pt x="1121321" y="853712"/>
                  <a:pt x="1133177" y="847783"/>
                  <a:pt x="1145033" y="841854"/>
                </a:cubicBezTo>
                <a:cubicBezTo>
                  <a:pt x="1150961" y="835926"/>
                  <a:pt x="1150961" y="835926"/>
                  <a:pt x="1156889" y="824069"/>
                </a:cubicBezTo>
                <a:cubicBezTo>
                  <a:pt x="1156889" y="818140"/>
                  <a:pt x="1156889" y="812212"/>
                  <a:pt x="1156889" y="800355"/>
                </a:cubicBezTo>
                <a:cubicBezTo>
                  <a:pt x="1156889" y="788497"/>
                  <a:pt x="1156889" y="782569"/>
                  <a:pt x="1156889" y="770712"/>
                </a:cubicBezTo>
                <a:cubicBezTo>
                  <a:pt x="1156889" y="758855"/>
                  <a:pt x="1162817" y="752926"/>
                  <a:pt x="1168745" y="741069"/>
                </a:cubicBezTo>
                <a:cubicBezTo>
                  <a:pt x="1186529" y="752926"/>
                  <a:pt x="1180601" y="770712"/>
                  <a:pt x="1186529" y="788497"/>
                </a:cubicBezTo>
                <a:cubicBezTo>
                  <a:pt x="1186529" y="788497"/>
                  <a:pt x="1192457" y="788497"/>
                  <a:pt x="1192457" y="788497"/>
                </a:cubicBezTo>
                <a:cubicBezTo>
                  <a:pt x="1198385" y="770712"/>
                  <a:pt x="1204313" y="758855"/>
                  <a:pt x="1210241" y="746998"/>
                </a:cubicBezTo>
                <a:cubicBezTo>
                  <a:pt x="1210241" y="735141"/>
                  <a:pt x="1210241" y="729212"/>
                  <a:pt x="1210241" y="717355"/>
                </a:cubicBezTo>
                <a:cubicBezTo>
                  <a:pt x="1210241" y="717355"/>
                  <a:pt x="1210241" y="711426"/>
                  <a:pt x="1210241" y="711426"/>
                </a:cubicBezTo>
                <a:cubicBezTo>
                  <a:pt x="1228025" y="705498"/>
                  <a:pt x="1233953" y="681784"/>
                  <a:pt x="1245809" y="675855"/>
                </a:cubicBezTo>
                <a:cubicBezTo>
                  <a:pt x="1257665" y="675855"/>
                  <a:pt x="1257665" y="681784"/>
                  <a:pt x="1257665" y="693641"/>
                </a:cubicBezTo>
                <a:cubicBezTo>
                  <a:pt x="1257665" y="699569"/>
                  <a:pt x="1263593" y="705498"/>
                  <a:pt x="1269521" y="711426"/>
                </a:cubicBezTo>
                <a:cubicBezTo>
                  <a:pt x="1281377" y="705498"/>
                  <a:pt x="1299161" y="699569"/>
                  <a:pt x="1311017" y="693641"/>
                </a:cubicBezTo>
                <a:cubicBezTo>
                  <a:pt x="1316945" y="687712"/>
                  <a:pt x="1322873" y="681784"/>
                  <a:pt x="1328801" y="675855"/>
                </a:cubicBezTo>
                <a:cubicBezTo>
                  <a:pt x="1352513" y="663998"/>
                  <a:pt x="1376225" y="658069"/>
                  <a:pt x="1399937" y="652141"/>
                </a:cubicBezTo>
                <a:cubicBezTo>
                  <a:pt x="1399937" y="646212"/>
                  <a:pt x="1405865" y="640284"/>
                  <a:pt x="1405865" y="640284"/>
                </a:cubicBezTo>
                <a:cubicBezTo>
                  <a:pt x="1411793" y="628427"/>
                  <a:pt x="1405865" y="616570"/>
                  <a:pt x="1405865" y="604712"/>
                </a:cubicBezTo>
                <a:cubicBezTo>
                  <a:pt x="1405865" y="598784"/>
                  <a:pt x="1411793" y="592855"/>
                  <a:pt x="1417721" y="592855"/>
                </a:cubicBezTo>
                <a:cubicBezTo>
                  <a:pt x="1423649" y="592855"/>
                  <a:pt x="1429577" y="592855"/>
                  <a:pt x="1435505" y="598784"/>
                </a:cubicBezTo>
                <a:cubicBezTo>
                  <a:pt x="1435505" y="610641"/>
                  <a:pt x="1429577" y="616570"/>
                  <a:pt x="1429577" y="634355"/>
                </a:cubicBezTo>
                <a:cubicBezTo>
                  <a:pt x="1429577" y="640284"/>
                  <a:pt x="1435505" y="652141"/>
                  <a:pt x="1441433" y="658069"/>
                </a:cubicBezTo>
                <a:cubicBezTo>
                  <a:pt x="1453289" y="669926"/>
                  <a:pt x="1459217" y="669926"/>
                  <a:pt x="1471073" y="675855"/>
                </a:cubicBezTo>
                <a:cubicBezTo>
                  <a:pt x="1488857" y="669926"/>
                  <a:pt x="1506641" y="663998"/>
                  <a:pt x="1518497" y="652141"/>
                </a:cubicBezTo>
                <a:cubicBezTo>
                  <a:pt x="1524425" y="646212"/>
                  <a:pt x="1530353" y="634355"/>
                  <a:pt x="1530353" y="628427"/>
                </a:cubicBezTo>
                <a:cubicBezTo>
                  <a:pt x="1530353" y="616570"/>
                  <a:pt x="1530353" y="610641"/>
                  <a:pt x="1524425" y="598784"/>
                </a:cubicBezTo>
                <a:cubicBezTo>
                  <a:pt x="1524425" y="580998"/>
                  <a:pt x="1530353" y="563213"/>
                  <a:pt x="1530353" y="545427"/>
                </a:cubicBezTo>
                <a:cubicBezTo>
                  <a:pt x="1524425" y="533570"/>
                  <a:pt x="1506641" y="539498"/>
                  <a:pt x="1506641" y="527641"/>
                </a:cubicBezTo>
                <a:cubicBezTo>
                  <a:pt x="1506641" y="521713"/>
                  <a:pt x="1506641" y="515784"/>
                  <a:pt x="1506641" y="515784"/>
                </a:cubicBezTo>
                <a:cubicBezTo>
                  <a:pt x="1518497" y="509856"/>
                  <a:pt x="1536281" y="509856"/>
                  <a:pt x="1548137" y="503927"/>
                </a:cubicBezTo>
                <a:cubicBezTo>
                  <a:pt x="1554065" y="503927"/>
                  <a:pt x="1565921" y="503927"/>
                  <a:pt x="1583705" y="497998"/>
                </a:cubicBezTo>
                <a:cubicBezTo>
                  <a:pt x="1595561" y="497998"/>
                  <a:pt x="1613345" y="497998"/>
                  <a:pt x="1631129" y="509856"/>
                </a:cubicBezTo>
                <a:cubicBezTo>
                  <a:pt x="1637057" y="527641"/>
                  <a:pt x="1637057" y="539498"/>
                  <a:pt x="1637057" y="551355"/>
                </a:cubicBezTo>
                <a:cubicBezTo>
                  <a:pt x="1631129" y="575070"/>
                  <a:pt x="1631129" y="592855"/>
                  <a:pt x="1631129" y="610641"/>
                </a:cubicBezTo>
                <a:cubicBezTo>
                  <a:pt x="1637057" y="634355"/>
                  <a:pt x="1625201" y="658069"/>
                  <a:pt x="1625201" y="675855"/>
                </a:cubicBezTo>
                <a:cubicBezTo>
                  <a:pt x="1619273" y="687712"/>
                  <a:pt x="1613345" y="693641"/>
                  <a:pt x="1607417" y="699569"/>
                </a:cubicBezTo>
                <a:cubicBezTo>
                  <a:pt x="1607417" y="705498"/>
                  <a:pt x="1613345" y="711426"/>
                  <a:pt x="1619273" y="717355"/>
                </a:cubicBezTo>
                <a:cubicBezTo>
                  <a:pt x="1619273" y="735141"/>
                  <a:pt x="1601489" y="735141"/>
                  <a:pt x="1595561" y="746998"/>
                </a:cubicBezTo>
                <a:cubicBezTo>
                  <a:pt x="1595561" y="746998"/>
                  <a:pt x="1595561" y="752926"/>
                  <a:pt x="1595561" y="752926"/>
                </a:cubicBezTo>
                <a:cubicBezTo>
                  <a:pt x="1589633" y="770712"/>
                  <a:pt x="1589633" y="788497"/>
                  <a:pt x="1589633" y="806283"/>
                </a:cubicBezTo>
                <a:cubicBezTo>
                  <a:pt x="1577777" y="806283"/>
                  <a:pt x="1565921" y="806283"/>
                  <a:pt x="1554065" y="812212"/>
                </a:cubicBezTo>
                <a:cubicBezTo>
                  <a:pt x="1542209" y="829997"/>
                  <a:pt x="1548137" y="847783"/>
                  <a:pt x="1548137" y="865569"/>
                </a:cubicBezTo>
                <a:cubicBezTo>
                  <a:pt x="1554065" y="859640"/>
                  <a:pt x="1559993" y="865569"/>
                  <a:pt x="1559993" y="859640"/>
                </a:cubicBezTo>
                <a:cubicBezTo>
                  <a:pt x="1565921" y="853712"/>
                  <a:pt x="1571849" y="847783"/>
                  <a:pt x="1577777" y="841854"/>
                </a:cubicBezTo>
                <a:cubicBezTo>
                  <a:pt x="1577777" y="841854"/>
                  <a:pt x="1583705" y="841854"/>
                  <a:pt x="1583705" y="847783"/>
                </a:cubicBezTo>
                <a:cubicBezTo>
                  <a:pt x="1577777" y="859640"/>
                  <a:pt x="1577777" y="877426"/>
                  <a:pt x="1571849" y="889283"/>
                </a:cubicBezTo>
                <a:cubicBezTo>
                  <a:pt x="1565921" y="895211"/>
                  <a:pt x="1554065" y="895211"/>
                  <a:pt x="1548137" y="901140"/>
                </a:cubicBezTo>
                <a:cubicBezTo>
                  <a:pt x="1542209" y="907068"/>
                  <a:pt x="1536281" y="918926"/>
                  <a:pt x="1530353" y="924854"/>
                </a:cubicBezTo>
                <a:cubicBezTo>
                  <a:pt x="1518497" y="942640"/>
                  <a:pt x="1494785" y="948568"/>
                  <a:pt x="1488857" y="966354"/>
                </a:cubicBezTo>
                <a:cubicBezTo>
                  <a:pt x="1488857" y="978211"/>
                  <a:pt x="1494785" y="984140"/>
                  <a:pt x="1506641" y="978211"/>
                </a:cubicBezTo>
                <a:cubicBezTo>
                  <a:pt x="1512569" y="972283"/>
                  <a:pt x="1518497" y="966354"/>
                  <a:pt x="1524425" y="954497"/>
                </a:cubicBezTo>
                <a:cubicBezTo>
                  <a:pt x="1524425" y="954497"/>
                  <a:pt x="1530353" y="954497"/>
                  <a:pt x="1536281" y="954497"/>
                </a:cubicBezTo>
                <a:cubicBezTo>
                  <a:pt x="1548137" y="960425"/>
                  <a:pt x="1548137" y="978211"/>
                  <a:pt x="1565921" y="978211"/>
                </a:cubicBezTo>
                <a:cubicBezTo>
                  <a:pt x="1577777" y="960425"/>
                  <a:pt x="1559993" y="936711"/>
                  <a:pt x="1571849" y="918926"/>
                </a:cubicBezTo>
                <a:cubicBezTo>
                  <a:pt x="1577777" y="918926"/>
                  <a:pt x="1577777" y="918926"/>
                  <a:pt x="1577777" y="918926"/>
                </a:cubicBezTo>
                <a:cubicBezTo>
                  <a:pt x="1583705" y="924854"/>
                  <a:pt x="1583705" y="930783"/>
                  <a:pt x="1583705" y="936711"/>
                </a:cubicBezTo>
                <a:cubicBezTo>
                  <a:pt x="1583705" y="936711"/>
                  <a:pt x="1589633" y="942640"/>
                  <a:pt x="1589633" y="942640"/>
                </a:cubicBezTo>
                <a:cubicBezTo>
                  <a:pt x="1595561" y="942640"/>
                  <a:pt x="1601489" y="936711"/>
                  <a:pt x="1601489" y="930783"/>
                </a:cubicBezTo>
                <a:cubicBezTo>
                  <a:pt x="1607417" y="907068"/>
                  <a:pt x="1595561" y="871497"/>
                  <a:pt x="1619273" y="847783"/>
                </a:cubicBezTo>
                <a:cubicBezTo>
                  <a:pt x="1619273" y="847783"/>
                  <a:pt x="1637057" y="865569"/>
                  <a:pt x="1637057" y="865569"/>
                </a:cubicBezTo>
                <a:cubicBezTo>
                  <a:pt x="1648913" y="865569"/>
                  <a:pt x="1654841" y="865569"/>
                  <a:pt x="1666697" y="865569"/>
                </a:cubicBezTo>
                <a:cubicBezTo>
                  <a:pt x="1672625" y="865569"/>
                  <a:pt x="1678553" y="871497"/>
                  <a:pt x="1684481" y="865569"/>
                </a:cubicBezTo>
                <a:cubicBezTo>
                  <a:pt x="1690409" y="859640"/>
                  <a:pt x="1690409" y="859640"/>
                  <a:pt x="1690409" y="853712"/>
                </a:cubicBezTo>
                <a:cubicBezTo>
                  <a:pt x="1690409" y="835926"/>
                  <a:pt x="1690409" y="818140"/>
                  <a:pt x="1690409" y="788497"/>
                </a:cubicBezTo>
                <a:cubicBezTo>
                  <a:pt x="1690409" y="782569"/>
                  <a:pt x="1690409" y="770712"/>
                  <a:pt x="1690409" y="758855"/>
                </a:cubicBezTo>
                <a:cubicBezTo>
                  <a:pt x="1690409" y="746998"/>
                  <a:pt x="1684481" y="735141"/>
                  <a:pt x="1684481" y="723283"/>
                </a:cubicBezTo>
                <a:cubicBezTo>
                  <a:pt x="1690409" y="717355"/>
                  <a:pt x="1696337" y="705498"/>
                  <a:pt x="1702265" y="699569"/>
                </a:cubicBezTo>
                <a:cubicBezTo>
                  <a:pt x="1702265" y="681784"/>
                  <a:pt x="1690409" y="669926"/>
                  <a:pt x="1696337" y="652141"/>
                </a:cubicBezTo>
                <a:cubicBezTo>
                  <a:pt x="1696337" y="640284"/>
                  <a:pt x="1696337" y="622498"/>
                  <a:pt x="1690409" y="610641"/>
                </a:cubicBezTo>
                <a:cubicBezTo>
                  <a:pt x="1684481" y="604712"/>
                  <a:pt x="1678553" y="604712"/>
                  <a:pt x="1672625" y="610641"/>
                </a:cubicBezTo>
                <a:cubicBezTo>
                  <a:pt x="1666697" y="622498"/>
                  <a:pt x="1660769" y="634355"/>
                  <a:pt x="1660769" y="646212"/>
                </a:cubicBezTo>
                <a:cubicBezTo>
                  <a:pt x="1660769" y="646212"/>
                  <a:pt x="1654841" y="646212"/>
                  <a:pt x="1654841" y="640284"/>
                </a:cubicBezTo>
                <a:cubicBezTo>
                  <a:pt x="1642985" y="616570"/>
                  <a:pt x="1642985" y="604712"/>
                  <a:pt x="1654841" y="575070"/>
                </a:cubicBezTo>
                <a:cubicBezTo>
                  <a:pt x="1666697" y="569141"/>
                  <a:pt x="1672625" y="586927"/>
                  <a:pt x="1684481" y="586927"/>
                </a:cubicBezTo>
                <a:cubicBezTo>
                  <a:pt x="1684481" y="580998"/>
                  <a:pt x="1690409" y="580998"/>
                  <a:pt x="1690409" y="575070"/>
                </a:cubicBezTo>
                <a:cubicBezTo>
                  <a:pt x="1690409" y="563213"/>
                  <a:pt x="1696337" y="545427"/>
                  <a:pt x="1696337" y="527641"/>
                </a:cubicBezTo>
                <a:cubicBezTo>
                  <a:pt x="1708193" y="521713"/>
                  <a:pt x="1714121" y="539498"/>
                  <a:pt x="1725977" y="533570"/>
                </a:cubicBezTo>
                <a:cubicBezTo>
                  <a:pt x="1731905" y="521713"/>
                  <a:pt x="1743761" y="503927"/>
                  <a:pt x="1749689" y="486141"/>
                </a:cubicBezTo>
                <a:cubicBezTo>
                  <a:pt x="1755617" y="492070"/>
                  <a:pt x="1761545" y="497998"/>
                  <a:pt x="1761545" y="515784"/>
                </a:cubicBezTo>
                <a:cubicBezTo>
                  <a:pt x="1755617" y="521713"/>
                  <a:pt x="1749689" y="533570"/>
                  <a:pt x="1743761" y="545427"/>
                </a:cubicBezTo>
                <a:cubicBezTo>
                  <a:pt x="1737833" y="551355"/>
                  <a:pt x="1731905" y="557284"/>
                  <a:pt x="1725977" y="563213"/>
                </a:cubicBezTo>
                <a:cubicBezTo>
                  <a:pt x="1708193" y="575070"/>
                  <a:pt x="1702265" y="592855"/>
                  <a:pt x="1708193" y="616570"/>
                </a:cubicBezTo>
                <a:cubicBezTo>
                  <a:pt x="1708193" y="622498"/>
                  <a:pt x="1714121" y="634355"/>
                  <a:pt x="1714121" y="640284"/>
                </a:cubicBezTo>
                <a:cubicBezTo>
                  <a:pt x="1714121" y="646212"/>
                  <a:pt x="1714121" y="658069"/>
                  <a:pt x="1708193" y="663998"/>
                </a:cubicBezTo>
                <a:cubicBezTo>
                  <a:pt x="1714121" y="675855"/>
                  <a:pt x="1714121" y="687712"/>
                  <a:pt x="1720049" y="693641"/>
                </a:cubicBezTo>
                <a:cubicBezTo>
                  <a:pt x="1743761" y="640284"/>
                  <a:pt x="1743761" y="658069"/>
                  <a:pt x="1731905" y="598784"/>
                </a:cubicBezTo>
                <a:cubicBezTo>
                  <a:pt x="1731905" y="592855"/>
                  <a:pt x="1737833" y="586927"/>
                  <a:pt x="1743761" y="580998"/>
                </a:cubicBezTo>
                <a:cubicBezTo>
                  <a:pt x="1755617" y="580998"/>
                  <a:pt x="1755617" y="586927"/>
                  <a:pt x="1761545" y="592855"/>
                </a:cubicBezTo>
                <a:cubicBezTo>
                  <a:pt x="1755617" y="616570"/>
                  <a:pt x="1743761" y="640284"/>
                  <a:pt x="1755617" y="663998"/>
                </a:cubicBezTo>
                <a:cubicBezTo>
                  <a:pt x="1773401" y="669926"/>
                  <a:pt x="1791185" y="669926"/>
                  <a:pt x="1808969" y="675855"/>
                </a:cubicBezTo>
                <a:cubicBezTo>
                  <a:pt x="1820825" y="675855"/>
                  <a:pt x="1826753" y="669926"/>
                  <a:pt x="1832681" y="669926"/>
                </a:cubicBezTo>
                <a:cubicBezTo>
                  <a:pt x="1850465" y="658069"/>
                  <a:pt x="1850465" y="628427"/>
                  <a:pt x="1874177" y="628427"/>
                </a:cubicBezTo>
                <a:cubicBezTo>
                  <a:pt x="1880105" y="640284"/>
                  <a:pt x="1880105" y="640284"/>
                  <a:pt x="1868249" y="675855"/>
                </a:cubicBezTo>
                <a:cubicBezTo>
                  <a:pt x="1856393" y="687712"/>
                  <a:pt x="1838609" y="699569"/>
                  <a:pt x="1826753" y="717355"/>
                </a:cubicBezTo>
                <a:cubicBezTo>
                  <a:pt x="1803041" y="723283"/>
                  <a:pt x="1785257" y="729212"/>
                  <a:pt x="1767473" y="735141"/>
                </a:cubicBezTo>
                <a:cubicBezTo>
                  <a:pt x="1761545" y="752926"/>
                  <a:pt x="1755617" y="770712"/>
                  <a:pt x="1749689" y="794426"/>
                </a:cubicBezTo>
                <a:cubicBezTo>
                  <a:pt x="1737833" y="788497"/>
                  <a:pt x="1737833" y="770712"/>
                  <a:pt x="1725977" y="770712"/>
                </a:cubicBezTo>
                <a:cubicBezTo>
                  <a:pt x="1731905" y="758855"/>
                  <a:pt x="1731905" y="746998"/>
                  <a:pt x="1737833" y="735141"/>
                </a:cubicBezTo>
                <a:cubicBezTo>
                  <a:pt x="1731905" y="735141"/>
                  <a:pt x="1731905" y="729212"/>
                  <a:pt x="1725977" y="729212"/>
                </a:cubicBezTo>
                <a:cubicBezTo>
                  <a:pt x="1725977" y="729212"/>
                  <a:pt x="1720049" y="735141"/>
                  <a:pt x="1720049" y="735141"/>
                </a:cubicBezTo>
                <a:cubicBezTo>
                  <a:pt x="1714121" y="746998"/>
                  <a:pt x="1714121" y="758855"/>
                  <a:pt x="1725977" y="770712"/>
                </a:cubicBezTo>
                <a:cubicBezTo>
                  <a:pt x="1720049" y="788497"/>
                  <a:pt x="1714121" y="800355"/>
                  <a:pt x="1708193" y="818140"/>
                </a:cubicBezTo>
                <a:cubicBezTo>
                  <a:pt x="1714121" y="824069"/>
                  <a:pt x="1714121" y="824069"/>
                  <a:pt x="1714121" y="829997"/>
                </a:cubicBezTo>
                <a:cubicBezTo>
                  <a:pt x="1725977" y="829997"/>
                  <a:pt x="1737833" y="829997"/>
                  <a:pt x="1743761" y="829997"/>
                </a:cubicBezTo>
                <a:cubicBezTo>
                  <a:pt x="1749689" y="841854"/>
                  <a:pt x="1743761" y="847783"/>
                  <a:pt x="1743761" y="853712"/>
                </a:cubicBezTo>
                <a:cubicBezTo>
                  <a:pt x="1749689" y="859640"/>
                  <a:pt x="1749689" y="865569"/>
                  <a:pt x="1755617" y="877426"/>
                </a:cubicBezTo>
                <a:cubicBezTo>
                  <a:pt x="1755617" y="883354"/>
                  <a:pt x="1749689" y="889283"/>
                  <a:pt x="1749689" y="901140"/>
                </a:cubicBezTo>
                <a:cubicBezTo>
                  <a:pt x="1749689" y="907068"/>
                  <a:pt x="1755617" y="912997"/>
                  <a:pt x="1761545" y="918926"/>
                </a:cubicBezTo>
                <a:cubicBezTo>
                  <a:pt x="1761545" y="924854"/>
                  <a:pt x="1761545" y="930783"/>
                  <a:pt x="1761545" y="936711"/>
                </a:cubicBezTo>
                <a:cubicBezTo>
                  <a:pt x="1767473" y="942640"/>
                  <a:pt x="1767473" y="942640"/>
                  <a:pt x="1767473" y="942640"/>
                </a:cubicBezTo>
                <a:cubicBezTo>
                  <a:pt x="1779329" y="942640"/>
                  <a:pt x="1791185" y="942640"/>
                  <a:pt x="1808969" y="948568"/>
                </a:cubicBezTo>
                <a:cubicBezTo>
                  <a:pt x="1820825" y="942640"/>
                  <a:pt x="1832681" y="942640"/>
                  <a:pt x="1844537" y="936711"/>
                </a:cubicBezTo>
                <a:cubicBezTo>
                  <a:pt x="1838609" y="924854"/>
                  <a:pt x="1826753" y="924854"/>
                  <a:pt x="1826753" y="912997"/>
                </a:cubicBezTo>
                <a:cubicBezTo>
                  <a:pt x="1832681" y="901140"/>
                  <a:pt x="1844537" y="912997"/>
                  <a:pt x="1850465" y="907068"/>
                </a:cubicBezTo>
                <a:cubicBezTo>
                  <a:pt x="1856393" y="907068"/>
                  <a:pt x="1856393" y="907068"/>
                  <a:pt x="1856393" y="901140"/>
                </a:cubicBezTo>
                <a:cubicBezTo>
                  <a:pt x="1868249" y="889283"/>
                  <a:pt x="1874177" y="877426"/>
                  <a:pt x="1874177" y="859640"/>
                </a:cubicBezTo>
                <a:cubicBezTo>
                  <a:pt x="1886033" y="859640"/>
                  <a:pt x="1891961" y="859640"/>
                  <a:pt x="1903817" y="859640"/>
                </a:cubicBezTo>
                <a:cubicBezTo>
                  <a:pt x="1909745" y="859640"/>
                  <a:pt x="1915673" y="865569"/>
                  <a:pt x="1921601" y="871497"/>
                </a:cubicBezTo>
                <a:cubicBezTo>
                  <a:pt x="1939385" y="871497"/>
                  <a:pt x="1951241" y="859640"/>
                  <a:pt x="1969025" y="859640"/>
                </a:cubicBezTo>
                <a:cubicBezTo>
                  <a:pt x="1974953" y="847783"/>
                  <a:pt x="1980881" y="841854"/>
                  <a:pt x="1986809" y="835926"/>
                </a:cubicBezTo>
                <a:cubicBezTo>
                  <a:pt x="1992737" y="835926"/>
                  <a:pt x="2004593" y="829997"/>
                  <a:pt x="2016449" y="829997"/>
                </a:cubicBezTo>
                <a:cubicBezTo>
                  <a:pt x="2016449" y="818140"/>
                  <a:pt x="2022377" y="812212"/>
                  <a:pt x="2022377" y="800355"/>
                </a:cubicBezTo>
                <a:cubicBezTo>
                  <a:pt x="2034233" y="794426"/>
                  <a:pt x="2040161" y="788497"/>
                  <a:pt x="2052017" y="782569"/>
                </a:cubicBezTo>
                <a:cubicBezTo>
                  <a:pt x="2057945" y="776640"/>
                  <a:pt x="2057945" y="770712"/>
                  <a:pt x="2063873" y="764783"/>
                </a:cubicBezTo>
                <a:cubicBezTo>
                  <a:pt x="2063873" y="764783"/>
                  <a:pt x="2069801" y="764783"/>
                  <a:pt x="2069801" y="764783"/>
                </a:cubicBezTo>
                <a:cubicBezTo>
                  <a:pt x="2081657" y="770712"/>
                  <a:pt x="2081657" y="782569"/>
                  <a:pt x="2093512" y="788497"/>
                </a:cubicBezTo>
                <a:cubicBezTo>
                  <a:pt x="2117224" y="782569"/>
                  <a:pt x="2129081" y="764783"/>
                  <a:pt x="2146865" y="752926"/>
                </a:cubicBezTo>
                <a:cubicBezTo>
                  <a:pt x="2152793" y="752926"/>
                  <a:pt x="2164649" y="752926"/>
                  <a:pt x="2170577" y="752926"/>
                </a:cubicBezTo>
                <a:cubicBezTo>
                  <a:pt x="2176504" y="746998"/>
                  <a:pt x="2182432" y="735141"/>
                  <a:pt x="2182432" y="723283"/>
                </a:cubicBezTo>
                <a:cubicBezTo>
                  <a:pt x="2194289" y="717355"/>
                  <a:pt x="2206144" y="711426"/>
                  <a:pt x="2212073" y="711426"/>
                </a:cubicBezTo>
                <a:cubicBezTo>
                  <a:pt x="2223928" y="705498"/>
                  <a:pt x="2218001" y="693641"/>
                  <a:pt x="2223928" y="681784"/>
                </a:cubicBezTo>
                <a:cubicBezTo>
                  <a:pt x="2253569" y="669926"/>
                  <a:pt x="2283209" y="669926"/>
                  <a:pt x="2318777" y="669926"/>
                </a:cubicBezTo>
                <a:cubicBezTo>
                  <a:pt x="2324705" y="658069"/>
                  <a:pt x="2324705" y="658069"/>
                  <a:pt x="2318777" y="634355"/>
                </a:cubicBezTo>
                <a:cubicBezTo>
                  <a:pt x="2312848" y="634355"/>
                  <a:pt x="2300993" y="634355"/>
                  <a:pt x="2295065" y="640284"/>
                </a:cubicBezTo>
                <a:cubicBezTo>
                  <a:pt x="2289136" y="634355"/>
                  <a:pt x="2283209" y="634355"/>
                  <a:pt x="2283209" y="628427"/>
                </a:cubicBezTo>
                <a:cubicBezTo>
                  <a:pt x="2283209" y="622498"/>
                  <a:pt x="2283209" y="610641"/>
                  <a:pt x="2289136" y="610641"/>
                </a:cubicBezTo>
                <a:cubicBezTo>
                  <a:pt x="2300993" y="604712"/>
                  <a:pt x="2306920" y="604712"/>
                  <a:pt x="2312848" y="598784"/>
                </a:cubicBezTo>
                <a:cubicBezTo>
                  <a:pt x="2318777" y="598784"/>
                  <a:pt x="2330632" y="592855"/>
                  <a:pt x="2336560" y="592855"/>
                </a:cubicBezTo>
                <a:cubicBezTo>
                  <a:pt x="2348417" y="586927"/>
                  <a:pt x="2354344" y="586927"/>
                  <a:pt x="2360273" y="586927"/>
                </a:cubicBezTo>
                <a:cubicBezTo>
                  <a:pt x="2363237" y="578034"/>
                  <a:pt x="2366201" y="570623"/>
                  <a:pt x="2369905" y="563954"/>
                </a:cubicBezTo>
                <a:lnTo>
                  <a:pt x="2383795" y="545676"/>
                </a:lnTo>
                <a:lnTo>
                  <a:pt x="2395100" y="546168"/>
                </a:lnTo>
                <a:cubicBezTo>
                  <a:pt x="2400286" y="546909"/>
                  <a:pt x="2404733" y="548391"/>
                  <a:pt x="2407697" y="551355"/>
                </a:cubicBezTo>
                <a:cubicBezTo>
                  <a:pt x="2425481" y="557284"/>
                  <a:pt x="2425481" y="575070"/>
                  <a:pt x="2431409" y="586927"/>
                </a:cubicBezTo>
                <a:cubicBezTo>
                  <a:pt x="2437337" y="586927"/>
                  <a:pt x="2437337" y="586927"/>
                  <a:pt x="2443264" y="580998"/>
                </a:cubicBezTo>
                <a:cubicBezTo>
                  <a:pt x="2443264" y="575070"/>
                  <a:pt x="2443264" y="563213"/>
                  <a:pt x="2443264" y="545427"/>
                </a:cubicBezTo>
                <a:cubicBezTo>
                  <a:pt x="2437337" y="539498"/>
                  <a:pt x="2437337" y="533570"/>
                  <a:pt x="2431409" y="527641"/>
                </a:cubicBezTo>
                <a:cubicBezTo>
                  <a:pt x="2437337" y="515784"/>
                  <a:pt x="2443264" y="515784"/>
                  <a:pt x="2449193" y="509856"/>
                </a:cubicBezTo>
                <a:cubicBezTo>
                  <a:pt x="2455121" y="509856"/>
                  <a:pt x="2466976" y="509856"/>
                  <a:pt x="2472905" y="509856"/>
                </a:cubicBezTo>
                <a:cubicBezTo>
                  <a:pt x="2472905" y="515784"/>
                  <a:pt x="2472905" y="515784"/>
                  <a:pt x="2478833" y="515784"/>
                </a:cubicBezTo>
                <a:cubicBezTo>
                  <a:pt x="2478833" y="515784"/>
                  <a:pt x="2472905" y="509856"/>
                  <a:pt x="2472905" y="509856"/>
                </a:cubicBezTo>
                <a:cubicBezTo>
                  <a:pt x="2472905" y="503927"/>
                  <a:pt x="2466976" y="497998"/>
                  <a:pt x="2466976" y="497998"/>
                </a:cubicBezTo>
                <a:cubicBezTo>
                  <a:pt x="2455121" y="486141"/>
                  <a:pt x="2437337" y="497998"/>
                  <a:pt x="2425481" y="480213"/>
                </a:cubicBezTo>
                <a:cubicBezTo>
                  <a:pt x="2425481" y="468356"/>
                  <a:pt x="2437337" y="462427"/>
                  <a:pt x="2443264" y="450570"/>
                </a:cubicBezTo>
                <a:cubicBezTo>
                  <a:pt x="2455121" y="438713"/>
                  <a:pt x="2472905" y="438713"/>
                  <a:pt x="2484760" y="438713"/>
                </a:cubicBezTo>
                <a:cubicBezTo>
                  <a:pt x="2484760" y="438713"/>
                  <a:pt x="2490689" y="438713"/>
                  <a:pt x="2490689" y="438713"/>
                </a:cubicBezTo>
                <a:cubicBezTo>
                  <a:pt x="2484760" y="444641"/>
                  <a:pt x="2478833" y="450570"/>
                  <a:pt x="2472905" y="456499"/>
                </a:cubicBezTo>
                <a:cubicBezTo>
                  <a:pt x="2472905" y="462427"/>
                  <a:pt x="2478833" y="462427"/>
                  <a:pt x="2478833" y="468356"/>
                </a:cubicBezTo>
                <a:cubicBezTo>
                  <a:pt x="2484761" y="468356"/>
                  <a:pt x="2489207" y="465391"/>
                  <a:pt x="2493653" y="462427"/>
                </a:cubicBezTo>
                <a:lnTo>
                  <a:pt x="2507061" y="457063"/>
                </a:lnTo>
                <a:lnTo>
                  <a:pt x="2508472" y="457240"/>
                </a:lnTo>
                <a:lnTo>
                  <a:pt x="2508472" y="459463"/>
                </a:lnTo>
                <a:cubicBezTo>
                  <a:pt x="2508472" y="460945"/>
                  <a:pt x="2508472" y="462427"/>
                  <a:pt x="2508472" y="462427"/>
                </a:cubicBezTo>
                <a:cubicBezTo>
                  <a:pt x="2508472" y="468356"/>
                  <a:pt x="2508472" y="468356"/>
                  <a:pt x="2514401" y="462427"/>
                </a:cubicBezTo>
                <a:cubicBezTo>
                  <a:pt x="2511437" y="459463"/>
                  <a:pt x="2509954" y="457981"/>
                  <a:pt x="2508472" y="457240"/>
                </a:cubicBezTo>
                <a:lnTo>
                  <a:pt x="2508472" y="456499"/>
                </a:lnTo>
                <a:lnTo>
                  <a:pt x="2507061" y="457063"/>
                </a:lnTo>
                <a:lnTo>
                  <a:pt x="2502545" y="456499"/>
                </a:lnTo>
                <a:cubicBezTo>
                  <a:pt x="2508472" y="450570"/>
                  <a:pt x="2514401" y="444641"/>
                  <a:pt x="2514401" y="444641"/>
                </a:cubicBezTo>
                <a:cubicBezTo>
                  <a:pt x="2526256" y="432784"/>
                  <a:pt x="2544041" y="450570"/>
                  <a:pt x="2555896" y="426856"/>
                </a:cubicBezTo>
                <a:cubicBezTo>
                  <a:pt x="2555896" y="426856"/>
                  <a:pt x="2561825" y="420927"/>
                  <a:pt x="2561825" y="414999"/>
                </a:cubicBezTo>
                <a:cubicBezTo>
                  <a:pt x="2555896" y="397213"/>
                  <a:pt x="2555896" y="397213"/>
                  <a:pt x="2567753" y="373499"/>
                </a:cubicBezTo>
                <a:cubicBezTo>
                  <a:pt x="2573680" y="379427"/>
                  <a:pt x="2573680" y="391284"/>
                  <a:pt x="2585537" y="391284"/>
                </a:cubicBezTo>
                <a:cubicBezTo>
                  <a:pt x="2597392" y="391284"/>
                  <a:pt x="2591464" y="379427"/>
                  <a:pt x="2597392" y="373499"/>
                </a:cubicBezTo>
                <a:cubicBezTo>
                  <a:pt x="2603321" y="361642"/>
                  <a:pt x="2615176" y="361642"/>
                  <a:pt x="2621104" y="361642"/>
                </a:cubicBezTo>
                <a:cubicBezTo>
                  <a:pt x="2632961" y="367570"/>
                  <a:pt x="2627033" y="379427"/>
                  <a:pt x="2638888" y="391284"/>
                </a:cubicBezTo>
                <a:cubicBezTo>
                  <a:pt x="2644817" y="391284"/>
                  <a:pt x="2656672" y="385356"/>
                  <a:pt x="2668529" y="379427"/>
                </a:cubicBezTo>
                <a:cubicBezTo>
                  <a:pt x="2668529" y="379427"/>
                  <a:pt x="2674457" y="367570"/>
                  <a:pt x="2680384" y="361642"/>
                </a:cubicBezTo>
                <a:cubicBezTo>
                  <a:pt x="2692241" y="355713"/>
                  <a:pt x="2698169" y="349785"/>
                  <a:pt x="2704096" y="343856"/>
                </a:cubicBezTo>
                <a:cubicBezTo>
                  <a:pt x="2710025" y="337928"/>
                  <a:pt x="2715953" y="326071"/>
                  <a:pt x="2715953" y="320142"/>
                </a:cubicBezTo>
                <a:cubicBezTo>
                  <a:pt x="2715953" y="308285"/>
                  <a:pt x="2715953" y="302356"/>
                  <a:pt x="2704096" y="296428"/>
                </a:cubicBezTo>
                <a:cubicBezTo>
                  <a:pt x="2698169" y="296428"/>
                  <a:pt x="2692241" y="296428"/>
                  <a:pt x="2686312" y="290499"/>
                </a:cubicBezTo>
                <a:cubicBezTo>
                  <a:pt x="2680384" y="284571"/>
                  <a:pt x="2686312" y="278642"/>
                  <a:pt x="2692241" y="278642"/>
                </a:cubicBezTo>
                <a:cubicBezTo>
                  <a:pt x="2698169" y="278642"/>
                  <a:pt x="2704096" y="278642"/>
                  <a:pt x="2715953" y="278642"/>
                </a:cubicBezTo>
                <a:cubicBezTo>
                  <a:pt x="2715953" y="272714"/>
                  <a:pt x="2715953" y="272714"/>
                  <a:pt x="2715953" y="272714"/>
                </a:cubicBezTo>
                <a:cubicBezTo>
                  <a:pt x="2715953" y="254928"/>
                  <a:pt x="2721880" y="237142"/>
                  <a:pt x="2721880" y="219357"/>
                </a:cubicBezTo>
                <a:cubicBezTo>
                  <a:pt x="2727808" y="213428"/>
                  <a:pt x="2727808" y="207499"/>
                  <a:pt x="2727808" y="201571"/>
                </a:cubicBezTo>
                <a:cubicBezTo>
                  <a:pt x="2727808" y="195642"/>
                  <a:pt x="2727808" y="189714"/>
                  <a:pt x="2721880" y="183785"/>
                </a:cubicBezTo>
                <a:cubicBezTo>
                  <a:pt x="2727808" y="166000"/>
                  <a:pt x="2745592" y="166000"/>
                  <a:pt x="2757449" y="166000"/>
                </a:cubicBezTo>
                <a:cubicBezTo>
                  <a:pt x="2763377" y="166000"/>
                  <a:pt x="2769304" y="171928"/>
                  <a:pt x="2769304" y="177857"/>
                </a:cubicBezTo>
                <a:cubicBezTo>
                  <a:pt x="2769304" y="189714"/>
                  <a:pt x="2757449" y="189714"/>
                  <a:pt x="2751520" y="195642"/>
                </a:cubicBezTo>
                <a:cubicBezTo>
                  <a:pt x="2745592" y="213428"/>
                  <a:pt x="2751520" y="231214"/>
                  <a:pt x="2751520" y="248999"/>
                </a:cubicBezTo>
                <a:cubicBezTo>
                  <a:pt x="2745592" y="266785"/>
                  <a:pt x="2745592" y="284571"/>
                  <a:pt x="2745592" y="308285"/>
                </a:cubicBezTo>
                <a:cubicBezTo>
                  <a:pt x="2745592" y="314213"/>
                  <a:pt x="2751520" y="314213"/>
                  <a:pt x="2757449" y="314213"/>
                </a:cubicBezTo>
                <a:cubicBezTo>
                  <a:pt x="2763377" y="308285"/>
                  <a:pt x="2769304" y="296428"/>
                  <a:pt x="2775233" y="290499"/>
                </a:cubicBezTo>
                <a:cubicBezTo>
                  <a:pt x="2787089" y="278642"/>
                  <a:pt x="2798945" y="272714"/>
                  <a:pt x="2810800" y="272714"/>
                </a:cubicBezTo>
                <a:cubicBezTo>
                  <a:pt x="2810800" y="272714"/>
                  <a:pt x="2810800" y="278642"/>
                  <a:pt x="2816728" y="278642"/>
                </a:cubicBezTo>
                <a:cubicBezTo>
                  <a:pt x="2822657" y="278642"/>
                  <a:pt x="2828585" y="278642"/>
                  <a:pt x="2828585" y="278642"/>
                </a:cubicBezTo>
                <a:cubicBezTo>
                  <a:pt x="2834512" y="272714"/>
                  <a:pt x="2828585" y="272714"/>
                  <a:pt x="2822657" y="266785"/>
                </a:cubicBezTo>
                <a:cubicBezTo>
                  <a:pt x="2816728" y="272714"/>
                  <a:pt x="2816728" y="272714"/>
                  <a:pt x="2810800" y="272714"/>
                </a:cubicBezTo>
                <a:cubicBezTo>
                  <a:pt x="2810800" y="266785"/>
                  <a:pt x="2810800" y="260856"/>
                  <a:pt x="2810800" y="254928"/>
                </a:cubicBezTo>
                <a:cubicBezTo>
                  <a:pt x="2834512" y="213428"/>
                  <a:pt x="2834512" y="213428"/>
                  <a:pt x="2858224" y="201571"/>
                </a:cubicBezTo>
                <a:cubicBezTo>
                  <a:pt x="2864153" y="207499"/>
                  <a:pt x="2864153" y="207499"/>
                  <a:pt x="2864153" y="213428"/>
                </a:cubicBezTo>
                <a:cubicBezTo>
                  <a:pt x="2864153" y="219357"/>
                  <a:pt x="2864153" y="225285"/>
                  <a:pt x="2858224" y="231214"/>
                </a:cubicBezTo>
                <a:cubicBezTo>
                  <a:pt x="2870081" y="237142"/>
                  <a:pt x="2870081" y="237142"/>
                  <a:pt x="2887864" y="231214"/>
                </a:cubicBezTo>
                <a:cubicBezTo>
                  <a:pt x="2899720" y="237142"/>
                  <a:pt x="2917504" y="237142"/>
                  <a:pt x="2929360" y="243071"/>
                </a:cubicBezTo>
                <a:cubicBezTo>
                  <a:pt x="2923432" y="254928"/>
                  <a:pt x="2923432" y="254928"/>
                  <a:pt x="2905648" y="260856"/>
                </a:cubicBezTo>
                <a:cubicBezTo>
                  <a:pt x="2905648" y="266785"/>
                  <a:pt x="2899720" y="278642"/>
                  <a:pt x="2893792" y="296428"/>
                </a:cubicBezTo>
                <a:cubicBezTo>
                  <a:pt x="2876008" y="314213"/>
                  <a:pt x="2846369" y="326071"/>
                  <a:pt x="2834512" y="349785"/>
                </a:cubicBezTo>
                <a:cubicBezTo>
                  <a:pt x="2822657" y="361642"/>
                  <a:pt x="2810800" y="361642"/>
                  <a:pt x="2798945" y="367570"/>
                </a:cubicBezTo>
                <a:lnTo>
                  <a:pt x="2798517" y="363511"/>
                </a:lnTo>
                <a:lnTo>
                  <a:pt x="2798945" y="361642"/>
                </a:lnTo>
                <a:lnTo>
                  <a:pt x="2798321" y="361642"/>
                </a:lnTo>
                <a:lnTo>
                  <a:pt x="2797463" y="353490"/>
                </a:lnTo>
                <a:cubicBezTo>
                  <a:pt x="2795981" y="349785"/>
                  <a:pt x="2793017" y="346820"/>
                  <a:pt x="2787089" y="343856"/>
                </a:cubicBezTo>
                <a:cubicBezTo>
                  <a:pt x="2781161" y="343856"/>
                  <a:pt x="2769304" y="343856"/>
                  <a:pt x="2757449" y="349785"/>
                </a:cubicBezTo>
                <a:cubicBezTo>
                  <a:pt x="2745592" y="361642"/>
                  <a:pt x="2733737" y="385356"/>
                  <a:pt x="2715953" y="397213"/>
                </a:cubicBezTo>
                <a:cubicBezTo>
                  <a:pt x="2710025" y="397213"/>
                  <a:pt x="2710025" y="403142"/>
                  <a:pt x="2710025" y="409070"/>
                </a:cubicBezTo>
                <a:cubicBezTo>
                  <a:pt x="2680384" y="426856"/>
                  <a:pt x="2656672" y="420927"/>
                  <a:pt x="2627033" y="414999"/>
                </a:cubicBezTo>
                <a:cubicBezTo>
                  <a:pt x="2615176" y="426856"/>
                  <a:pt x="2597392" y="414999"/>
                  <a:pt x="2579609" y="426856"/>
                </a:cubicBezTo>
                <a:cubicBezTo>
                  <a:pt x="2573680" y="438713"/>
                  <a:pt x="2573680" y="444641"/>
                  <a:pt x="2579609" y="456499"/>
                </a:cubicBezTo>
                <a:cubicBezTo>
                  <a:pt x="2591464" y="450570"/>
                  <a:pt x="2597392" y="432784"/>
                  <a:pt x="2615176" y="432784"/>
                </a:cubicBezTo>
                <a:cubicBezTo>
                  <a:pt x="2621104" y="432784"/>
                  <a:pt x="2632961" y="438713"/>
                  <a:pt x="2638888" y="438713"/>
                </a:cubicBezTo>
                <a:cubicBezTo>
                  <a:pt x="2662600" y="438713"/>
                  <a:pt x="2686312" y="438713"/>
                  <a:pt x="2710025" y="432784"/>
                </a:cubicBezTo>
                <a:cubicBezTo>
                  <a:pt x="2715953" y="426856"/>
                  <a:pt x="2710025" y="414999"/>
                  <a:pt x="2710025" y="409070"/>
                </a:cubicBezTo>
                <a:cubicBezTo>
                  <a:pt x="2721880" y="397213"/>
                  <a:pt x="2733737" y="397213"/>
                  <a:pt x="2751520" y="397213"/>
                </a:cubicBezTo>
                <a:cubicBezTo>
                  <a:pt x="2751520" y="397213"/>
                  <a:pt x="2757449" y="391284"/>
                  <a:pt x="2757449" y="391284"/>
                </a:cubicBezTo>
                <a:cubicBezTo>
                  <a:pt x="2769304" y="385356"/>
                  <a:pt x="2763377" y="367570"/>
                  <a:pt x="2781161" y="361642"/>
                </a:cubicBezTo>
                <a:lnTo>
                  <a:pt x="2798321" y="361642"/>
                </a:lnTo>
                <a:lnTo>
                  <a:pt x="2798517" y="363511"/>
                </a:lnTo>
                <a:lnTo>
                  <a:pt x="2793016" y="387579"/>
                </a:lnTo>
                <a:cubicBezTo>
                  <a:pt x="2791534" y="395731"/>
                  <a:pt x="2790052" y="403142"/>
                  <a:pt x="2787089" y="409070"/>
                </a:cubicBezTo>
                <a:cubicBezTo>
                  <a:pt x="2781161" y="420927"/>
                  <a:pt x="2763377" y="420927"/>
                  <a:pt x="2763377" y="432784"/>
                </a:cubicBezTo>
                <a:cubicBezTo>
                  <a:pt x="2769304" y="438713"/>
                  <a:pt x="2769304" y="438713"/>
                  <a:pt x="2793016" y="444641"/>
                </a:cubicBezTo>
                <a:cubicBezTo>
                  <a:pt x="2804873" y="438713"/>
                  <a:pt x="2822657" y="432784"/>
                  <a:pt x="2834512" y="420927"/>
                </a:cubicBezTo>
                <a:cubicBezTo>
                  <a:pt x="2840441" y="420927"/>
                  <a:pt x="2846369" y="409070"/>
                  <a:pt x="2858224" y="414999"/>
                </a:cubicBezTo>
                <a:cubicBezTo>
                  <a:pt x="2858224" y="414999"/>
                  <a:pt x="2864153" y="420927"/>
                  <a:pt x="2864153" y="420927"/>
                </a:cubicBezTo>
                <a:cubicBezTo>
                  <a:pt x="2864153" y="420927"/>
                  <a:pt x="2864153" y="426856"/>
                  <a:pt x="2864153" y="426856"/>
                </a:cubicBezTo>
                <a:cubicBezTo>
                  <a:pt x="2870081" y="432784"/>
                  <a:pt x="2881936" y="432784"/>
                  <a:pt x="2887864" y="438713"/>
                </a:cubicBezTo>
                <a:cubicBezTo>
                  <a:pt x="2890828" y="447606"/>
                  <a:pt x="2889346" y="453534"/>
                  <a:pt x="2886382" y="459463"/>
                </a:cubicBezTo>
                <a:lnTo>
                  <a:pt x="2878132" y="475965"/>
                </a:lnTo>
                <a:lnTo>
                  <a:pt x="2876008" y="474284"/>
                </a:lnTo>
                <a:cubicBezTo>
                  <a:pt x="2876008" y="474284"/>
                  <a:pt x="2876008" y="474284"/>
                  <a:pt x="2876008" y="480213"/>
                </a:cubicBezTo>
                <a:lnTo>
                  <a:pt x="2878132" y="475965"/>
                </a:lnTo>
                <a:lnTo>
                  <a:pt x="2893792" y="488365"/>
                </a:lnTo>
                <a:cubicBezTo>
                  <a:pt x="2899720" y="492070"/>
                  <a:pt x="2905648" y="495034"/>
                  <a:pt x="2911576" y="497998"/>
                </a:cubicBezTo>
                <a:cubicBezTo>
                  <a:pt x="2929360" y="492070"/>
                  <a:pt x="2941216" y="486141"/>
                  <a:pt x="2959000" y="480213"/>
                </a:cubicBezTo>
                <a:cubicBezTo>
                  <a:pt x="2964928" y="474284"/>
                  <a:pt x="2970856" y="462427"/>
                  <a:pt x="2976784" y="456499"/>
                </a:cubicBezTo>
                <a:cubicBezTo>
                  <a:pt x="2982712" y="456499"/>
                  <a:pt x="2982712" y="456499"/>
                  <a:pt x="2988640" y="456499"/>
                </a:cubicBezTo>
                <a:cubicBezTo>
                  <a:pt x="3006424" y="450570"/>
                  <a:pt x="3018280" y="456499"/>
                  <a:pt x="3036064" y="468356"/>
                </a:cubicBezTo>
                <a:cubicBezTo>
                  <a:pt x="3041992" y="468356"/>
                  <a:pt x="3047920" y="462427"/>
                  <a:pt x="3053848" y="462427"/>
                </a:cubicBezTo>
                <a:cubicBezTo>
                  <a:pt x="3065704" y="468356"/>
                  <a:pt x="3065704" y="480213"/>
                  <a:pt x="3071632" y="492070"/>
                </a:cubicBezTo>
                <a:cubicBezTo>
                  <a:pt x="3065704" y="497998"/>
                  <a:pt x="3059776" y="503927"/>
                  <a:pt x="3053848" y="503927"/>
                </a:cubicBezTo>
                <a:cubicBezTo>
                  <a:pt x="3047920" y="503927"/>
                  <a:pt x="3041992" y="497998"/>
                  <a:pt x="3036064" y="497998"/>
                </a:cubicBezTo>
                <a:cubicBezTo>
                  <a:pt x="3030136" y="497998"/>
                  <a:pt x="3024208" y="497998"/>
                  <a:pt x="3018280" y="503927"/>
                </a:cubicBezTo>
                <a:cubicBezTo>
                  <a:pt x="3012352" y="492070"/>
                  <a:pt x="3012352" y="486141"/>
                  <a:pt x="3006424" y="480213"/>
                </a:cubicBezTo>
                <a:cubicBezTo>
                  <a:pt x="3006424" y="480213"/>
                  <a:pt x="3000496" y="474284"/>
                  <a:pt x="3000496" y="474284"/>
                </a:cubicBezTo>
                <a:cubicBezTo>
                  <a:pt x="2994568" y="474284"/>
                  <a:pt x="2994568" y="474284"/>
                  <a:pt x="2994568" y="474284"/>
                </a:cubicBezTo>
                <a:cubicBezTo>
                  <a:pt x="2988640" y="492070"/>
                  <a:pt x="2988640" y="503927"/>
                  <a:pt x="2994568" y="515784"/>
                </a:cubicBezTo>
                <a:cubicBezTo>
                  <a:pt x="3000496" y="515784"/>
                  <a:pt x="3000496" y="521713"/>
                  <a:pt x="3006424" y="521713"/>
                </a:cubicBezTo>
                <a:cubicBezTo>
                  <a:pt x="3012352" y="521713"/>
                  <a:pt x="3024208" y="521713"/>
                  <a:pt x="3030136" y="521713"/>
                </a:cubicBezTo>
                <a:cubicBezTo>
                  <a:pt x="3041992" y="527641"/>
                  <a:pt x="3053848" y="533570"/>
                  <a:pt x="3065704" y="533570"/>
                </a:cubicBezTo>
                <a:cubicBezTo>
                  <a:pt x="3077560" y="533570"/>
                  <a:pt x="3089416" y="527641"/>
                  <a:pt x="3101272" y="527641"/>
                </a:cubicBezTo>
                <a:cubicBezTo>
                  <a:pt x="3107200" y="527641"/>
                  <a:pt x="3113128" y="533570"/>
                  <a:pt x="3119056" y="533570"/>
                </a:cubicBezTo>
                <a:cubicBezTo>
                  <a:pt x="3130912" y="533570"/>
                  <a:pt x="3124984" y="527641"/>
                  <a:pt x="3124984" y="515784"/>
                </a:cubicBezTo>
                <a:cubicBezTo>
                  <a:pt x="3113128" y="515784"/>
                  <a:pt x="3107200" y="509856"/>
                  <a:pt x="3095344" y="503927"/>
                </a:cubicBezTo>
                <a:cubicBezTo>
                  <a:pt x="3095344" y="497998"/>
                  <a:pt x="3095344" y="492070"/>
                  <a:pt x="3095344" y="486141"/>
                </a:cubicBezTo>
                <a:cubicBezTo>
                  <a:pt x="3095344" y="480213"/>
                  <a:pt x="3089416" y="474284"/>
                  <a:pt x="3083488" y="468356"/>
                </a:cubicBezTo>
                <a:cubicBezTo>
                  <a:pt x="3077560" y="450570"/>
                  <a:pt x="3095344" y="438713"/>
                  <a:pt x="3089416" y="420927"/>
                </a:cubicBezTo>
                <a:cubicBezTo>
                  <a:pt x="3089416" y="409070"/>
                  <a:pt x="3089416" y="397213"/>
                  <a:pt x="3083488" y="385356"/>
                </a:cubicBezTo>
                <a:cubicBezTo>
                  <a:pt x="3089416" y="379427"/>
                  <a:pt x="3095344" y="379427"/>
                  <a:pt x="3101272" y="379427"/>
                </a:cubicBezTo>
                <a:cubicBezTo>
                  <a:pt x="3107200" y="385356"/>
                  <a:pt x="3113128" y="385356"/>
                  <a:pt x="3119056" y="391284"/>
                </a:cubicBezTo>
                <a:cubicBezTo>
                  <a:pt x="3119056" y="409070"/>
                  <a:pt x="3113128" y="420927"/>
                  <a:pt x="3113128" y="432784"/>
                </a:cubicBezTo>
                <a:cubicBezTo>
                  <a:pt x="3113128" y="450570"/>
                  <a:pt x="3130912" y="450570"/>
                  <a:pt x="3142768" y="456499"/>
                </a:cubicBezTo>
                <a:cubicBezTo>
                  <a:pt x="3160552" y="450570"/>
                  <a:pt x="3178336" y="444641"/>
                  <a:pt x="3196120" y="438713"/>
                </a:cubicBezTo>
                <a:cubicBezTo>
                  <a:pt x="3202048" y="426856"/>
                  <a:pt x="3202048" y="426856"/>
                  <a:pt x="3196120" y="403142"/>
                </a:cubicBezTo>
                <a:cubicBezTo>
                  <a:pt x="3190192" y="397213"/>
                  <a:pt x="3178336" y="403142"/>
                  <a:pt x="3172408" y="397213"/>
                </a:cubicBezTo>
                <a:cubicBezTo>
                  <a:pt x="3154624" y="391284"/>
                  <a:pt x="3142768" y="379427"/>
                  <a:pt x="3142768" y="361642"/>
                </a:cubicBezTo>
                <a:cubicBezTo>
                  <a:pt x="3142768" y="355713"/>
                  <a:pt x="3148696" y="355713"/>
                  <a:pt x="3148696" y="355713"/>
                </a:cubicBezTo>
                <a:cubicBezTo>
                  <a:pt x="3166480" y="373499"/>
                  <a:pt x="3190192" y="379427"/>
                  <a:pt x="3213904" y="385356"/>
                </a:cubicBezTo>
                <a:cubicBezTo>
                  <a:pt x="3219832" y="391284"/>
                  <a:pt x="3231688" y="403142"/>
                  <a:pt x="3237616" y="414999"/>
                </a:cubicBezTo>
                <a:cubicBezTo>
                  <a:pt x="3231688" y="420927"/>
                  <a:pt x="3225760" y="432784"/>
                  <a:pt x="3225760" y="438713"/>
                </a:cubicBezTo>
                <a:cubicBezTo>
                  <a:pt x="3225760" y="444641"/>
                  <a:pt x="3231688" y="450570"/>
                  <a:pt x="3237616" y="450570"/>
                </a:cubicBezTo>
                <a:cubicBezTo>
                  <a:pt x="3255400" y="450570"/>
                  <a:pt x="3279112" y="444641"/>
                  <a:pt x="3302824" y="444641"/>
                </a:cubicBezTo>
                <a:cubicBezTo>
                  <a:pt x="3314680" y="450570"/>
                  <a:pt x="3332464" y="450570"/>
                  <a:pt x="3350248" y="450570"/>
                </a:cubicBezTo>
                <a:cubicBezTo>
                  <a:pt x="3362104" y="456499"/>
                  <a:pt x="3379888" y="450570"/>
                  <a:pt x="3391744" y="462427"/>
                </a:cubicBezTo>
                <a:cubicBezTo>
                  <a:pt x="3415456" y="450570"/>
                  <a:pt x="3433240" y="450570"/>
                  <a:pt x="3451024" y="450570"/>
                </a:cubicBezTo>
                <a:cubicBezTo>
                  <a:pt x="3462880" y="450570"/>
                  <a:pt x="3480664" y="444641"/>
                  <a:pt x="3492520" y="444641"/>
                </a:cubicBezTo>
                <a:cubicBezTo>
                  <a:pt x="3504376" y="438713"/>
                  <a:pt x="3516232" y="456499"/>
                  <a:pt x="3528088" y="444641"/>
                </a:cubicBezTo>
                <a:cubicBezTo>
                  <a:pt x="3528088" y="426856"/>
                  <a:pt x="3504376" y="432784"/>
                  <a:pt x="3498448" y="426856"/>
                </a:cubicBezTo>
                <a:cubicBezTo>
                  <a:pt x="3486592" y="409070"/>
                  <a:pt x="3474736" y="397213"/>
                  <a:pt x="3474736" y="385356"/>
                </a:cubicBezTo>
                <a:cubicBezTo>
                  <a:pt x="3474736" y="373499"/>
                  <a:pt x="3480664" y="373499"/>
                  <a:pt x="3492520" y="367570"/>
                </a:cubicBezTo>
                <a:cubicBezTo>
                  <a:pt x="3498448" y="367570"/>
                  <a:pt x="3510304" y="379427"/>
                  <a:pt x="3522160" y="373499"/>
                </a:cubicBezTo>
                <a:cubicBezTo>
                  <a:pt x="3522160" y="373499"/>
                  <a:pt x="3528088" y="367570"/>
                  <a:pt x="3528088" y="367570"/>
                </a:cubicBezTo>
                <a:cubicBezTo>
                  <a:pt x="3528088" y="361642"/>
                  <a:pt x="3528088" y="355713"/>
                  <a:pt x="3528088" y="343856"/>
                </a:cubicBezTo>
                <a:cubicBezTo>
                  <a:pt x="3534016" y="331999"/>
                  <a:pt x="3545872" y="331999"/>
                  <a:pt x="3557728" y="331999"/>
                </a:cubicBezTo>
                <a:cubicBezTo>
                  <a:pt x="3557728" y="337928"/>
                  <a:pt x="3563656" y="337928"/>
                  <a:pt x="3563656" y="343856"/>
                </a:cubicBezTo>
                <a:cubicBezTo>
                  <a:pt x="3569584" y="361642"/>
                  <a:pt x="3545872" y="379427"/>
                  <a:pt x="3557728" y="403142"/>
                </a:cubicBezTo>
                <a:cubicBezTo>
                  <a:pt x="3557728" y="403142"/>
                  <a:pt x="3563656" y="403142"/>
                  <a:pt x="3563656" y="409070"/>
                </a:cubicBezTo>
                <a:cubicBezTo>
                  <a:pt x="3563656" y="420927"/>
                  <a:pt x="3557728" y="426856"/>
                  <a:pt x="3557728" y="438713"/>
                </a:cubicBezTo>
                <a:cubicBezTo>
                  <a:pt x="3557728" y="444641"/>
                  <a:pt x="3563656" y="450570"/>
                  <a:pt x="3569584" y="444641"/>
                </a:cubicBezTo>
                <a:cubicBezTo>
                  <a:pt x="3575512" y="432784"/>
                  <a:pt x="3575512" y="420927"/>
                  <a:pt x="3563656" y="409070"/>
                </a:cubicBezTo>
                <a:cubicBezTo>
                  <a:pt x="3569584" y="403142"/>
                  <a:pt x="3569584" y="397213"/>
                  <a:pt x="3569584" y="391284"/>
                </a:cubicBezTo>
                <a:cubicBezTo>
                  <a:pt x="3581440" y="379427"/>
                  <a:pt x="3599224" y="373499"/>
                  <a:pt x="3622936" y="373499"/>
                </a:cubicBezTo>
                <a:cubicBezTo>
                  <a:pt x="3628864" y="385356"/>
                  <a:pt x="3628864" y="391284"/>
                  <a:pt x="3640720" y="391284"/>
                </a:cubicBezTo>
                <a:cubicBezTo>
                  <a:pt x="3652576" y="391284"/>
                  <a:pt x="3658504" y="385356"/>
                  <a:pt x="3658504" y="379427"/>
                </a:cubicBezTo>
                <a:cubicBezTo>
                  <a:pt x="3664432" y="373499"/>
                  <a:pt x="3658504" y="367570"/>
                  <a:pt x="3652576" y="367570"/>
                </a:cubicBezTo>
                <a:cubicBezTo>
                  <a:pt x="3640720" y="367570"/>
                  <a:pt x="3634792" y="373499"/>
                  <a:pt x="3622936" y="373499"/>
                </a:cubicBezTo>
                <a:cubicBezTo>
                  <a:pt x="3622936" y="361642"/>
                  <a:pt x="3617008" y="349785"/>
                  <a:pt x="3617008" y="337928"/>
                </a:cubicBezTo>
                <a:cubicBezTo>
                  <a:pt x="3611080" y="331999"/>
                  <a:pt x="3605152" y="331999"/>
                  <a:pt x="3599224" y="331999"/>
                </a:cubicBezTo>
                <a:cubicBezTo>
                  <a:pt x="3593296" y="331999"/>
                  <a:pt x="3587368" y="326071"/>
                  <a:pt x="3581440" y="326071"/>
                </a:cubicBezTo>
                <a:cubicBezTo>
                  <a:pt x="3581440" y="320142"/>
                  <a:pt x="3581440" y="314213"/>
                  <a:pt x="3581440" y="308285"/>
                </a:cubicBezTo>
                <a:cubicBezTo>
                  <a:pt x="3599224" y="296428"/>
                  <a:pt x="3611080" y="296428"/>
                  <a:pt x="3628864" y="296428"/>
                </a:cubicBezTo>
                <a:cubicBezTo>
                  <a:pt x="3646648" y="302356"/>
                  <a:pt x="3664432" y="308285"/>
                  <a:pt x="3682216" y="308285"/>
                </a:cubicBezTo>
                <a:cubicBezTo>
                  <a:pt x="3682216" y="308285"/>
                  <a:pt x="3682216" y="314213"/>
                  <a:pt x="3682216" y="314213"/>
                </a:cubicBezTo>
                <a:cubicBezTo>
                  <a:pt x="3676288" y="326071"/>
                  <a:pt x="3664432" y="320142"/>
                  <a:pt x="3658504" y="320142"/>
                </a:cubicBezTo>
                <a:cubicBezTo>
                  <a:pt x="3652576" y="320142"/>
                  <a:pt x="3652576" y="326071"/>
                  <a:pt x="3652576" y="326071"/>
                </a:cubicBezTo>
                <a:cubicBezTo>
                  <a:pt x="3646648" y="331999"/>
                  <a:pt x="3652576" y="337928"/>
                  <a:pt x="3652576" y="337928"/>
                </a:cubicBezTo>
                <a:cubicBezTo>
                  <a:pt x="3676288" y="331999"/>
                  <a:pt x="3694072" y="349785"/>
                  <a:pt x="3717784" y="337928"/>
                </a:cubicBezTo>
                <a:cubicBezTo>
                  <a:pt x="3723712" y="337928"/>
                  <a:pt x="3729640" y="343856"/>
                  <a:pt x="3729640" y="349785"/>
                </a:cubicBezTo>
                <a:cubicBezTo>
                  <a:pt x="3729640" y="361642"/>
                  <a:pt x="3729640" y="367570"/>
                  <a:pt x="3723712" y="373499"/>
                </a:cubicBezTo>
                <a:cubicBezTo>
                  <a:pt x="3729640" y="385356"/>
                  <a:pt x="3741496" y="373499"/>
                  <a:pt x="3747424" y="385356"/>
                </a:cubicBezTo>
                <a:cubicBezTo>
                  <a:pt x="3753352" y="385356"/>
                  <a:pt x="3753352" y="391284"/>
                  <a:pt x="3747424" y="391284"/>
                </a:cubicBezTo>
                <a:cubicBezTo>
                  <a:pt x="3747424" y="397213"/>
                  <a:pt x="3741496" y="397213"/>
                  <a:pt x="3735568" y="397213"/>
                </a:cubicBezTo>
                <a:cubicBezTo>
                  <a:pt x="3717784" y="397213"/>
                  <a:pt x="3705928" y="397213"/>
                  <a:pt x="3688144" y="403142"/>
                </a:cubicBezTo>
                <a:cubicBezTo>
                  <a:pt x="3688144" y="409070"/>
                  <a:pt x="3682216" y="414999"/>
                  <a:pt x="3682216" y="414999"/>
                </a:cubicBezTo>
                <a:cubicBezTo>
                  <a:pt x="3676288" y="432784"/>
                  <a:pt x="3682216" y="444641"/>
                  <a:pt x="3688144" y="456499"/>
                </a:cubicBezTo>
                <a:cubicBezTo>
                  <a:pt x="3682216" y="468356"/>
                  <a:pt x="3682216" y="468356"/>
                  <a:pt x="3664432" y="474284"/>
                </a:cubicBezTo>
                <a:cubicBezTo>
                  <a:pt x="3658504" y="462427"/>
                  <a:pt x="3658504" y="450570"/>
                  <a:pt x="3652576" y="438713"/>
                </a:cubicBezTo>
                <a:cubicBezTo>
                  <a:pt x="3640720" y="462427"/>
                  <a:pt x="3646648" y="480213"/>
                  <a:pt x="3652576" y="497998"/>
                </a:cubicBezTo>
                <a:cubicBezTo>
                  <a:pt x="3652576" y="509856"/>
                  <a:pt x="3646648" y="515784"/>
                  <a:pt x="3634792" y="521713"/>
                </a:cubicBezTo>
                <a:cubicBezTo>
                  <a:pt x="3628864" y="515784"/>
                  <a:pt x="3617008" y="515784"/>
                  <a:pt x="3611080" y="515784"/>
                </a:cubicBezTo>
                <a:cubicBezTo>
                  <a:pt x="3611080" y="515784"/>
                  <a:pt x="3611080" y="515784"/>
                  <a:pt x="3605152" y="515784"/>
                </a:cubicBezTo>
                <a:cubicBezTo>
                  <a:pt x="3587368" y="521713"/>
                  <a:pt x="3569584" y="527641"/>
                  <a:pt x="3545872" y="533570"/>
                </a:cubicBezTo>
                <a:cubicBezTo>
                  <a:pt x="3498448" y="515784"/>
                  <a:pt x="3451024" y="527641"/>
                  <a:pt x="3403600" y="527641"/>
                </a:cubicBezTo>
                <a:cubicBezTo>
                  <a:pt x="3397672" y="533570"/>
                  <a:pt x="3385816" y="539498"/>
                  <a:pt x="3379888" y="551355"/>
                </a:cubicBezTo>
                <a:cubicBezTo>
                  <a:pt x="3373960" y="551355"/>
                  <a:pt x="3373960" y="551355"/>
                  <a:pt x="3362104" y="551355"/>
                </a:cubicBezTo>
                <a:cubicBezTo>
                  <a:pt x="3356176" y="557284"/>
                  <a:pt x="3344320" y="569141"/>
                  <a:pt x="3332464" y="580998"/>
                </a:cubicBezTo>
                <a:cubicBezTo>
                  <a:pt x="3326536" y="569141"/>
                  <a:pt x="3326536" y="557284"/>
                  <a:pt x="3320608" y="551355"/>
                </a:cubicBezTo>
                <a:cubicBezTo>
                  <a:pt x="3326536" y="533570"/>
                  <a:pt x="3344320" y="539498"/>
                  <a:pt x="3350248" y="527641"/>
                </a:cubicBezTo>
                <a:cubicBezTo>
                  <a:pt x="3350248" y="527641"/>
                  <a:pt x="3350248" y="521713"/>
                  <a:pt x="3344320" y="521713"/>
                </a:cubicBezTo>
                <a:cubicBezTo>
                  <a:pt x="3326536" y="521713"/>
                  <a:pt x="3314680" y="521713"/>
                  <a:pt x="3296896" y="521713"/>
                </a:cubicBezTo>
                <a:cubicBezTo>
                  <a:pt x="3290968" y="521713"/>
                  <a:pt x="3285040" y="521713"/>
                  <a:pt x="3279112" y="515784"/>
                </a:cubicBezTo>
                <a:cubicBezTo>
                  <a:pt x="3261328" y="515784"/>
                  <a:pt x="3237616" y="515784"/>
                  <a:pt x="3219832" y="521713"/>
                </a:cubicBezTo>
                <a:cubicBezTo>
                  <a:pt x="3207976" y="515784"/>
                  <a:pt x="3202048" y="503927"/>
                  <a:pt x="3190192" y="497998"/>
                </a:cubicBezTo>
                <a:cubicBezTo>
                  <a:pt x="3178336" y="503927"/>
                  <a:pt x="3166480" y="509856"/>
                  <a:pt x="3154624" y="515784"/>
                </a:cubicBezTo>
                <a:cubicBezTo>
                  <a:pt x="3154624" y="515784"/>
                  <a:pt x="3154624" y="521713"/>
                  <a:pt x="3154624" y="527641"/>
                </a:cubicBezTo>
                <a:cubicBezTo>
                  <a:pt x="3166480" y="539498"/>
                  <a:pt x="3190192" y="527641"/>
                  <a:pt x="3196120" y="545427"/>
                </a:cubicBezTo>
                <a:cubicBezTo>
                  <a:pt x="3196120" y="551355"/>
                  <a:pt x="3196120" y="557284"/>
                  <a:pt x="3190192" y="557284"/>
                </a:cubicBezTo>
                <a:cubicBezTo>
                  <a:pt x="3190192" y="557284"/>
                  <a:pt x="3184264" y="563213"/>
                  <a:pt x="3178336" y="563213"/>
                </a:cubicBezTo>
                <a:cubicBezTo>
                  <a:pt x="3166480" y="557284"/>
                  <a:pt x="3160552" y="551355"/>
                  <a:pt x="3148696" y="545427"/>
                </a:cubicBezTo>
                <a:cubicBezTo>
                  <a:pt x="3142768" y="551355"/>
                  <a:pt x="3136840" y="551355"/>
                  <a:pt x="3124984" y="557284"/>
                </a:cubicBezTo>
                <a:cubicBezTo>
                  <a:pt x="3119056" y="569141"/>
                  <a:pt x="3113128" y="575070"/>
                  <a:pt x="3107200" y="580998"/>
                </a:cubicBezTo>
                <a:cubicBezTo>
                  <a:pt x="3101272" y="580998"/>
                  <a:pt x="3095344" y="580998"/>
                  <a:pt x="3095344" y="580998"/>
                </a:cubicBezTo>
                <a:cubicBezTo>
                  <a:pt x="3089416" y="575070"/>
                  <a:pt x="3083488" y="569141"/>
                  <a:pt x="3083488" y="569141"/>
                </a:cubicBezTo>
                <a:cubicBezTo>
                  <a:pt x="3083488" y="569141"/>
                  <a:pt x="3083488" y="569141"/>
                  <a:pt x="3077560" y="563213"/>
                </a:cubicBezTo>
                <a:cubicBezTo>
                  <a:pt x="3077560" y="563213"/>
                  <a:pt x="3077560" y="563213"/>
                  <a:pt x="3083488" y="569141"/>
                </a:cubicBezTo>
                <a:cubicBezTo>
                  <a:pt x="3077560" y="586927"/>
                  <a:pt x="3065704" y="598784"/>
                  <a:pt x="3071632" y="616570"/>
                </a:cubicBezTo>
                <a:cubicBezTo>
                  <a:pt x="3047920" y="640284"/>
                  <a:pt x="3024208" y="652141"/>
                  <a:pt x="3000496" y="663998"/>
                </a:cubicBezTo>
                <a:cubicBezTo>
                  <a:pt x="2994568" y="669926"/>
                  <a:pt x="2994568" y="675855"/>
                  <a:pt x="2994568" y="681784"/>
                </a:cubicBezTo>
                <a:cubicBezTo>
                  <a:pt x="3012352" y="687712"/>
                  <a:pt x="3024208" y="693641"/>
                  <a:pt x="3036064" y="699569"/>
                </a:cubicBezTo>
                <a:cubicBezTo>
                  <a:pt x="3047920" y="693641"/>
                  <a:pt x="3053848" y="693641"/>
                  <a:pt x="3059776" y="687712"/>
                </a:cubicBezTo>
                <a:cubicBezTo>
                  <a:pt x="3071632" y="693641"/>
                  <a:pt x="3071632" y="699569"/>
                  <a:pt x="3065704" y="705498"/>
                </a:cubicBezTo>
                <a:cubicBezTo>
                  <a:pt x="3059776" y="711426"/>
                  <a:pt x="3047920" y="717355"/>
                  <a:pt x="3036064" y="723283"/>
                </a:cubicBezTo>
                <a:cubicBezTo>
                  <a:pt x="3030136" y="729212"/>
                  <a:pt x="3024208" y="741069"/>
                  <a:pt x="3012352" y="752926"/>
                </a:cubicBezTo>
                <a:cubicBezTo>
                  <a:pt x="2994568" y="758855"/>
                  <a:pt x="2976784" y="764783"/>
                  <a:pt x="2959000" y="752926"/>
                </a:cubicBezTo>
                <a:cubicBezTo>
                  <a:pt x="2959000" y="746998"/>
                  <a:pt x="2959000" y="741069"/>
                  <a:pt x="2959000" y="735141"/>
                </a:cubicBezTo>
                <a:cubicBezTo>
                  <a:pt x="2970856" y="735141"/>
                  <a:pt x="2988640" y="735141"/>
                  <a:pt x="3006424" y="729212"/>
                </a:cubicBezTo>
                <a:cubicBezTo>
                  <a:pt x="3006424" y="723283"/>
                  <a:pt x="3000496" y="717355"/>
                  <a:pt x="2994568" y="717355"/>
                </a:cubicBezTo>
                <a:cubicBezTo>
                  <a:pt x="2982712" y="711426"/>
                  <a:pt x="2970856" y="717355"/>
                  <a:pt x="2959000" y="723283"/>
                </a:cubicBezTo>
                <a:cubicBezTo>
                  <a:pt x="2959000" y="729212"/>
                  <a:pt x="2959000" y="729212"/>
                  <a:pt x="2959000" y="735141"/>
                </a:cubicBezTo>
                <a:cubicBezTo>
                  <a:pt x="2953072" y="741069"/>
                  <a:pt x="2953072" y="746998"/>
                  <a:pt x="2947144" y="752926"/>
                </a:cubicBezTo>
                <a:cubicBezTo>
                  <a:pt x="2947144" y="764783"/>
                  <a:pt x="2947144" y="782569"/>
                  <a:pt x="2941216" y="794426"/>
                </a:cubicBezTo>
                <a:cubicBezTo>
                  <a:pt x="2953072" y="812212"/>
                  <a:pt x="2976784" y="794426"/>
                  <a:pt x="2988640" y="818140"/>
                </a:cubicBezTo>
                <a:cubicBezTo>
                  <a:pt x="2988640" y="829997"/>
                  <a:pt x="2994568" y="853712"/>
                  <a:pt x="2994568" y="877426"/>
                </a:cubicBezTo>
                <a:cubicBezTo>
                  <a:pt x="3000496" y="865569"/>
                  <a:pt x="3000496" y="859640"/>
                  <a:pt x="3000496" y="859640"/>
                </a:cubicBezTo>
                <a:cubicBezTo>
                  <a:pt x="3006424" y="853712"/>
                  <a:pt x="3006424" y="847783"/>
                  <a:pt x="3006424" y="841854"/>
                </a:cubicBezTo>
                <a:cubicBezTo>
                  <a:pt x="3012352" y="829997"/>
                  <a:pt x="3012352" y="818140"/>
                  <a:pt x="3012352" y="806283"/>
                </a:cubicBezTo>
                <a:cubicBezTo>
                  <a:pt x="3012352" y="800355"/>
                  <a:pt x="3012352" y="788497"/>
                  <a:pt x="3006424" y="782569"/>
                </a:cubicBezTo>
                <a:cubicBezTo>
                  <a:pt x="3024208" y="764783"/>
                  <a:pt x="3041992" y="770712"/>
                  <a:pt x="3059776" y="770712"/>
                </a:cubicBezTo>
                <a:cubicBezTo>
                  <a:pt x="3065704" y="782569"/>
                  <a:pt x="3059776" y="788497"/>
                  <a:pt x="3059776" y="794426"/>
                </a:cubicBezTo>
                <a:cubicBezTo>
                  <a:pt x="3053848" y="794426"/>
                  <a:pt x="3047920" y="788497"/>
                  <a:pt x="3036064" y="788497"/>
                </a:cubicBezTo>
                <a:cubicBezTo>
                  <a:pt x="3036064" y="788497"/>
                  <a:pt x="3036064" y="794426"/>
                  <a:pt x="3030136" y="794426"/>
                </a:cubicBezTo>
                <a:cubicBezTo>
                  <a:pt x="3030136" y="806283"/>
                  <a:pt x="3030136" y="824069"/>
                  <a:pt x="3024208" y="835926"/>
                </a:cubicBezTo>
                <a:cubicBezTo>
                  <a:pt x="3036064" y="847783"/>
                  <a:pt x="3036064" y="847783"/>
                  <a:pt x="3053848" y="835926"/>
                </a:cubicBezTo>
                <a:cubicBezTo>
                  <a:pt x="3053848" y="818140"/>
                  <a:pt x="3053848" y="806283"/>
                  <a:pt x="3059776" y="794426"/>
                </a:cubicBezTo>
                <a:cubicBezTo>
                  <a:pt x="3065704" y="806283"/>
                  <a:pt x="3077560" y="818140"/>
                  <a:pt x="3089416" y="829997"/>
                </a:cubicBezTo>
                <a:cubicBezTo>
                  <a:pt x="3095344" y="829997"/>
                  <a:pt x="3095344" y="829997"/>
                  <a:pt x="3095344" y="812212"/>
                </a:cubicBezTo>
                <a:cubicBezTo>
                  <a:pt x="3101272" y="800355"/>
                  <a:pt x="3101272" y="794426"/>
                  <a:pt x="3113128" y="782569"/>
                </a:cubicBezTo>
                <a:cubicBezTo>
                  <a:pt x="3124984" y="776640"/>
                  <a:pt x="3136840" y="782569"/>
                  <a:pt x="3148696" y="788497"/>
                </a:cubicBezTo>
                <a:cubicBezTo>
                  <a:pt x="3172408" y="776640"/>
                  <a:pt x="3172408" y="776640"/>
                  <a:pt x="3160552" y="764783"/>
                </a:cubicBezTo>
                <a:cubicBezTo>
                  <a:pt x="3154624" y="764783"/>
                  <a:pt x="3148696" y="764783"/>
                  <a:pt x="3142768" y="764783"/>
                </a:cubicBezTo>
                <a:cubicBezTo>
                  <a:pt x="3130912" y="758855"/>
                  <a:pt x="3119056" y="752926"/>
                  <a:pt x="3107200" y="746998"/>
                </a:cubicBezTo>
                <a:cubicBezTo>
                  <a:pt x="3101272" y="746998"/>
                  <a:pt x="3101272" y="746998"/>
                  <a:pt x="3101272" y="746998"/>
                </a:cubicBezTo>
                <a:cubicBezTo>
                  <a:pt x="3107200" y="729212"/>
                  <a:pt x="3089416" y="717355"/>
                  <a:pt x="3083488" y="705498"/>
                </a:cubicBezTo>
                <a:cubicBezTo>
                  <a:pt x="3083488" y="699569"/>
                  <a:pt x="3089416" y="693641"/>
                  <a:pt x="3101272" y="693641"/>
                </a:cubicBezTo>
                <a:cubicBezTo>
                  <a:pt x="3107200" y="693641"/>
                  <a:pt x="3119056" y="699569"/>
                  <a:pt x="3124984" y="699569"/>
                </a:cubicBezTo>
                <a:cubicBezTo>
                  <a:pt x="3130912" y="693641"/>
                  <a:pt x="3136840" y="693641"/>
                  <a:pt x="3136840" y="693641"/>
                </a:cubicBezTo>
                <a:cubicBezTo>
                  <a:pt x="3142768" y="681784"/>
                  <a:pt x="3136840" y="675855"/>
                  <a:pt x="3142768" y="669926"/>
                </a:cubicBezTo>
                <a:cubicBezTo>
                  <a:pt x="3148696" y="663998"/>
                  <a:pt x="3166480" y="663998"/>
                  <a:pt x="3184264" y="663998"/>
                </a:cubicBezTo>
                <a:cubicBezTo>
                  <a:pt x="3184264" y="669926"/>
                  <a:pt x="3184264" y="675855"/>
                  <a:pt x="3184264" y="681784"/>
                </a:cubicBezTo>
                <a:cubicBezTo>
                  <a:pt x="3190192" y="687712"/>
                  <a:pt x="3196120" y="687712"/>
                  <a:pt x="3202048" y="681784"/>
                </a:cubicBezTo>
                <a:cubicBezTo>
                  <a:pt x="3207976" y="669926"/>
                  <a:pt x="3202048" y="663998"/>
                  <a:pt x="3202048" y="646212"/>
                </a:cubicBezTo>
                <a:cubicBezTo>
                  <a:pt x="3196120" y="646212"/>
                  <a:pt x="3196120" y="640284"/>
                  <a:pt x="3190192" y="640284"/>
                </a:cubicBezTo>
                <a:cubicBezTo>
                  <a:pt x="3172408" y="640284"/>
                  <a:pt x="3154624" y="634355"/>
                  <a:pt x="3142768" y="628427"/>
                </a:cubicBezTo>
                <a:cubicBezTo>
                  <a:pt x="3142768" y="610641"/>
                  <a:pt x="3154624" y="610641"/>
                  <a:pt x="3166480" y="604712"/>
                </a:cubicBezTo>
                <a:cubicBezTo>
                  <a:pt x="3178336" y="604712"/>
                  <a:pt x="3184264" y="616570"/>
                  <a:pt x="3190192" y="616570"/>
                </a:cubicBezTo>
                <a:cubicBezTo>
                  <a:pt x="3213904" y="610641"/>
                  <a:pt x="3231688" y="610641"/>
                  <a:pt x="3249472" y="604712"/>
                </a:cubicBezTo>
                <a:cubicBezTo>
                  <a:pt x="3261328" y="604712"/>
                  <a:pt x="3267256" y="610641"/>
                  <a:pt x="3273184" y="610641"/>
                </a:cubicBezTo>
                <a:cubicBezTo>
                  <a:pt x="3285040" y="604712"/>
                  <a:pt x="3290968" y="604712"/>
                  <a:pt x="3302824" y="598784"/>
                </a:cubicBezTo>
                <a:cubicBezTo>
                  <a:pt x="3308752" y="604712"/>
                  <a:pt x="3320608" y="610641"/>
                  <a:pt x="3332464" y="616570"/>
                </a:cubicBezTo>
                <a:cubicBezTo>
                  <a:pt x="3344320" y="622498"/>
                  <a:pt x="3356176" y="622498"/>
                  <a:pt x="3362104" y="616570"/>
                </a:cubicBezTo>
                <a:cubicBezTo>
                  <a:pt x="3385816" y="610641"/>
                  <a:pt x="3409528" y="610641"/>
                  <a:pt x="3433240" y="616570"/>
                </a:cubicBezTo>
                <a:cubicBezTo>
                  <a:pt x="3433240" y="616570"/>
                  <a:pt x="3439168" y="616570"/>
                  <a:pt x="3439168" y="616570"/>
                </a:cubicBezTo>
                <a:cubicBezTo>
                  <a:pt x="3445096" y="610641"/>
                  <a:pt x="3445096" y="610641"/>
                  <a:pt x="3451024" y="604712"/>
                </a:cubicBezTo>
                <a:cubicBezTo>
                  <a:pt x="3451024" y="592855"/>
                  <a:pt x="3445096" y="586927"/>
                  <a:pt x="3445096" y="575070"/>
                </a:cubicBezTo>
                <a:cubicBezTo>
                  <a:pt x="3445096" y="575070"/>
                  <a:pt x="3445096" y="569141"/>
                  <a:pt x="3445096" y="569141"/>
                </a:cubicBezTo>
                <a:cubicBezTo>
                  <a:pt x="3433240" y="563213"/>
                  <a:pt x="3421384" y="569141"/>
                  <a:pt x="3409528" y="557284"/>
                </a:cubicBezTo>
                <a:cubicBezTo>
                  <a:pt x="3409528" y="551355"/>
                  <a:pt x="3415456" y="545427"/>
                  <a:pt x="3421384" y="545427"/>
                </a:cubicBezTo>
                <a:cubicBezTo>
                  <a:pt x="3433240" y="545427"/>
                  <a:pt x="3445096" y="545427"/>
                  <a:pt x="3456952" y="551355"/>
                </a:cubicBezTo>
                <a:cubicBezTo>
                  <a:pt x="3468808" y="569141"/>
                  <a:pt x="3462880" y="592855"/>
                  <a:pt x="3468808" y="610641"/>
                </a:cubicBezTo>
                <a:cubicBezTo>
                  <a:pt x="3480664" y="610641"/>
                  <a:pt x="3480664" y="610641"/>
                  <a:pt x="3492520" y="586927"/>
                </a:cubicBezTo>
                <a:cubicBezTo>
                  <a:pt x="3486592" y="575070"/>
                  <a:pt x="3486592" y="563213"/>
                  <a:pt x="3480664" y="551355"/>
                </a:cubicBezTo>
                <a:cubicBezTo>
                  <a:pt x="3486592" y="539498"/>
                  <a:pt x="3492520" y="539498"/>
                  <a:pt x="3504376" y="533570"/>
                </a:cubicBezTo>
                <a:cubicBezTo>
                  <a:pt x="3516232" y="539498"/>
                  <a:pt x="3534016" y="545427"/>
                  <a:pt x="3545872" y="551355"/>
                </a:cubicBezTo>
                <a:cubicBezTo>
                  <a:pt x="3551800" y="569141"/>
                  <a:pt x="3551800" y="569141"/>
                  <a:pt x="3545872" y="586927"/>
                </a:cubicBezTo>
                <a:cubicBezTo>
                  <a:pt x="3539944" y="592855"/>
                  <a:pt x="3522160" y="586927"/>
                  <a:pt x="3516232" y="598784"/>
                </a:cubicBezTo>
                <a:cubicBezTo>
                  <a:pt x="3516232" y="598784"/>
                  <a:pt x="3516232" y="604712"/>
                  <a:pt x="3516232" y="604712"/>
                </a:cubicBezTo>
                <a:cubicBezTo>
                  <a:pt x="3522160" y="616570"/>
                  <a:pt x="3528088" y="628427"/>
                  <a:pt x="3534016" y="634355"/>
                </a:cubicBezTo>
                <a:cubicBezTo>
                  <a:pt x="3522160" y="634355"/>
                  <a:pt x="3516232" y="640284"/>
                  <a:pt x="3510304" y="646212"/>
                </a:cubicBezTo>
                <a:cubicBezTo>
                  <a:pt x="3504376" y="652141"/>
                  <a:pt x="3498448" y="658069"/>
                  <a:pt x="3486592" y="658069"/>
                </a:cubicBezTo>
                <a:cubicBezTo>
                  <a:pt x="3486592" y="652141"/>
                  <a:pt x="3486592" y="646212"/>
                  <a:pt x="3480664" y="640284"/>
                </a:cubicBezTo>
                <a:cubicBezTo>
                  <a:pt x="3480664" y="640284"/>
                  <a:pt x="3474736" y="640284"/>
                  <a:pt x="3474736" y="640284"/>
                </a:cubicBezTo>
                <a:cubicBezTo>
                  <a:pt x="3474736" y="640284"/>
                  <a:pt x="3468808" y="646212"/>
                  <a:pt x="3468808" y="646212"/>
                </a:cubicBezTo>
                <a:cubicBezTo>
                  <a:pt x="3474736" y="652141"/>
                  <a:pt x="3480664" y="658069"/>
                  <a:pt x="3486592" y="658069"/>
                </a:cubicBezTo>
                <a:cubicBezTo>
                  <a:pt x="3480664" y="675855"/>
                  <a:pt x="3468808" y="681784"/>
                  <a:pt x="3462880" y="681784"/>
                </a:cubicBezTo>
                <a:cubicBezTo>
                  <a:pt x="3439168" y="675855"/>
                  <a:pt x="3439168" y="658069"/>
                  <a:pt x="3427312" y="663998"/>
                </a:cubicBezTo>
                <a:cubicBezTo>
                  <a:pt x="3415456" y="663998"/>
                  <a:pt x="3415456" y="669926"/>
                  <a:pt x="3409528" y="681784"/>
                </a:cubicBezTo>
                <a:cubicBezTo>
                  <a:pt x="3415456" y="681784"/>
                  <a:pt x="3421384" y="681784"/>
                  <a:pt x="3421384" y="681784"/>
                </a:cubicBezTo>
                <a:cubicBezTo>
                  <a:pt x="3433240" y="693641"/>
                  <a:pt x="3433240" y="705498"/>
                  <a:pt x="3427312" y="723283"/>
                </a:cubicBezTo>
                <a:cubicBezTo>
                  <a:pt x="3415456" y="723283"/>
                  <a:pt x="3409528" y="711426"/>
                  <a:pt x="3397672" y="717355"/>
                </a:cubicBezTo>
                <a:cubicBezTo>
                  <a:pt x="3391744" y="723283"/>
                  <a:pt x="3391744" y="729212"/>
                  <a:pt x="3391744" y="735141"/>
                </a:cubicBezTo>
                <a:cubicBezTo>
                  <a:pt x="3397672" y="735141"/>
                  <a:pt x="3403600" y="741069"/>
                  <a:pt x="3403600" y="741069"/>
                </a:cubicBezTo>
                <a:cubicBezTo>
                  <a:pt x="3415456" y="741069"/>
                  <a:pt x="3427312" y="735141"/>
                  <a:pt x="3439168" y="729212"/>
                </a:cubicBezTo>
                <a:cubicBezTo>
                  <a:pt x="3445096" y="717355"/>
                  <a:pt x="3451024" y="705498"/>
                  <a:pt x="3456952" y="699569"/>
                </a:cubicBezTo>
                <a:cubicBezTo>
                  <a:pt x="3486592" y="687712"/>
                  <a:pt x="3510304" y="669926"/>
                  <a:pt x="3528088" y="652141"/>
                </a:cubicBezTo>
                <a:cubicBezTo>
                  <a:pt x="3528088" y="646212"/>
                  <a:pt x="3528088" y="640284"/>
                  <a:pt x="3534016" y="634355"/>
                </a:cubicBezTo>
                <a:cubicBezTo>
                  <a:pt x="3551800" y="622498"/>
                  <a:pt x="3569584" y="616570"/>
                  <a:pt x="3587368" y="598784"/>
                </a:cubicBezTo>
                <a:cubicBezTo>
                  <a:pt x="3622936" y="575070"/>
                  <a:pt x="3652576" y="545427"/>
                  <a:pt x="3688144" y="539498"/>
                </a:cubicBezTo>
                <a:cubicBezTo>
                  <a:pt x="3700000" y="527641"/>
                  <a:pt x="3705928" y="515784"/>
                  <a:pt x="3717784" y="503927"/>
                </a:cubicBezTo>
                <a:cubicBezTo>
                  <a:pt x="3717784" y="503927"/>
                  <a:pt x="3723712" y="503927"/>
                  <a:pt x="3729640" y="503927"/>
                </a:cubicBezTo>
                <a:cubicBezTo>
                  <a:pt x="3723712" y="515784"/>
                  <a:pt x="3723712" y="521713"/>
                  <a:pt x="3723712" y="527641"/>
                </a:cubicBezTo>
                <a:cubicBezTo>
                  <a:pt x="3729640" y="533570"/>
                  <a:pt x="3735568" y="533570"/>
                  <a:pt x="3741496" y="527641"/>
                </a:cubicBezTo>
                <a:cubicBezTo>
                  <a:pt x="3753352" y="521713"/>
                  <a:pt x="3753352" y="509856"/>
                  <a:pt x="3759280" y="497998"/>
                </a:cubicBezTo>
                <a:cubicBezTo>
                  <a:pt x="3771136" y="497998"/>
                  <a:pt x="3777064" y="497998"/>
                  <a:pt x="3788920" y="497998"/>
                </a:cubicBezTo>
                <a:cubicBezTo>
                  <a:pt x="3794848" y="497998"/>
                  <a:pt x="3800776" y="503927"/>
                  <a:pt x="3806704" y="503927"/>
                </a:cubicBezTo>
                <a:cubicBezTo>
                  <a:pt x="3800776" y="509856"/>
                  <a:pt x="3800776" y="515784"/>
                  <a:pt x="3800776" y="515784"/>
                </a:cubicBezTo>
                <a:cubicBezTo>
                  <a:pt x="3782992" y="533570"/>
                  <a:pt x="3759280" y="545427"/>
                  <a:pt x="3741496" y="563213"/>
                </a:cubicBezTo>
                <a:cubicBezTo>
                  <a:pt x="3729640" y="575070"/>
                  <a:pt x="3723712" y="586927"/>
                  <a:pt x="3729640" y="598784"/>
                </a:cubicBezTo>
                <a:cubicBezTo>
                  <a:pt x="3729640" y="604712"/>
                  <a:pt x="3735568" y="604712"/>
                  <a:pt x="3735568" y="604712"/>
                </a:cubicBezTo>
                <a:cubicBezTo>
                  <a:pt x="3753352" y="598784"/>
                  <a:pt x="3747424" y="580998"/>
                  <a:pt x="3759280" y="569141"/>
                </a:cubicBezTo>
                <a:cubicBezTo>
                  <a:pt x="3762244" y="566177"/>
                  <a:pt x="3765208" y="566177"/>
                  <a:pt x="3768913" y="566918"/>
                </a:cubicBezTo>
                <a:lnTo>
                  <a:pt x="3777629" y="568294"/>
                </a:lnTo>
                <a:lnTo>
                  <a:pt x="3777064" y="569141"/>
                </a:lnTo>
                <a:cubicBezTo>
                  <a:pt x="3782992" y="569141"/>
                  <a:pt x="3782992" y="569141"/>
                  <a:pt x="3782992" y="569141"/>
                </a:cubicBezTo>
                <a:lnTo>
                  <a:pt x="3777629" y="568294"/>
                </a:lnTo>
                <a:lnTo>
                  <a:pt x="3788920" y="551355"/>
                </a:lnTo>
                <a:cubicBezTo>
                  <a:pt x="3806704" y="545427"/>
                  <a:pt x="3830416" y="539498"/>
                  <a:pt x="3854128" y="527641"/>
                </a:cubicBezTo>
                <a:cubicBezTo>
                  <a:pt x="3854128" y="521713"/>
                  <a:pt x="3860056" y="515784"/>
                  <a:pt x="3860056" y="509856"/>
                </a:cubicBezTo>
                <a:cubicBezTo>
                  <a:pt x="3871912" y="492070"/>
                  <a:pt x="3895624" y="492070"/>
                  <a:pt x="3907480" y="480213"/>
                </a:cubicBezTo>
                <a:cubicBezTo>
                  <a:pt x="3913408" y="486141"/>
                  <a:pt x="3913408" y="486141"/>
                  <a:pt x="3913408" y="492070"/>
                </a:cubicBezTo>
                <a:cubicBezTo>
                  <a:pt x="3907480" y="497998"/>
                  <a:pt x="3907480" y="503927"/>
                  <a:pt x="3901552" y="509856"/>
                </a:cubicBezTo>
                <a:cubicBezTo>
                  <a:pt x="3907480" y="509856"/>
                  <a:pt x="3907480" y="509856"/>
                  <a:pt x="3907480" y="509856"/>
                </a:cubicBezTo>
                <a:cubicBezTo>
                  <a:pt x="3901552" y="515784"/>
                  <a:pt x="3895624" y="515784"/>
                  <a:pt x="3895624" y="521713"/>
                </a:cubicBezTo>
                <a:cubicBezTo>
                  <a:pt x="3889696" y="527641"/>
                  <a:pt x="3889696" y="539498"/>
                  <a:pt x="3889696" y="545427"/>
                </a:cubicBezTo>
                <a:cubicBezTo>
                  <a:pt x="3883768" y="563213"/>
                  <a:pt x="3860056" y="563213"/>
                  <a:pt x="3854128" y="575070"/>
                </a:cubicBezTo>
                <a:cubicBezTo>
                  <a:pt x="3842272" y="592855"/>
                  <a:pt x="3830416" y="598784"/>
                  <a:pt x="3818560" y="616570"/>
                </a:cubicBezTo>
                <a:cubicBezTo>
                  <a:pt x="3836344" y="622498"/>
                  <a:pt x="3836344" y="622498"/>
                  <a:pt x="3860056" y="616570"/>
                </a:cubicBezTo>
                <a:cubicBezTo>
                  <a:pt x="3860056" y="616570"/>
                  <a:pt x="3865984" y="592855"/>
                  <a:pt x="3865984" y="592855"/>
                </a:cubicBezTo>
                <a:cubicBezTo>
                  <a:pt x="3871912" y="575070"/>
                  <a:pt x="3889696" y="586927"/>
                  <a:pt x="3901552" y="586927"/>
                </a:cubicBezTo>
                <a:cubicBezTo>
                  <a:pt x="3907480" y="580998"/>
                  <a:pt x="3907480" y="569141"/>
                  <a:pt x="3919336" y="569141"/>
                </a:cubicBezTo>
                <a:cubicBezTo>
                  <a:pt x="3925264" y="580998"/>
                  <a:pt x="3925264" y="580998"/>
                  <a:pt x="3919336" y="598784"/>
                </a:cubicBezTo>
                <a:cubicBezTo>
                  <a:pt x="3913408" y="604712"/>
                  <a:pt x="3907480" y="604712"/>
                  <a:pt x="3895624" y="610641"/>
                </a:cubicBezTo>
                <a:cubicBezTo>
                  <a:pt x="3895624" y="616570"/>
                  <a:pt x="3889696" y="628427"/>
                  <a:pt x="3889696" y="634355"/>
                </a:cubicBezTo>
                <a:cubicBezTo>
                  <a:pt x="3883768" y="640284"/>
                  <a:pt x="3877840" y="652141"/>
                  <a:pt x="3871912" y="658069"/>
                </a:cubicBezTo>
                <a:cubicBezTo>
                  <a:pt x="3877840" y="663998"/>
                  <a:pt x="3889696" y="658069"/>
                  <a:pt x="3895624" y="663998"/>
                </a:cubicBezTo>
                <a:cubicBezTo>
                  <a:pt x="3895624" y="669926"/>
                  <a:pt x="3895624" y="675855"/>
                  <a:pt x="3895624" y="675855"/>
                </a:cubicBezTo>
                <a:cubicBezTo>
                  <a:pt x="3895624" y="693641"/>
                  <a:pt x="3889696" y="705498"/>
                  <a:pt x="3889696" y="717355"/>
                </a:cubicBezTo>
                <a:cubicBezTo>
                  <a:pt x="3877840" y="723283"/>
                  <a:pt x="3871912" y="729212"/>
                  <a:pt x="3865984" y="735141"/>
                </a:cubicBezTo>
                <a:cubicBezTo>
                  <a:pt x="3865984" y="735141"/>
                  <a:pt x="3865984" y="741069"/>
                  <a:pt x="3871912" y="741069"/>
                </a:cubicBezTo>
                <a:cubicBezTo>
                  <a:pt x="3877840" y="741069"/>
                  <a:pt x="3889696" y="735141"/>
                  <a:pt x="3895624" y="735141"/>
                </a:cubicBezTo>
                <a:cubicBezTo>
                  <a:pt x="3901552" y="723283"/>
                  <a:pt x="3907480" y="717355"/>
                  <a:pt x="3907480" y="711426"/>
                </a:cubicBezTo>
                <a:cubicBezTo>
                  <a:pt x="3919336" y="699569"/>
                  <a:pt x="3943048" y="693641"/>
                  <a:pt x="3948976" y="681784"/>
                </a:cubicBezTo>
                <a:cubicBezTo>
                  <a:pt x="3954904" y="681784"/>
                  <a:pt x="3960832" y="687712"/>
                  <a:pt x="3966760" y="693641"/>
                </a:cubicBezTo>
                <a:cubicBezTo>
                  <a:pt x="3966760" y="699569"/>
                  <a:pt x="3966760" y="705498"/>
                  <a:pt x="3960832" y="705498"/>
                </a:cubicBezTo>
                <a:cubicBezTo>
                  <a:pt x="3931192" y="735141"/>
                  <a:pt x="3901552" y="764783"/>
                  <a:pt x="3871912" y="800355"/>
                </a:cubicBezTo>
                <a:cubicBezTo>
                  <a:pt x="3848200" y="818140"/>
                  <a:pt x="3824488" y="847783"/>
                  <a:pt x="3800776" y="871497"/>
                </a:cubicBezTo>
                <a:cubicBezTo>
                  <a:pt x="3788920" y="883354"/>
                  <a:pt x="3777064" y="901140"/>
                  <a:pt x="3759280" y="912997"/>
                </a:cubicBezTo>
                <a:cubicBezTo>
                  <a:pt x="3729640" y="942640"/>
                  <a:pt x="3700000" y="972283"/>
                  <a:pt x="3670360" y="1001925"/>
                </a:cubicBezTo>
                <a:cubicBezTo>
                  <a:pt x="3652576" y="1013782"/>
                  <a:pt x="3640720" y="1037497"/>
                  <a:pt x="3617008" y="1055282"/>
                </a:cubicBezTo>
                <a:cubicBezTo>
                  <a:pt x="3599224" y="1067139"/>
                  <a:pt x="3581440" y="1084925"/>
                  <a:pt x="3569584" y="1102711"/>
                </a:cubicBezTo>
                <a:cubicBezTo>
                  <a:pt x="3551800" y="1120496"/>
                  <a:pt x="3534016" y="1138282"/>
                  <a:pt x="3516232" y="1156068"/>
                </a:cubicBezTo>
                <a:cubicBezTo>
                  <a:pt x="3510304" y="1161996"/>
                  <a:pt x="3504376" y="1167925"/>
                  <a:pt x="3498448" y="1173853"/>
                </a:cubicBezTo>
                <a:cubicBezTo>
                  <a:pt x="3492520" y="1179782"/>
                  <a:pt x="3480664" y="1179782"/>
                  <a:pt x="3474736" y="1185710"/>
                </a:cubicBezTo>
                <a:cubicBezTo>
                  <a:pt x="3439168" y="1215353"/>
                  <a:pt x="3409528" y="1239067"/>
                  <a:pt x="3373960" y="1262782"/>
                </a:cubicBezTo>
                <a:cubicBezTo>
                  <a:pt x="3338392" y="1286496"/>
                  <a:pt x="3308752" y="1310210"/>
                  <a:pt x="3273184" y="1333924"/>
                </a:cubicBezTo>
                <a:cubicBezTo>
                  <a:pt x="3267256" y="1333924"/>
                  <a:pt x="3261328" y="1339853"/>
                  <a:pt x="3255400" y="1339853"/>
                </a:cubicBezTo>
                <a:cubicBezTo>
                  <a:pt x="3255400" y="1357638"/>
                  <a:pt x="3249472" y="1369496"/>
                  <a:pt x="3249472" y="1381353"/>
                </a:cubicBezTo>
                <a:cubicBezTo>
                  <a:pt x="3243544" y="1381353"/>
                  <a:pt x="3237616" y="1387281"/>
                  <a:pt x="3231688" y="1393210"/>
                </a:cubicBezTo>
                <a:cubicBezTo>
                  <a:pt x="3225760" y="1405067"/>
                  <a:pt x="3225760" y="1410995"/>
                  <a:pt x="3225760" y="1422853"/>
                </a:cubicBezTo>
                <a:cubicBezTo>
                  <a:pt x="3213904" y="1434710"/>
                  <a:pt x="3202048" y="1434710"/>
                  <a:pt x="3190192" y="1422853"/>
                </a:cubicBezTo>
                <a:cubicBezTo>
                  <a:pt x="3178336" y="1440638"/>
                  <a:pt x="3184264" y="1458424"/>
                  <a:pt x="3172408" y="1470281"/>
                </a:cubicBezTo>
                <a:cubicBezTo>
                  <a:pt x="3184264" y="1488067"/>
                  <a:pt x="3178336" y="1511781"/>
                  <a:pt x="3184264" y="1529566"/>
                </a:cubicBezTo>
                <a:cubicBezTo>
                  <a:pt x="3172408" y="1535495"/>
                  <a:pt x="3166480" y="1535495"/>
                  <a:pt x="3166480" y="1529566"/>
                </a:cubicBezTo>
                <a:cubicBezTo>
                  <a:pt x="3160552" y="1523638"/>
                  <a:pt x="3160552" y="1517709"/>
                  <a:pt x="3154624" y="1511781"/>
                </a:cubicBezTo>
                <a:cubicBezTo>
                  <a:pt x="3142768" y="1505852"/>
                  <a:pt x="3136840" y="1523638"/>
                  <a:pt x="3124984" y="1529566"/>
                </a:cubicBezTo>
                <a:cubicBezTo>
                  <a:pt x="3119056" y="1529566"/>
                  <a:pt x="3107200" y="1529566"/>
                  <a:pt x="3101272" y="1529566"/>
                </a:cubicBezTo>
                <a:cubicBezTo>
                  <a:pt x="3089416" y="1535495"/>
                  <a:pt x="3095344" y="1553281"/>
                  <a:pt x="3083488" y="1565138"/>
                </a:cubicBezTo>
                <a:cubicBezTo>
                  <a:pt x="3077560" y="1565138"/>
                  <a:pt x="3077560" y="1565138"/>
                  <a:pt x="3071632" y="1559209"/>
                </a:cubicBezTo>
                <a:cubicBezTo>
                  <a:pt x="3071632" y="1553281"/>
                  <a:pt x="3065704" y="1547352"/>
                  <a:pt x="3059776" y="1535495"/>
                </a:cubicBezTo>
                <a:cubicBezTo>
                  <a:pt x="3059776" y="1535495"/>
                  <a:pt x="3053848" y="1535495"/>
                  <a:pt x="3053848" y="1541424"/>
                </a:cubicBezTo>
                <a:cubicBezTo>
                  <a:pt x="3053848" y="1553281"/>
                  <a:pt x="3059776" y="1571066"/>
                  <a:pt x="3059776" y="1582923"/>
                </a:cubicBezTo>
                <a:cubicBezTo>
                  <a:pt x="3065704" y="1588852"/>
                  <a:pt x="3071632" y="1588852"/>
                  <a:pt x="3071632" y="1594781"/>
                </a:cubicBezTo>
                <a:cubicBezTo>
                  <a:pt x="3083488" y="1594781"/>
                  <a:pt x="3089416" y="1594781"/>
                  <a:pt x="3095344" y="1594781"/>
                </a:cubicBezTo>
                <a:cubicBezTo>
                  <a:pt x="3107200" y="1588852"/>
                  <a:pt x="3101272" y="1576995"/>
                  <a:pt x="3107200" y="1565138"/>
                </a:cubicBezTo>
                <a:cubicBezTo>
                  <a:pt x="3119056" y="1559209"/>
                  <a:pt x="3130912" y="1559209"/>
                  <a:pt x="3148696" y="1565138"/>
                </a:cubicBezTo>
                <a:cubicBezTo>
                  <a:pt x="3154624" y="1576995"/>
                  <a:pt x="3166480" y="1594781"/>
                  <a:pt x="3178336" y="1606638"/>
                </a:cubicBezTo>
                <a:cubicBezTo>
                  <a:pt x="3190192" y="1612566"/>
                  <a:pt x="3196120" y="1612566"/>
                  <a:pt x="3202048" y="1600709"/>
                </a:cubicBezTo>
                <a:cubicBezTo>
                  <a:pt x="3202048" y="1588852"/>
                  <a:pt x="3190192" y="1571066"/>
                  <a:pt x="3207976" y="1559209"/>
                </a:cubicBezTo>
                <a:cubicBezTo>
                  <a:pt x="3213904" y="1553281"/>
                  <a:pt x="3225760" y="1559209"/>
                  <a:pt x="3231688" y="1553281"/>
                </a:cubicBezTo>
                <a:cubicBezTo>
                  <a:pt x="3237616" y="1541424"/>
                  <a:pt x="3243544" y="1523638"/>
                  <a:pt x="3249472" y="1505852"/>
                </a:cubicBezTo>
                <a:cubicBezTo>
                  <a:pt x="3243544" y="1499924"/>
                  <a:pt x="3243544" y="1488067"/>
                  <a:pt x="3237616" y="1482138"/>
                </a:cubicBezTo>
                <a:cubicBezTo>
                  <a:pt x="3237616" y="1470281"/>
                  <a:pt x="3237616" y="1458424"/>
                  <a:pt x="3243544" y="1452495"/>
                </a:cubicBezTo>
                <a:cubicBezTo>
                  <a:pt x="3249472" y="1440638"/>
                  <a:pt x="3243544" y="1428781"/>
                  <a:pt x="3243544" y="1416924"/>
                </a:cubicBezTo>
                <a:cubicBezTo>
                  <a:pt x="3267256" y="1405067"/>
                  <a:pt x="3290968" y="1393210"/>
                  <a:pt x="3308752" y="1387281"/>
                </a:cubicBezTo>
                <a:cubicBezTo>
                  <a:pt x="3320608" y="1375424"/>
                  <a:pt x="3326536" y="1357638"/>
                  <a:pt x="3344320" y="1363567"/>
                </a:cubicBezTo>
                <a:cubicBezTo>
                  <a:pt x="3350248" y="1369496"/>
                  <a:pt x="3356176" y="1375424"/>
                  <a:pt x="3356176" y="1387281"/>
                </a:cubicBezTo>
                <a:cubicBezTo>
                  <a:pt x="3362104" y="1387281"/>
                  <a:pt x="3368032" y="1387281"/>
                  <a:pt x="3368032" y="1375424"/>
                </a:cubicBezTo>
                <a:cubicBezTo>
                  <a:pt x="3368032" y="1363567"/>
                  <a:pt x="3362104" y="1351710"/>
                  <a:pt x="3356176" y="1339853"/>
                </a:cubicBezTo>
                <a:cubicBezTo>
                  <a:pt x="3362104" y="1333924"/>
                  <a:pt x="3368032" y="1322067"/>
                  <a:pt x="3379888" y="1316139"/>
                </a:cubicBezTo>
                <a:cubicBezTo>
                  <a:pt x="3391744" y="1310210"/>
                  <a:pt x="3403600" y="1310210"/>
                  <a:pt x="3415456" y="1304282"/>
                </a:cubicBezTo>
                <a:cubicBezTo>
                  <a:pt x="3427312" y="1304282"/>
                  <a:pt x="3433240" y="1304282"/>
                  <a:pt x="3445096" y="1310210"/>
                </a:cubicBezTo>
                <a:cubicBezTo>
                  <a:pt x="3456952" y="1304282"/>
                  <a:pt x="3451024" y="1292424"/>
                  <a:pt x="3456952" y="1286496"/>
                </a:cubicBezTo>
                <a:cubicBezTo>
                  <a:pt x="3462880" y="1280567"/>
                  <a:pt x="3468808" y="1280567"/>
                  <a:pt x="3474736" y="1286496"/>
                </a:cubicBezTo>
                <a:cubicBezTo>
                  <a:pt x="3474736" y="1292424"/>
                  <a:pt x="3474736" y="1298353"/>
                  <a:pt x="3474736" y="1304282"/>
                </a:cubicBezTo>
                <a:cubicBezTo>
                  <a:pt x="3492520" y="1304282"/>
                  <a:pt x="3486592" y="1286496"/>
                  <a:pt x="3498448" y="1286496"/>
                </a:cubicBezTo>
                <a:cubicBezTo>
                  <a:pt x="3492520" y="1262782"/>
                  <a:pt x="3486592" y="1239067"/>
                  <a:pt x="3492520" y="1215353"/>
                </a:cubicBezTo>
                <a:cubicBezTo>
                  <a:pt x="3498448" y="1203496"/>
                  <a:pt x="3510304" y="1197568"/>
                  <a:pt x="3516232" y="1191639"/>
                </a:cubicBezTo>
                <a:cubicBezTo>
                  <a:pt x="3522160" y="1185710"/>
                  <a:pt x="3522160" y="1179782"/>
                  <a:pt x="3528088" y="1173853"/>
                </a:cubicBezTo>
                <a:cubicBezTo>
                  <a:pt x="3545872" y="1167925"/>
                  <a:pt x="3563656" y="1161996"/>
                  <a:pt x="3575512" y="1156068"/>
                </a:cubicBezTo>
                <a:cubicBezTo>
                  <a:pt x="3593296" y="1156068"/>
                  <a:pt x="3611080" y="1156068"/>
                  <a:pt x="3628864" y="1156068"/>
                </a:cubicBezTo>
                <a:cubicBezTo>
                  <a:pt x="3628864" y="1150139"/>
                  <a:pt x="3634792" y="1150139"/>
                  <a:pt x="3634792" y="1150139"/>
                </a:cubicBezTo>
                <a:cubicBezTo>
                  <a:pt x="3634792" y="1138282"/>
                  <a:pt x="3634792" y="1132354"/>
                  <a:pt x="3634792" y="1126425"/>
                </a:cubicBezTo>
                <a:cubicBezTo>
                  <a:pt x="3640720" y="1108639"/>
                  <a:pt x="3652576" y="1108639"/>
                  <a:pt x="3670360" y="1114568"/>
                </a:cubicBezTo>
                <a:cubicBezTo>
                  <a:pt x="3676288" y="1108639"/>
                  <a:pt x="3682216" y="1102711"/>
                  <a:pt x="3688144" y="1096782"/>
                </a:cubicBezTo>
                <a:cubicBezTo>
                  <a:pt x="3700000" y="1096782"/>
                  <a:pt x="3711856" y="1096782"/>
                  <a:pt x="3723712" y="1096782"/>
                </a:cubicBezTo>
                <a:cubicBezTo>
                  <a:pt x="3723712" y="1090854"/>
                  <a:pt x="3729640" y="1090854"/>
                  <a:pt x="3729640" y="1090854"/>
                </a:cubicBezTo>
                <a:cubicBezTo>
                  <a:pt x="3729640" y="1078997"/>
                  <a:pt x="3735568" y="1073068"/>
                  <a:pt x="3735568" y="1061211"/>
                </a:cubicBezTo>
                <a:cubicBezTo>
                  <a:pt x="3741496" y="1055282"/>
                  <a:pt x="3747424" y="1055282"/>
                  <a:pt x="3759280" y="1055282"/>
                </a:cubicBezTo>
                <a:cubicBezTo>
                  <a:pt x="3765208" y="1061211"/>
                  <a:pt x="3771136" y="1061211"/>
                  <a:pt x="3782992" y="1067139"/>
                </a:cubicBezTo>
                <a:cubicBezTo>
                  <a:pt x="3788920" y="1061211"/>
                  <a:pt x="3794848" y="1061211"/>
                  <a:pt x="3806704" y="1055282"/>
                </a:cubicBezTo>
                <a:cubicBezTo>
                  <a:pt x="3812632" y="1055282"/>
                  <a:pt x="3824488" y="1055282"/>
                  <a:pt x="3830416" y="1055282"/>
                </a:cubicBezTo>
                <a:cubicBezTo>
                  <a:pt x="3836344" y="1043425"/>
                  <a:pt x="3830416" y="1037497"/>
                  <a:pt x="3830416" y="1031568"/>
                </a:cubicBezTo>
                <a:cubicBezTo>
                  <a:pt x="3830416" y="1013782"/>
                  <a:pt x="3836344" y="1001925"/>
                  <a:pt x="3842272" y="984140"/>
                </a:cubicBezTo>
                <a:cubicBezTo>
                  <a:pt x="3854128" y="978211"/>
                  <a:pt x="3865984" y="972283"/>
                  <a:pt x="3871912" y="966354"/>
                </a:cubicBezTo>
                <a:cubicBezTo>
                  <a:pt x="3877840" y="966354"/>
                  <a:pt x="3883768" y="960425"/>
                  <a:pt x="3883768" y="948568"/>
                </a:cubicBezTo>
                <a:cubicBezTo>
                  <a:pt x="3895624" y="954497"/>
                  <a:pt x="3889696" y="966354"/>
                  <a:pt x="3895624" y="966354"/>
                </a:cubicBezTo>
                <a:cubicBezTo>
                  <a:pt x="3901552" y="978211"/>
                  <a:pt x="3901552" y="984140"/>
                  <a:pt x="3907480" y="990068"/>
                </a:cubicBezTo>
                <a:cubicBezTo>
                  <a:pt x="3901552" y="990068"/>
                  <a:pt x="3895624" y="995997"/>
                  <a:pt x="3889696" y="995997"/>
                </a:cubicBezTo>
                <a:cubicBezTo>
                  <a:pt x="3883768" y="995997"/>
                  <a:pt x="3871912" y="995997"/>
                  <a:pt x="3865984" y="1001925"/>
                </a:cubicBezTo>
                <a:cubicBezTo>
                  <a:pt x="3860056" y="1001925"/>
                  <a:pt x="3860056" y="1007854"/>
                  <a:pt x="3854128" y="1013782"/>
                </a:cubicBezTo>
                <a:cubicBezTo>
                  <a:pt x="3865984" y="1019711"/>
                  <a:pt x="3871912" y="1031568"/>
                  <a:pt x="3883768" y="1037497"/>
                </a:cubicBezTo>
                <a:cubicBezTo>
                  <a:pt x="3895624" y="1037497"/>
                  <a:pt x="3895624" y="1055282"/>
                  <a:pt x="3913408" y="1049354"/>
                </a:cubicBezTo>
                <a:cubicBezTo>
                  <a:pt x="3919336" y="1043425"/>
                  <a:pt x="3925264" y="1037497"/>
                  <a:pt x="3937120" y="1031568"/>
                </a:cubicBezTo>
                <a:cubicBezTo>
                  <a:pt x="3943048" y="1031568"/>
                  <a:pt x="3948976" y="1031568"/>
                  <a:pt x="3954904" y="1031568"/>
                </a:cubicBezTo>
                <a:cubicBezTo>
                  <a:pt x="3966760" y="1019711"/>
                  <a:pt x="3954904" y="1007854"/>
                  <a:pt x="3954904" y="990068"/>
                </a:cubicBezTo>
                <a:cubicBezTo>
                  <a:pt x="3960832" y="978211"/>
                  <a:pt x="3966760" y="972283"/>
                  <a:pt x="3972688" y="960425"/>
                </a:cubicBezTo>
                <a:cubicBezTo>
                  <a:pt x="3984544" y="966354"/>
                  <a:pt x="3990472" y="978211"/>
                  <a:pt x="4002328" y="978211"/>
                </a:cubicBezTo>
                <a:cubicBezTo>
                  <a:pt x="4002328" y="966354"/>
                  <a:pt x="4008256" y="960425"/>
                  <a:pt x="4008256" y="948568"/>
                </a:cubicBezTo>
                <a:cubicBezTo>
                  <a:pt x="4020112" y="936711"/>
                  <a:pt x="4037896" y="930783"/>
                  <a:pt x="4049752" y="918926"/>
                </a:cubicBezTo>
                <a:cubicBezTo>
                  <a:pt x="4055680" y="918926"/>
                  <a:pt x="4061608" y="918926"/>
                  <a:pt x="4067536" y="918926"/>
                </a:cubicBezTo>
                <a:cubicBezTo>
                  <a:pt x="4073464" y="924854"/>
                  <a:pt x="4073464" y="930783"/>
                  <a:pt x="4079392" y="942640"/>
                </a:cubicBezTo>
                <a:cubicBezTo>
                  <a:pt x="4091248" y="942640"/>
                  <a:pt x="4109032" y="936711"/>
                  <a:pt x="4126816" y="942640"/>
                </a:cubicBezTo>
                <a:cubicBezTo>
                  <a:pt x="4132744" y="930783"/>
                  <a:pt x="4132744" y="924854"/>
                  <a:pt x="4126816" y="912997"/>
                </a:cubicBezTo>
                <a:cubicBezTo>
                  <a:pt x="4114960" y="918926"/>
                  <a:pt x="4103104" y="924854"/>
                  <a:pt x="4097176" y="924854"/>
                </a:cubicBezTo>
                <a:cubicBezTo>
                  <a:pt x="4091248" y="924854"/>
                  <a:pt x="4085320" y="918926"/>
                  <a:pt x="4085320" y="912997"/>
                </a:cubicBezTo>
                <a:cubicBezTo>
                  <a:pt x="4091248" y="901140"/>
                  <a:pt x="4091248" y="889283"/>
                  <a:pt x="4097176" y="877426"/>
                </a:cubicBezTo>
                <a:cubicBezTo>
                  <a:pt x="4091248" y="865569"/>
                  <a:pt x="4091248" y="859640"/>
                  <a:pt x="4085320" y="847783"/>
                </a:cubicBezTo>
                <a:cubicBezTo>
                  <a:pt x="4091248" y="841854"/>
                  <a:pt x="4091248" y="835926"/>
                  <a:pt x="4103104" y="835926"/>
                </a:cubicBezTo>
                <a:cubicBezTo>
                  <a:pt x="4103104" y="841854"/>
                  <a:pt x="4109032" y="853712"/>
                  <a:pt x="4109032" y="859640"/>
                </a:cubicBezTo>
                <a:cubicBezTo>
                  <a:pt x="4114960" y="865569"/>
                  <a:pt x="4114960" y="865569"/>
                  <a:pt x="4120888" y="865569"/>
                </a:cubicBezTo>
                <a:cubicBezTo>
                  <a:pt x="4132744" y="871497"/>
                  <a:pt x="4144600" y="871497"/>
                  <a:pt x="4156456" y="865569"/>
                </a:cubicBezTo>
                <a:cubicBezTo>
                  <a:pt x="4174240" y="865569"/>
                  <a:pt x="4186096" y="859640"/>
                  <a:pt x="4203880" y="853712"/>
                </a:cubicBezTo>
                <a:cubicBezTo>
                  <a:pt x="4209808" y="841854"/>
                  <a:pt x="4209808" y="829997"/>
                  <a:pt x="4209808" y="824069"/>
                </a:cubicBezTo>
                <a:cubicBezTo>
                  <a:pt x="4233520" y="794426"/>
                  <a:pt x="4239448" y="794426"/>
                  <a:pt x="4269088" y="800355"/>
                </a:cubicBezTo>
                <a:cubicBezTo>
                  <a:pt x="4269088" y="800355"/>
                  <a:pt x="4269088" y="806283"/>
                  <a:pt x="4269088" y="806283"/>
                </a:cubicBezTo>
                <a:cubicBezTo>
                  <a:pt x="4269088" y="812212"/>
                  <a:pt x="4269088" y="818140"/>
                  <a:pt x="4269088" y="818140"/>
                </a:cubicBezTo>
                <a:cubicBezTo>
                  <a:pt x="4275016" y="824069"/>
                  <a:pt x="4275016" y="824069"/>
                  <a:pt x="4280944" y="818140"/>
                </a:cubicBezTo>
                <a:cubicBezTo>
                  <a:pt x="4286872" y="812212"/>
                  <a:pt x="4292800" y="806283"/>
                  <a:pt x="4292800" y="794426"/>
                </a:cubicBezTo>
                <a:cubicBezTo>
                  <a:pt x="4298728" y="782569"/>
                  <a:pt x="4286872" y="776640"/>
                  <a:pt x="4275016" y="770712"/>
                </a:cubicBezTo>
                <a:cubicBezTo>
                  <a:pt x="4269088" y="770712"/>
                  <a:pt x="4263160" y="770712"/>
                  <a:pt x="4263160" y="770712"/>
                </a:cubicBezTo>
                <a:cubicBezTo>
                  <a:pt x="4257232" y="770712"/>
                  <a:pt x="4251304" y="764783"/>
                  <a:pt x="4251304" y="764783"/>
                </a:cubicBezTo>
                <a:cubicBezTo>
                  <a:pt x="4245376" y="752926"/>
                  <a:pt x="4251304" y="741069"/>
                  <a:pt x="4257232" y="735141"/>
                </a:cubicBezTo>
                <a:cubicBezTo>
                  <a:pt x="4263160" y="735141"/>
                  <a:pt x="4269088" y="741069"/>
                  <a:pt x="4269088" y="746998"/>
                </a:cubicBezTo>
                <a:cubicBezTo>
                  <a:pt x="4286872" y="746998"/>
                  <a:pt x="4298728" y="752926"/>
                  <a:pt x="4316512" y="752926"/>
                </a:cubicBezTo>
                <a:cubicBezTo>
                  <a:pt x="4328368" y="752926"/>
                  <a:pt x="4340224" y="746998"/>
                  <a:pt x="4352080" y="746998"/>
                </a:cubicBezTo>
                <a:cubicBezTo>
                  <a:pt x="4358008" y="735141"/>
                  <a:pt x="4363936" y="729212"/>
                  <a:pt x="4369864" y="717355"/>
                </a:cubicBezTo>
                <a:cubicBezTo>
                  <a:pt x="4375792" y="717355"/>
                  <a:pt x="4387648" y="711426"/>
                  <a:pt x="4399504" y="699569"/>
                </a:cubicBezTo>
                <a:cubicBezTo>
                  <a:pt x="4399504" y="693641"/>
                  <a:pt x="4405432" y="687712"/>
                  <a:pt x="4411360" y="681784"/>
                </a:cubicBezTo>
                <a:cubicBezTo>
                  <a:pt x="4423216" y="669926"/>
                  <a:pt x="4441000" y="663998"/>
                  <a:pt x="4446928" y="652141"/>
                </a:cubicBezTo>
                <a:cubicBezTo>
                  <a:pt x="4446928" y="646212"/>
                  <a:pt x="4452856" y="640284"/>
                  <a:pt x="4458784" y="640284"/>
                </a:cubicBezTo>
                <a:cubicBezTo>
                  <a:pt x="4482496" y="628427"/>
                  <a:pt x="4494352" y="604712"/>
                  <a:pt x="4518064" y="586927"/>
                </a:cubicBezTo>
                <a:cubicBezTo>
                  <a:pt x="4523992" y="580998"/>
                  <a:pt x="4529920" y="569141"/>
                  <a:pt x="4535848" y="563213"/>
                </a:cubicBezTo>
                <a:cubicBezTo>
                  <a:pt x="4547704" y="563213"/>
                  <a:pt x="4565488" y="557284"/>
                  <a:pt x="4577344" y="551355"/>
                </a:cubicBezTo>
                <a:cubicBezTo>
                  <a:pt x="4589200" y="551355"/>
                  <a:pt x="4606984" y="557284"/>
                  <a:pt x="4618840" y="557284"/>
                </a:cubicBezTo>
                <a:cubicBezTo>
                  <a:pt x="4636624" y="557284"/>
                  <a:pt x="4648480" y="551355"/>
                  <a:pt x="4654408" y="551355"/>
                </a:cubicBezTo>
                <a:cubicBezTo>
                  <a:pt x="4666264" y="551355"/>
                  <a:pt x="4678120" y="551355"/>
                  <a:pt x="4684048" y="551355"/>
                </a:cubicBezTo>
                <a:cubicBezTo>
                  <a:pt x="4719616" y="539498"/>
                  <a:pt x="4743328" y="509856"/>
                  <a:pt x="4772968" y="486141"/>
                </a:cubicBezTo>
                <a:cubicBezTo>
                  <a:pt x="4778896" y="486141"/>
                  <a:pt x="4784824" y="480213"/>
                  <a:pt x="4790752" y="480213"/>
                </a:cubicBezTo>
                <a:cubicBezTo>
                  <a:pt x="4796680" y="468356"/>
                  <a:pt x="4808536" y="462427"/>
                  <a:pt x="4814464" y="450570"/>
                </a:cubicBezTo>
                <a:cubicBezTo>
                  <a:pt x="4832248" y="444641"/>
                  <a:pt x="4844104" y="432784"/>
                  <a:pt x="4855960" y="426856"/>
                </a:cubicBezTo>
                <a:cubicBezTo>
                  <a:pt x="4867816" y="426856"/>
                  <a:pt x="4867816" y="432784"/>
                  <a:pt x="4867816" y="438713"/>
                </a:cubicBezTo>
                <a:cubicBezTo>
                  <a:pt x="4861888" y="456499"/>
                  <a:pt x="4861888" y="474284"/>
                  <a:pt x="4867816" y="492070"/>
                </a:cubicBezTo>
                <a:cubicBezTo>
                  <a:pt x="4873744" y="497998"/>
                  <a:pt x="4879672" y="497998"/>
                  <a:pt x="4885600" y="497998"/>
                </a:cubicBezTo>
                <a:cubicBezTo>
                  <a:pt x="4885600" y="509856"/>
                  <a:pt x="4879672" y="521713"/>
                  <a:pt x="4879672" y="527641"/>
                </a:cubicBezTo>
                <a:cubicBezTo>
                  <a:pt x="4879672" y="533570"/>
                  <a:pt x="4879672" y="533570"/>
                  <a:pt x="4885600" y="533570"/>
                </a:cubicBezTo>
                <a:cubicBezTo>
                  <a:pt x="4897456" y="521713"/>
                  <a:pt x="4897456" y="521713"/>
                  <a:pt x="4885600" y="497998"/>
                </a:cubicBezTo>
                <a:cubicBezTo>
                  <a:pt x="4885600" y="462427"/>
                  <a:pt x="4885600" y="426856"/>
                  <a:pt x="4879672" y="397213"/>
                </a:cubicBezTo>
                <a:cubicBezTo>
                  <a:pt x="4891528" y="379427"/>
                  <a:pt x="4891528" y="379427"/>
                  <a:pt x="4909312" y="391284"/>
                </a:cubicBezTo>
                <a:cubicBezTo>
                  <a:pt x="4909312" y="414999"/>
                  <a:pt x="4909312" y="438713"/>
                  <a:pt x="4909312" y="456499"/>
                </a:cubicBezTo>
                <a:cubicBezTo>
                  <a:pt x="4915240" y="468356"/>
                  <a:pt x="4921168" y="480213"/>
                  <a:pt x="4921168" y="492070"/>
                </a:cubicBezTo>
                <a:cubicBezTo>
                  <a:pt x="4933024" y="486141"/>
                  <a:pt x="4938952" y="486141"/>
                  <a:pt x="4944880" y="480213"/>
                </a:cubicBezTo>
                <a:cubicBezTo>
                  <a:pt x="4950808" y="486141"/>
                  <a:pt x="4956736" y="492070"/>
                  <a:pt x="4962664" y="492070"/>
                </a:cubicBezTo>
                <a:cubicBezTo>
                  <a:pt x="4962664" y="492070"/>
                  <a:pt x="4968592" y="492070"/>
                  <a:pt x="4968592" y="486141"/>
                </a:cubicBezTo>
                <a:cubicBezTo>
                  <a:pt x="4968592" y="486141"/>
                  <a:pt x="4962664" y="480213"/>
                  <a:pt x="4962664" y="474284"/>
                </a:cubicBezTo>
                <a:cubicBezTo>
                  <a:pt x="4968592" y="456499"/>
                  <a:pt x="4974520" y="432784"/>
                  <a:pt x="4986376" y="414999"/>
                </a:cubicBezTo>
                <a:cubicBezTo>
                  <a:pt x="4986376" y="409070"/>
                  <a:pt x="4986376" y="409070"/>
                  <a:pt x="4992304" y="409070"/>
                </a:cubicBezTo>
                <a:cubicBezTo>
                  <a:pt x="4998232" y="414999"/>
                  <a:pt x="4998232" y="420927"/>
                  <a:pt x="5004160" y="426856"/>
                </a:cubicBezTo>
                <a:cubicBezTo>
                  <a:pt x="5010088" y="409070"/>
                  <a:pt x="5021944" y="391284"/>
                  <a:pt x="5021944" y="373499"/>
                </a:cubicBezTo>
                <a:cubicBezTo>
                  <a:pt x="5033800" y="361642"/>
                  <a:pt x="5051584" y="367570"/>
                  <a:pt x="5057512" y="361642"/>
                </a:cubicBezTo>
                <a:cubicBezTo>
                  <a:pt x="5069368" y="355713"/>
                  <a:pt x="5069368" y="343856"/>
                  <a:pt x="5087152" y="343856"/>
                </a:cubicBezTo>
                <a:cubicBezTo>
                  <a:pt x="5093080" y="355713"/>
                  <a:pt x="5081224" y="373499"/>
                  <a:pt x="5099008" y="379427"/>
                </a:cubicBezTo>
                <a:cubicBezTo>
                  <a:pt x="5099008" y="379427"/>
                  <a:pt x="5104936" y="379427"/>
                  <a:pt x="5104936" y="379427"/>
                </a:cubicBezTo>
                <a:cubicBezTo>
                  <a:pt x="5110864" y="373499"/>
                  <a:pt x="5110864" y="361642"/>
                  <a:pt x="5116792" y="355713"/>
                </a:cubicBezTo>
                <a:cubicBezTo>
                  <a:pt x="5122720" y="349785"/>
                  <a:pt x="5128648" y="349785"/>
                  <a:pt x="5128648" y="337928"/>
                </a:cubicBezTo>
                <a:cubicBezTo>
                  <a:pt x="5122720" y="331999"/>
                  <a:pt x="5116792" y="331999"/>
                  <a:pt x="5104936" y="326071"/>
                </a:cubicBezTo>
                <a:cubicBezTo>
                  <a:pt x="5104936" y="320142"/>
                  <a:pt x="5110864" y="314213"/>
                  <a:pt x="5110864" y="308285"/>
                </a:cubicBezTo>
                <a:cubicBezTo>
                  <a:pt x="5128648" y="302356"/>
                  <a:pt x="5152360" y="302356"/>
                  <a:pt x="5170144" y="302356"/>
                </a:cubicBezTo>
                <a:cubicBezTo>
                  <a:pt x="5182000" y="290499"/>
                  <a:pt x="5164216" y="278642"/>
                  <a:pt x="5170144" y="272714"/>
                </a:cubicBezTo>
                <a:cubicBezTo>
                  <a:pt x="5176072" y="254928"/>
                  <a:pt x="5187928" y="254928"/>
                  <a:pt x="5199784" y="254928"/>
                </a:cubicBezTo>
                <a:cubicBezTo>
                  <a:pt x="5205712" y="248999"/>
                  <a:pt x="5199784" y="225285"/>
                  <a:pt x="5217568" y="225285"/>
                </a:cubicBezTo>
                <a:cubicBezTo>
                  <a:pt x="5223496" y="231214"/>
                  <a:pt x="5235352" y="237142"/>
                  <a:pt x="5241280" y="243071"/>
                </a:cubicBezTo>
                <a:cubicBezTo>
                  <a:pt x="5247208" y="225285"/>
                  <a:pt x="5247208" y="213428"/>
                  <a:pt x="5247208" y="201571"/>
                </a:cubicBezTo>
                <a:cubicBezTo>
                  <a:pt x="5253136" y="195642"/>
                  <a:pt x="5259064" y="189714"/>
                  <a:pt x="5259064" y="189714"/>
                </a:cubicBezTo>
                <a:cubicBezTo>
                  <a:pt x="5276848" y="183785"/>
                  <a:pt x="5276848" y="201571"/>
                  <a:pt x="5288704" y="207499"/>
                </a:cubicBezTo>
                <a:cubicBezTo>
                  <a:pt x="5294632" y="195642"/>
                  <a:pt x="5288704" y="183785"/>
                  <a:pt x="5288704" y="166000"/>
                </a:cubicBezTo>
                <a:cubicBezTo>
                  <a:pt x="5288704" y="160071"/>
                  <a:pt x="5288704" y="160071"/>
                  <a:pt x="5300560" y="154143"/>
                </a:cubicBezTo>
                <a:cubicBezTo>
                  <a:pt x="5306488" y="154143"/>
                  <a:pt x="5312416" y="154143"/>
                  <a:pt x="5318344" y="154143"/>
                </a:cubicBezTo>
                <a:cubicBezTo>
                  <a:pt x="5324272" y="154143"/>
                  <a:pt x="5324272" y="154143"/>
                  <a:pt x="5330200" y="148214"/>
                </a:cubicBezTo>
                <a:cubicBezTo>
                  <a:pt x="5330200" y="136357"/>
                  <a:pt x="5318344" y="118571"/>
                  <a:pt x="5324272" y="106714"/>
                </a:cubicBezTo>
                <a:cubicBezTo>
                  <a:pt x="5330200" y="94857"/>
                  <a:pt x="5342056" y="100786"/>
                  <a:pt x="5353912" y="100786"/>
                </a:cubicBezTo>
                <a:cubicBezTo>
                  <a:pt x="5359840" y="88928"/>
                  <a:pt x="5365768" y="71143"/>
                  <a:pt x="5371696" y="59286"/>
                </a:cubicBezTo>
                <a:cubicBezTo>
                  <a:pt x="5383552" y="53357"/>
                  <a:pt x="5377624" y="35571"/>
                  <a:pt x="5389480" y="23714"/>
                </a:cubicBezTo>
                <a:cubicBezTo>
                  <a:pt x="5395408" y="23714"/>
                  <a:pt x="5395408" y="29643"/>
                  <a:pt x="5401336" y="35571"/>
                </a:cubicBezTo>
                <a:cubicBezTo>
                  <a:pt x="5395408" y="41500"/>
                  <a:pt x="5395408" y="53357"/>
                  <a:pt x="5395408" y="59286"/>
                </a:cubicBezTo>
                <a:cubicBezTo>
                  <a:pt x="5395408" y="59286"/>
                  <a:pt x="5401336" y="65214"/>
                  <a:pt x="5401336" y="65214"/>
                </a:cubicBezTo>
                <a:cubicBezTo>
                  <a:pt x="5407264" y="65214"/>
                  <a:pt x="5407264" y="65214"/>
                  <a:pt x="5407264" y="65214"/>
                </a:cubicBezTo>
                <a:cubicBezTo>
                  <a:pt x="5413192" y="59286"/>
                  <a:pt x="5419120" y="53357"/>
                  <a:pt x="5419120" y="41500"/>
                </a:cubicBezTo>
                <a:cubicBezTo>
                  <a:pt x="5425048" y="47429"/>
                  <a:pt x="5430976" y="59286"/>
                  <a:pt x="5430976" y="65214"/>
                </a:cubicBezTo>
                <a:cubicBezTo>
                  <a:pt x="5436904" y="65214"/>
                  <a:pt x="5442832" y="59286"/>
                  <a:pt x="5442832" y="53357"/>
                </a:cubicBezTo>
                <a:cubicBezTo>
                  <a:pt x="5442832" y="47429"/>
                  <a:pt x="5436904" y="35571"/>
                  <a:pt x="5442832" y="29643"/>
                </a:cubicBezTo>
                <a:cubicBezTo>
                  <a:pt x="5442832" y="17786"/>
                  <a:pt x="5442832" y="11857"/>
                  <a:pt x="5442832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240533129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A04AAD2-5046-4B14-942B-FC317F2873E8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1462866" y="-927799"/>
            <a:ext cx="9266267" cy="8956193"/>
          </a:xfrm>
          <a:custGeom>
            <a:avLst/>
            <a:gdLst>
              <a:gd name="connsiteX0" fmla="*/ 2295073 w 9266267"/>
              <a:gd name="connsiteY0" fmla="*/ 7223440 h 8956193"/>
              <a:gd name="connsiteX1" fmla="*/ 2119596 w 9266267"/>
              <a:gd name="connsiteY1" fmla="*/ 7274620 h 8956193"/>
              <a:gd name="connsiteX2" fmla="*/ 2174429 w 9266267"/>
              <a:gd name="connsiteY2" fmla="*/ 7256343 h 8956193"/>
              <a:gd name="connsiteX3" fmla="*/ 1312834 w 9266267"/>
              <a:gd name="connsiteY3" fmla="*/ 5728689 h 8956193"/>
              <a:gd name="connsiteX4" fmla="*/ 1195152 w 9266267"/>
              <a:gd name="connsiteY4" fmla="*/ 5763012 h 8956193"/>
              <a:gd name="connsiteX5" fmla="*/ 1231925 w 9266267"/>
              <a:gd name="connsiteY5" fmla="*/ 5750755 h 8956193"/>
              <a:gd name="connsiteX6" fmla="*/ 5031888 w 9266267"/>
              <a:gd name="connsiteY6" fmla="*/ 2110144 h 8956193"/>
              <a:gd name="connsiteX7" fmla="*/ 5228015 w 9266267"/>
              <a:gd name="connsiteY7" fmla="*/ 2257240 h 8956193"/>
              <a:gd name="connsiteX8" fmla="*/ 5129952 w 9266267"/>
              <a:gd name="connsiteY8" fmla="*/ 2171434 h 8956193"/>
              <a:gd name="connsiteX9" fmla="*/ 7840588 w 9266267"/>
              <a:gd name="connsiteY9" fmla="*/ 1827794 h 8956193"/>
              <a:gd name="connsiteX10" fmla="*/ 8133035 w 9266267"/>
              <a:gd name="connsiteY10" fmla="*/ 2047130 h 8956193"/>
              <a:gd name="connsiteX11" fmla="*/ 7986812 w 9266267"/>
              <a:gd name="connsiteY11" fmla="*/ 1919184 h 8956193"/>
              <a:gd name="connsiteX12" fmla="*/ 4593082 w 9266267"/>
              <a:gd name="connsiteY12" fmla="*/ 1541389 h 8956193"/>
              <a:gd name="connsiteX13" fmla="*/ 4774471 w 9266267"/>
              <a:gd name="connsiteY13" fmla="*/ 1632084 h 8956193"/>
              <a:gd name="connsiteX14" fmla="*/ 5044146 w 9266267"/>
              <a:gd name="connsiteY14" fmla="*/ 1803696 h 8956193"/>
              <a:gd name="connsiteX15" fmla="*/ 5166726 w 9266267"/>
              <a:gd name="connsiteY15" fmla="*/ 1889501 h 8956193"/>
              <a:gd name="connsiteX16" fmla="*/ 5289305 w 9266267"/>
              <a:gd name="connsiteY16" fmla="*/ 1999823 h 8956193"/>
              <a:gd name="connsiteX17" fmla="*/ 5411885 w 9266267"/>
              <a:gd name="connsiteY17" fmla="*/ 2110144 h 8956193"/>
              <a:gd name="connsiteX18" fmla="*/ 5534465 w 9266267"/>
              <a:gd name="connsiteY18" fmla="*/ 2232724 h 8956193"/>
              <a:gd name="connsiteX19" fmla="*/ 5595753 w 9266267"/>
              <a:gd name="connsiteY19" fmla="*/ 2306271 h 8956193"/>
              <a:gd name="connsiteX20" fmla="*/ 5657043 w 9266267"/>
              <a:gd name="connsiteY20" fmla="*/ 2379819 h 8956193"/>
              <a:gd name="connsiteX21" fmla="*/ 5718333 w 9266267"/>
              <a:gd name="connsiteY21" fmla="*/ 2477883 h 8956193"/>
              <a:gd name="connsiteX22" fmla="*/ 5779623 w 9266267"/>
              <a:gd name="connsiteY22" fmla="*/ 2575946 h 8956193"/>
              <a:gd name="connsiteX23" fmla="*/ 5865429 w 9266267"/>
              <a:gd name="connsiteY23" fmla="*/ 2784331 h 8956193"/>
              <a:gd name="connsiteX24" fmla="*/ 5902202 w 9266267"/>
              <a:gd name="connsiteY24" fmla="*/ 2882395 h 8956193"/>
              <a:gd name="connsiteX25" fmla="*/ 5926718 w 9266267"/>
              <a:gd name="connsiteY25" fmla="*/ 2968201 h 8956193"/>
              <a:gd name="connsiteX26" fmla="*/ 5963492 w 9266267"/>
              <a:gd name="connsiteY26" fmla="*/ 3164328 h 8956193"/>
              <a:gd name="connsiteX27" fmla="*/ 5988008 w 9266267"/>
              <a:gd name="connsiteY27" fmla="*/ 3372714 h 8956193"/>
              <a:gd name="connsiteX28" fmla="*/ 5975750 w 9266267"/>
              <a:gd name="connsiteY28" fmla="*/ 3581099 h 8956193"/>
              <a:gd name="connsiteX29" fmla="*/ 5963492 w 9266267"/>
              <a:gd name="connsiteY29" fmla="*/ 3789484 h 8956193"/>
              <a:gd name="connsiteX30" fmla="*/ 5914460 w 9266267"/>
              <a:gd name="connsiteY30" fmla="*/ 3985610 h 8956193"/>
              <a:gd name="connsiteX31" fmla="*/ 5853171 w 9266267"/>
              <a:gd name="connsiteY31" fmla="*/ 4181737 h 8956193"/>
              <a:gd name="connsiteX32" fmla="*/ 5791881 w 9266267"/>
              <a:gd name="connsiteY32" fmla="*/ 4365607 h 8956193"/>
              <a:gd name="connsiteX33" fmla="*/ 5706075 w 9266267"/>
              <a:gd name="connsiteY33" fmla="*/ 4537218 h 8956193"/>
              <a:gd name="connsiteX34" fmla="*/ 5608011 w 9266267"/>
              <a:gd name="connsiteY34" fmla="*/ 4708829 h 8956193"/>
              <a:gd name="connsiteX35" fmla="*/ 5509949 w 9266267"/>
              <a:gd name="connsiteY35" fmla="*/ 4868183 h 8956193"/>
              <a:gd name="connsiteX36" fmla="*/ 5452093 w 9266267"/>
              <a:gd name="connsiteY36" fmla="*/ 4951351 h 8956193"/>
              <a:gd name="connsiteX37" fmla="*/ 5610680 w 9266267"/>
              <a:gd name="connsiteY37" fmla="*/ 4898489 h 8956193"/>
              <a:gd name="connsiteX38" fmla="*/ 5665514 w 9266267"/>
              <a:gd name="connsiteY38" fmla="*/ 4898489 h 8956193"/>
              <a:gd name="connsiteX39" fmla="*/ 5738625 w 9266267"/>
              <a:gd name="connsiteY39" fmla="*/ 4935044 h 8956193"/>
              <a:gd name="connsiteX40" fmla="*/ 5830015 w 9266267"/>
              <a:gd name="connsiteY40" fmla="*/ 4807099 h 8956193"/>
              <a:gd name="connsiteX41" fmla="*/ 6085906 w 9266267"/>
              <a:gd name="connsiteY41" fmla="*/ 4697431 h 8956193"/>
              <a:gd name="connsiteX42" fmla="*/ 6323519 w 9266267"/>
              <a:gd name="connsiteY42" fmla="*/ 4551208 h 8956193"/>
              <a:gd name="connsiteX43" fmla="*/ 6488020 w 9266267"/>
              <a:gd name="connsiteY43" fmla="*/ 4514652 h 8956193"/>
              <a:gd name="connsiteX44" fmla="*/ 6634244 w 9266267"/>
              <a:gd name="connsiteY44" fmla="*/ 4459819 h 8956193"/>
              <a:gd name="connsiteX45" fmla="*/ 6597688 w 9266267"/>
              <a:gd name="connsiteY45" fmla="*/ 4441541 h 8956193"/>
              <a:gd name="connsiteX46" fmla="*/ 6579410 w 9266267"/>
              <a:gd name="connsiteY46" fmla="*/ 4404985 h 8956193"/>
              <a:gd name="connsiteX47" fmla="*/ 6817024 w 9266267"/>
              <a:gd name="connsiteY47" fmla="*/ 4222205 h 8956193"/>
              <a:gd name="connsiteX48" fmla="*/ 6999803 w 9266267"/>
              <a:gd name="connsiteY48" fmla="*/ 4021148 h 8956193"/>
              <a:gd name="connsiteX49" fmla="*/ 7109470 w 9266267"/>
              <a:gd name="connsiteY49" fmla="*/ 3984592 h 8956193"/>
              <a:gd name="connsiteX50" fmla="*/ 7219138 w 9266267"/>
              <a:gd name="connsiteY50" fmla="*/ 3948036 h 8956193"/>
              <a:gd name="connsiteX51" fmla="*/ 7200860 w 9266267"/>
              <a:gd name="connsiteY51" fmla="*/ 3856646 h 8956193"/>
              <a:gd name="connsiteX52" fmla="*/ 7197205 w 9266267"/>
              <a:gd name="connsiteY52" fmla="*/ 3842025 h 8956193"/>
              <a:gd name="connsiteX53" fmla="*/ 7182587 w 9266267"/>
              <a:gd name="connsiteY53" fmla="*/ 3856644 h 8956193"/>
              <a:gd name="connsiteX54" fmla="*/ 7182587 w 9266267"/>
              <a:gd name="connsiteY54" fmla="*/ 3893200 h 8956193"/>
              <a:gd name="connsiteX55" fmla="*/ 7091196 w 9266267"/>
              <a:gd name="connsiteY55" fmla="*/ 3856644 h 8956193"/>
              <a:gd name="connsiteX56" fmla="*/ 7187804 w 9266267"/>
              <a:gd name="connsiteY56" fmla="*/ 3760036 h 8956193"/>
              <a:gd name="connsiteX57" fmla="*/ 7219138 w 9266267"/>
              <a:gd name="connsiteY57" fmla="*/ 3619033 h 8956193"/>
              <a:gd name="connsiteX58" fmla="*/ 7237416 w 9266267"/>
              <a:gd name="connsiteY58" fmla="*/ 3472810 h 8956193"/>
              <a:gd name="connsiteX59" fmla="*/ 7237416 w 9266267"/>
              <a:gd name="connsiteY59" fmla="*/ 3381420 h 8956193"/>
              <a:gd name="connsiteX60" fmla="*/ 7219138 w 9266267"/>
              <a:gd name="connsiteY60" fmla="*/ 3290030 h 8956193"/>
              <a:gd name="connsiteX61" fmla="*/ 7200860 w 9266267"/>
              <a:gd name="connsiteY61" fmla="*/ 3235196 h 8956193"/>
              <a:gd name="connsiteX62" fmla="*/ 7127748 w 9266267"/>
              <a:gd name="connsiteY62" fmla="*/ 3125529 h 8956193"/>
              <a:gd name="connsiteX63" fmla="*/ 7146026 w 9266267"/>
              <a:gd name="connsiteY63" fmla="*/ 3034139 h 8956193"/>
              <a:gd name="connsiteX64" fmla="*/ 7091192 w 9266267"/>
              <a:gd name="connsiteY64" fmla="*/ 3015861 h 8956193"/>
              <a:gd name="connsiteX65" fmla="*/ 7036358 w 9266267"/>
              <a:gd name="connsiteY65" fmla="*/ 2997583 h 8956193"/>
              <a:gd name="connsiteX66" fmla="*/ 6817024 w 9266267"/>
              <a:gd name="connsiteY66" fmla="*/ 2668580 h 8956193"/>
              <a:gd name="connsiteX67" fmla="*/ 6743912 w 9266267"/>
              <a:gd name="connsiteY67" fmla="*/ 2668580 h 8956193"/>
              <a:gd name="connsiteX68" fmla="*/ 6707356 w 9266267"/>
              <a:gd name="connsiteY68" fmla="*/ 2668580 h 8956193"/>
              <a:gd name="connsiteX69" fmla="*/ 6670800 w 9266267"/>
              <a:gd name="connsiteY69" fmla="*/ 2668580 h 8956193"/>
              <a:gd name="connsiteX70" fmla="*/ 6542854 w 9266267"/>
              <a:gd name="connsiteY70" fmla="*/ 2577190 h 8956193"/>
              <a:gd name="connsiteX71" fmla="*/ 6396631 w 9266267"/>
              <a:gd name="connsiteY71" fmla="*/ 2504078 h 8956193"/>
              <a:gd name="connsiteX72" fmla="*/ 6085906 w 9266267"/>
              <a:gd name="connsiteY72" fmla="*/ 2303021 h 8956193"/>
              <a:gd name="connsiteX73" fmla="*/ 5811737 w 9266267"/>
              <a:gd name="connsiteY73" fmla="*/ 2138519 h 8956193"/>
              <a:gd name="connsiteX74" fmla="*/ 5519290 w 9266267"/>
              <a:gd name="connsiteY74" fmla="*/ 1992296 h 8956193"/>
              <a:gd name="connsiteX75" fmla="*/ 5226843 w 9266267"/>
              <a:gd name="connsiteY75" fmla="*/ 1846072 h 8956193"/>
              <a:gd name="connsiteX76" fmla="*/ 4934396 w 9266267"/>
              <a:gd name="connsiteY76" fmla="*/ 1699849 h 8956193"/>
              <a:gd name="connsiteX77" fmla="*/ 4934396 w 9266267"/>
              <a:gd name="connsiteY77" fmla="*/ 1663293 h 8956193"/>
              <a:gd name="connsiteX78" fmla="*/ 4934396 w 9266267"/>
              <a:gd name="connsiteY78" fmla="*/ 1608459 h 8956193"/>
              <a:gd name="connsiteX79" fmla="*/ 4879562 w 9266267"/>
              <a:gd name="connsiteY79" fmla="*/ 1608459 h 8956193"/>
              <a:gd name="connsiteX80" fmla="*/ 4824728 w 9266267"/>
              <a:gd name="connsiteY80" fmla="*/ 1608459 h 8956193"/>
              <a:gd name="connsiteX81" fmla="*/ 4769894 w 9266267"/>
              <a:gd name="connsiteY81" fmla="*/ 1590181 h 8956193"/>
              <a:gd name="connsiteX82" fmla="*/ 4715061 w 9266267"/>
              <a:gd name="connsiteY82" fmla="*/ 1590181 h 8956193"/>
              <a:gd name="connsiteX83" fmla="*/ 4733338 w 9266267"/>
              <a:gd name="connsiteY83" fmla="*/ 1571903 h 8956193"/>
              <a:gd name="connsiteX84" fmla="*/ 4733338 w 9266267"/>
              <a:gd name="connsiteY84" fmla="*/ 1553625 h 8956193"/>
              <a:gd name="connsiteX85" fmla="*/ 4623671 w 9266267"/>
              <a:gd name="connsiteY85" fmla="*/ 1553625 h 8956193"/>
              <a:gd name="connsiteX86" fmla="*/ 4349502 w 9266267"/>
              <a:gd name="connsiteY86" fmla="*/ 1425679 h 8956193"/>
              <a:gd name="connsiteX87" fmla="*/ 4348260 w 9266267"/>
              <a:gd name="connsiteY87" fmla="*/ 1426093 h 8956193"/>
              <a:gd name="connsiteX88" fmla="*/ 4371041 w 9266267"/>
              <a:gd name="connsiteY88" fmla="*/ 1436449 h 8956193"/>
              <a:gd name="connsiteX89" fmla="*/ 1955143 w 9266267"/>
              <a:gd name="connsiteY89" fmla="*/ 933380 h 8956193"/>
              <a:gd name="connsiteX90" fmla="*/ 1921272 w 9266267"/>
              <a:gd name="connsiteY90" fmla="*/ 938219 h 8956193"/>
              <a:gd name="connsiteX91" fmla="*/ 1863703 w 9266267"/>
              <a:gd name="connsiteY91" fmla="*/ 1041843 h 8956193"/>
              <a:gd name="connsiteX92" fmla="*/ 1790591 w 9266267"/>
              <a:gd name="connsiteY92" fmla="*/ 1206344 h 8956193"/>
              <a:gd name="connsiteX93" fmla="*/ 1765397 w 9266267"/>
              <a:gd name="connsiteY93" fmla="*/ 1286967 h 8956193"/>
              <a:gd name="connsiteX94" fmla="*/ 1783532 w 9266267"/>
              <a:gd name="connsiteY94" fmla="*/ 1276603 h 8956193"/>
              <a:gd name="connsiteX95" fmla="*/ 1881595 w 9266267"/>
              <a:gd name="connsiteY95" fmla="*/ 1239829 h 8956193"/>
              <a:gd name="connsiteX96" fmla="*/ 1979659 w 9266267"/>
              <a:gd name="connsiteY96" fmla="*/ 1215314 h 8956193"/>
              <a:gd name="connsiteX97" fmla="*/ 2077722 w 9266267"/>
              <a:gd name="connsiteY97" fmla="*/ 1203055 h 8956193"/>
              <a:gd name="connsiteX98" fmla="*/ 2261591 w 9266267"/>
              <a:gd name="connsiteY98" fmla="*/ 1190797 h 8956193"/>
              <a:gd name="connsiteX99" fmla="*/ 2420945 w 9266267"/>
              <a:gd name="connsiteY99" fmla="*/ 1178540 h 8956193"/>
              <a:gd name="connsiteX100" fmla="*/ 2310623 w 9266267"/>
              <a:gd name="connsiteY100" fmla="*/ 1141766 h 8956193"/>
              <a:gd name="connsiteX101" fmla="*/ 2396429 w 9266267"/>
              <a:gd name="connsiteY101" fmla="*/ 1166282 h 8956193"/>
              <a:gd name="connsiteX102" fmla="*/ 2433203 w 9266267"/>
              <a:gd name="connsiteY102" fmla="*/ 1166282 h 8956193"/>
              <a:gd name="connsiteX103" fmla="*/ 2457719 w 9266267"/>
              <a:gd name="connsiteY103" fmla="*/ 1154024 h 8956193"/>
              <a:gd name="connsiteX104" fmla="*/ 2371913 w 9266267"/>
              <a:gd name="connsiteY104" fmla="*/ 1129508 h 8956193"/>
              <a:gd name="connsiteX105" fmla="*/ 2261591 w 9266267"/>
              <a:gd name="connsiteY105" fmla="*/ 1104992 h 8956193"/>
              <a:gd name="connsiteX106" fmla="*/ 2151270 w 9266267"/>
              <a:gd name="connsiteY106" fmla="*/ 1068218 h 8956193"/>
              <a:gd name="connsiteX107" fmla="*/ 2077722 w 9266267"/>
              <a:gd name="connsiteY107" fmla="*/ 1043702 h 8956193"/>
              <a:gd name="connsiteX108" fmla="*/ 2175786 w 9266267"/>
              <a:gd name="connsiteY108" fmla="*/ 970154 h 8956193"/>
              <a:gd name="connsiteX109" fmla="*/ 2114496 w 9266267"/>
              <a:gd name="connsiteY109" fmla="*/ 957896 h 8956193"/>
              <a:gd name="connsiteX110" fmla="*/ 2040948 w 9266267"/>
              <a:gd name="connsiteY110" fmla="*/ 945638 h 8956193"/>
              <a:gd name="connsiteX111" fmla="*/ 3453883 w 9266267"/>
              <a:gd name="connsiteY111" fmla="*/ 895619 h 8956193"/>
              <a:gd name="connsiteX112" fmla="*/ 3234548 w 9266267"/>
              <a:gd name="connsiteY112" fmla="*/ 950453 h 8956193"/>
              <a:gd name="connsiteX113" fmla="*/ 3124880 w 9266267"/>
              <a:gd name="connsiteY113" fmla="*/ 968731 h 8956193"/>
              <a:gd name="connsiteX114" fmla="*/ 3052538 w 9266267"/>
              <a:gd name="connsiteY114" fmla="*/ 997669 h 8956193"/>
              <a:gd name="connsiteX115" fmla="*/ 3095132 w 9266267"/>
              <a:gd name="connsiteY115" fmla="*/ 1006928 h 8956193"/>
              <a:gd name="connsiteX116" fmla="*/ 3389323 w 9266267"/>
              <a:gd name="connsiteY116" fmla="*/ 1080476 h 8956193"/>
              <a:gd name="connsiteX117" fmla="*/ 3471732 w 9266267"/>
              <a:gd name="connsiteY117" fmla="*/ 1107349 h 8956193"/>
              <a:gd name="connsiteX118" fmla="*/ 3782886 w 9266267"/>
              <a:gd name="connsiteY118" fmla="*/ 1041843 h 8956193"/>
              <a:gd name="connsiteX119" fmla="*/ 4185001 w 9266267"/>
              <a:gd name="connsiteY119" fmla="*/ 968731 h 8956193"/>
              <a:gd name="connsiteX120" fmla="*/ 3947387 w 9266267"/>
              <a:gd name="connsiteY120" fmla="*/ 913897 h 8956193"/>
              <a:gd name="connsiteX121" fmla="*/ 3691496 w 9266267"/>
              <a:gd name="connsiteY121" fmla="*/ 895619 h 8956193"/>
              <a:gd name="connsiteX122" fmla="*/ 3252826 w 9266267"/>
              <a:gd name="connsiteY122" fmla="*/ 73111 h 8956193"/>
              <a:gd name="connsiteX123" fmla="*/ 3124880 w 9266267"/>
              <a:gd name="connsiteY123" fmla="*/ 91389 h 8956193"/>
              <a:gd name="connsiteX124" fmla="*/ 2978657 w 9266267"/>
              <a:gd name="connsiteY124" fmla="*/ 109667 h 8956193"/>
              <a:gd name="connsiteX125" fmla="*/ 2832433 w 9266267"/>
              <a:gd name="connsiteY125" fmla="*/ 146223 h 8956193"/>
              <a:gd name="connsiteX126" fmla="*/ 2667932 w 9266267"/>
              <a:gd name="connsiteY126" fmla="*/ 201057 h 8956193"/>
              <a:gd name="connsiteX127" fmla="*/ 2503430 w 9266267"/>
              <a:gd name="connsiteY127" fmla="*/ 292447 h 8956193"/>
              <a:gd name="connsiteX128" fmla="*/ 2338929 w 9266267"/>
              <a:gd name="connsiteY128" fmla="*/ 402115 h 8956193"/>
              <a:gd name="connsiteX129" fmla="*/ 2192705 w 9266267"/>
              <a:gd name="connsiteY129" fmla="*/ 548338 h 8956193"/>
              <a:gd name="connsiteX130" fmla="*/ 2064760 w 9266267"/>
              <a:gd name="connsiteY130" fmla="*/ 694562 h 8956193"/>
              <a:gd name="connsiteX131" fmla="*/ 1955092 w 9266267"/>
              <a:gd name="connsiteY131" fmla="*/ 877341 h 8956193"/>
              <a:gd name="connsiteX132" fmla="*/ 1943045 w 9266267"/>
              <a:gd name="connsiteY132" fmla="*/ 899027 h 8956193"/>
              <a:gd name="connsiteX133" fmla="*/ 2016432 w 9266267"/>
              <a:gd name="connsiteY133" fmla="*/ 884349 h 8956193"/>
              <a:gd name="connsiteX134" fmla="*/ 2188044 w 9266267"/>
              <a:gd name="connsiteY134" fmla="*/ 884349 h 8956193"/>
              <a:gd name="connsiteX135" fmla="*/ 2347397 w 9266267"/>
              <a:gd name="connsiteY135" fmla="*/ 884349 h 8956193"/>
              <a:gd name="connsiteX136" fmla="*/ 2506751 w 9266267"/>
              <a:gd name="connsiteY136" fmla="*/ 896607 h 8956193"/>
              <a:gd name="connsiteX137" fmla="*/ 2613264 w 9266267"/>
              <a:gd name="connsiteY137" fmla="*/ 913649 h 8956193"/>
              <a:gd name="connsiteX138" fmla="*/ 2649654 w 9266267"/>
              <a:gd name="connsiteY138" fmla="*/ 859063 h 8956193"/>
              <a:gd name="connsiteX139" fmla="*/ 2741044 w 9266267"/>
              <a:gd name="connsiteY139" fmla="*/ 749395 h 8956193"/>
              <a:gd name="connsiteX140" fmla="*/ 2868989 w 9266267"/>
              <a:gd name="connsiteY140" fmla="*/ 658006 h 8956193"/>
              <a:gd name="connsiteX141" fmla="*/ 2996935 w 9266267"/>
              <a:gd name="connsiteY141" fmla="*/ 584894 h 8956193"/>
              <a:gd name="connsiteX142" fmla="*/ 3143158 w 9266267"/>
              <a:gd name="connsiteY142" fmla="*/ 530060 h 8956193"/>
              <a:gd name="connsiteX143" fmla="*/ 3289382 w 9266267"/>
              <a:gd name="connsiteY143" fmla="*/ 493504 h 8956193"/>
              <a:gd name="connsiteX144" fmla="*/ 3435605 w 9266267"/>
              <a:gd name="connsiteY144" fmla="*/ 475226 h 8956193"/>
              <a:gd name="connsiteX145" fmla="*/ 3709774 w 9266267"/>
              <a:gd name="connsiteY145" fmla="*/ 456948 h 8956193"/>
              <a:gd name="connsiteX146" fmla="*/ 3947387 w 9266267"/>
              <a:gd name="connsiteY146" fmla="*/ 438670 h 8956193"/>
              <a:gd name="connsiteX147" fmla="*/ 3782886 w 9266267"/>
              <a:gd name="connsiteY147" fmla="*/ 383836 h 8956193"/>
              <a:gd name="connsiteX148" fmla="*/ 3910831 w 9266267"/>
              <a:gd name="connsiteY148" fmla="*/ 420393 h 8956193"/>
              <a:gd name="connsiteX149" fmla="*/ 3965665 w 9266267"/>
              <a:gd name="connsiteY149" fmla="*/ 420393 h 8956193"/>
              <a:gd name="connsiteX150" fmla="*/ 4002221 w 9266267"/>
              <a:gd name="connsiteY150" fmla="*/ 402115 h 8956193"/>
              <a:gd name="connsiteX151" fmla="*/ 3874276 w 9266267"/>
              <a:gd name="connsiteY151" fmla="*/ 365559 h 8956193"/>
              <a:gd name="connsiteX152" fmla="*/ 3709774 w 9266267"/>
              <a:gd name="connsiteY152" fmla="*/ 329003 h 8956193"/>
              <a:gd name="connsiteX153" fmla="*/ 3545273 w 9266267"/>
              <a:gd name="connsiteY153" fmla="*/ 274169 h 8956193"/>
              <a:gd name="connsiteX154" fmla="*/ 3435605 w 9266267"/>
              <a:gd name="connsiteY154" fmla="*/ 237613 h 8956193"/>
              <a:gd name="connsiteX155" fmla="*/ 3581829 w 9266267"/>
              <a:gd name="connsiteY155" fmla="*/ 127945 h 8956193"/>
              <a:gd name="connsiteX156" fmla="*/ 3490439 w 9266267"/>
              <a:gd name="connsiteY156" fmla="*/ 109667 h 8956193"/>
              <a:gd name="connsiteX157" fmla="*/ 3380771 w 9266267"/>
              <a:gd name="connsiteY157" fmla="*/ 91389 h 8956193"/>
              <a:gd name="connsiteX158" fmla="*/ 3344215 w 9266267"/>
              <a:gd name="connsiteY158" fmla="*/ 0 h 8956193"/>
              <a:gd name="connsiteX159" fmla="*/ 3600107 w 9266267"/>
              <a:gd name="connsiteY159" fmla="*/ 0 h 8956193"/>
              <a:gd name="connsiteX160" fmla="*/ 3837720 w 9266267"/>
              <a:gd name="connsiteY160" fmla="*/ 0 h 8956193"/>
              <a:gd name="connsiteX161" fmla="*/ 4075333 w 9266267"/>
              <a:gd name="connsiteY161" fmla="*/ 18278 h 8956193"/>
              <a:gd name="connsiteX162" fmla="*/ 4532281 w 9266267"/>
              <a:gd name="connsiteY162" fmla="*/ 91389 h 8956193"/>
              <a:gd name="connsiteX163" fmla="*/ 4952674 w 9266267"/>
              <a:gd name="connsiteY163" fmla="*/ 182779 h 8956193"/>
              <a:gd name="connsiteX164" fmla="*/ 5391344 w 9266267"/>
              <a:gd name="connsiteY164" fmla="*/ 292447 h 8956193"/>
              <a:gd name="connsiteX165" fmla="*/ 6232130 w 9266267"/>
              <a:gd name="connsiteY165" fmla="*/ 566616 h 8956193"/>
              <a:gd name="connsiteX166" fmla="*/ 6652522 w 9266267"/>
              <a:gd name="connsiteY166" fmla="*/ 731117 h 8956193"/>
              <a:gd name="connsiteX167" fmla="*/ 7054636 w 9266267"/>
              <a:gd name="connsiteY167" fmla="*/ 913897 h 8956193"/>
              <a:gd name="connsiteX168" fmla="*/ 7456752 w 9266267"/>
              <a:gd name="connsiteY168" fmla="*/ 1114954 h 8956193"/>
              <a:gd name="connsiteX169" fmla="*/ 7858866 w 9266267"/>
              <a:gd name="connsiteY169" fmla="*/ 1370846 h 8956193"/>
              <a:gd name="connsiteX170" fmla="*/ 8041646 w 9266267"/>
              <a:gd name="connsiteY170" fmla="*/ 1498791 h 8956193"/>
              <a:gd name="connsiteX171" fmla="*/ 8224424 w 9266267"/>
              <a:gd name="connsiteY171" fmla="*/ 1663293 h 8956193"/>
              <a:gd name="connsiteX172" fmla="*/ 8407204 w 9266267"/>
              <a:gd name="connsiteY172" fmla="*/ 1827794 h 8956193"/>
              <a:gd name="connsiteX173" fmla="*/ 8589984 w 9266267"/>
              <a:gd name="connsiteY173" fmla="*/ 2010574 h 8956193"/>
              <a:gd name="connsiteX174" fmla="*/ 8681373 w 9266267"/>
              <a:gd name="connsiteY174" fmla="*/ 2120241 h 8956193"/>
              <a:gd name="connsiteX175" fmla="*/ 8772763 w 9266267"/>
              <a:gd name="connsiteY175" fmla="*/ 2229909 h 8956193"/>
              <a:gd name="connsiteX176" fmla="*/ 8864152 w 9266267"/>
              <a:gd name="connsiteY176" fmla="*/ 2376133 h 8956193"/>
              <a:gd name="connsiteX177" fmla="*/ 8955542 w 9266267"/>
              <a:gd name="connsiteY177" fmla="*/ 2522356 h 8956193"/>
              <a:gd name="connsiteX178" fmla="*/ 9083488 w 9266267"/>
              <a:gd name="connsiteY178" fmla="*/ 2833081 h 8956193"/>
              <a:gd name="connsiteX179" fmla="*/ 9138321 w 9266267"/>
              <a:gd name="connsiteY179" fmla="*/ 2979305 h 8956193"/>
              <a:gd name="connsiteX180" fmla="*/ 9174877 w 9266267"/>
              <a:gd name="connsiteY180" fmla="*/ 3107251 h 8956193"/>
              <a:gd name="connsiteX181" fmla="*/ 9229711 w 9266267"/>
              <a:gd name="connsiteY181" fmla="*/ 3399698 h 8956193"/>
              <a:gd name="connsiteX182" fmla="*/ 9266267 w 9266267"/>
              <a:gd name="connsiteY182" fmla="*/ 3710423 h 8956193"/>
              <a:gd name="connsiteX183" fmla="*/ 9247989 w 9266267"/>
              <a:gd name="connsiteY183" fmla="*/ 4021148 h 8956193"/>
              <a:gd name="connsiteX184" fmla="*/ 9229711 w 9266267"/>
              <a:gd name="connsiteY184" fmla="*/ 4331873 h 8956193"/>
              <a:gd name="connsiteX185" fmla="*/ 9156599 w 9266267"/>
              <a:gd name="connsiteY185" fmla="*/ 4624319 h 8956193"/>
              <a:gd name="connsiteX186" fmla="*/ 9065210 w 9266267"/>
              <a:gd name="connsiteY186" fmla="*/ 4916766 h 8956193"/>
              <a:gd name="connsiteX187" fmla="*/ 8973820 w 9266267"/>
              <a:gd name="connsiteY187" fmla="*/ 5190936 h 8956193"/>
              <a:gd name="connsiteX188" fmla="*/ 8845874 w 9266267"/>
              <a:gd name="connsiteY188" fmla="*/ 5446827 h 8956193"/>
              <a:gd name="connsiteX189" fmla="*/ 8699651 w 9266267"/>
              <a:gd name="connsiteY189" fmla="*/ 5702718 h 8956193"/>
              <a:gd name="connsiteX190" fmla="*/ 8553428 w 9266267"/>
              <a:gd name="connsiteY190" fmla="*/ 5940332 h 8956193"/>
              <a:gd name="connsiteX191" fmla="*/ 8260980 w 9266267"/>
              <a:gd name="connsiteY191" fmla="*/ 6360725 h 8956193"/>
              <a:gd name="connsiteX192" fmla="*/ 8169591 w 9266267"/>
              <a:gd name="connsiteY192" fmla="*/ 6452115 h 8956193"/>
              <a:gd name="connsiteX193" fmla="*/ 8078201 w 9266267"/>
              <a:gd name="connsiteY193" fmla="*/ 6543504 h 8956193"/>
              <a:gd name="connsiteX194" fmla="*/ 7804032 w 9266267"/>
              <a:gd name="connsiteY194" fmla="*/ 6726284 h 8956193"/>
              <a:gd name="connsiteX195" fmla="*/ 7511585 w 9266267"/>
              <a:gd name="connsiteY195" fmla="*/ 6909063 h 8956193"/>
              <a:gd name="connsiteX196" fmla="*/ 7237416 w 9266267"/>
              <a:gd name="connsiteY196" fmla="*/ 7055287 h 8956193"/>
              <a:gd name="connsiteX197" fmla="*/ 6780468 w 9266267"/>
              <a:gd name="connsiteY197" fmla="*/ 7329456 h 8956193"/>
              <a:gd name="connsiteX198" fmla="*/ 6341797 w 9266267"/>
              <a:gd name="connsiteY198" fmla="*/ 7585347 h 8956193"/>
              <a:gd name="connsiteX199" fmla="*/ 5446178 w 9266267"/>
              <a:gd name="connsiteY199" fmla="*/ 8078852 h 8956193"/>
              <a:gd name="connsiteX200" fmla="*/ 4970952 w 9266267"/>
              <a:gd name="connsiteY200" fmla="*/ 8261631 h 8956193"/>
              <a:gd name="connsiteX201" fmla="*/ 4477448 w 9266267"/>
              <a:gd name="connsiteY201" fmla="*/ 8426133 h 8956193"/>
              <a:gd name="connsiteX202" fmla="*/ 3983943 w 9266267"/>
              <a:gd name="connsiteY202" fmla="*/ 8554078 h 8956193"/>
              <a:gd name="connsiteX203" fmla="*/ 3490439 w 9266267"/>
              <a:gd name="connsiteY203" fmla="*/ 8645468 h 8956193"/>
              <a:gd name="connsiteX204" fmla="*/ 2978657 w 9266267"/>
              <a:gd name="connsiteY204" fmla="*/ 8736858 h 8956193"/>
              <a:gd name="connsiteX205" fmla="*/ 2485152 w 9266267"/>
              <a:gd name="connsiteY205" fmla="*/ 8809969 h 8956193"/>
              <a:gd name="connsiteX206" fmla="*/ 1443310 w 9266267"/>
              <a:gd name="connsiteY206" fmla="*/ 8956193 h 8956193"/>
              <a:gd name="connsiteX207" fmla="*/ 1333642 w 9266267"/>
              <a:gd name="connsiteY207" fmla="*/ 8956193 h 8956193"/>
              <a:gd name="connsiteX208" fmla="*/ 1233114 w 9266267"/>
              <a:gd name="connsiteY208" fmla="*/ 8937915 h 8956193"/>
              <a:gd name="connsiteX209" fmla="*/ 1141724 w 9266267"/>
              <a:gd name="connsiteY209" fmla="*/ 8901359 h 8956193"/>
              <a:gd name="connsiteX210" fmla="*/ 1086890 w 9266267"/>
              <a:gd name="connsiteY210" fmla="*/ 8846525 h 8956193"/>
              <a:gd name="connsiteX211" fmla="*/ 1068612 w 9266267"/>
              <a:gd name="connsiteY211" fmla="*/ 8809969 h 8956193"/>
              <a:gd name="connsiteX212" fmla="*/ 1068612 w 9266267"/>
              <a:gd name="connsiteY212" fmla="*/ 8791691 h 8956193"/>
              <a:gd name="connsiteX213" fmla="*/ 1086890 w 9266267"/>
              <a:gd name="connsiteY213" fmla="*/ 8755136 h 8956193"/>
              <a:gd name="connsiteX214" fmla="*/ 1123446 w 9266267"/>
              <a:gd name="connsiteY214" fmla="*/ 8718580 h 8956193"/>
              <a:gd name="connsiteX215" fmla="*/ 1160002 w 9266267"/>
              <a:gd name="connsiteY215" fmla="*/ 8682024 h 8956193"/>
              <a:gd name="connsiteX216" fmla="*/ 1233114 w 9266267"/>
              <a:gd name="connsiteY216" fmla="*/ 8645468 h 8956193"/>
              <a:gd name="connsiteX217" fmla="*/ 1425032 w 9266267"/>
              <a:gd name="connsiteY217" fmla="*/ 8572356 h 8956193"/>
              <a:gd name="connsiteX218" fmla="*/ 1845425 w 9266267"/>
              <a:gd name="connsiteY218" fmla="*/ 8444410 h 8956193"/>
              <a:gd name="connsiteX219" fmla="*/ 2247539 w 9266267"/>
              <a:gd name="connsiteY219" fmla="*/ 8334743 h 8956193"/>
              <a:gd name="connsiteX220" fmla="*/ 3106602 w 9266267"/>
              <a:gd name="connsiteY220" fmla="*/ 8151964 h 8956193"/>
              <a:gd name="connsiteX221" fmla="*/ 3070046 w 9266267"/>
              <a:gd name="connsiteY221" fmla="*/ 8188519 h 8956193"/>
              <a:gd name="connsiteX222" fmla="*/ 3033491 w 9266267"/>
              <a:gd name="connsiteY222" fmla="*/ 8225075 h 8956193"/>
              <a:gd name="connsiteX223" fmla="*/ 2905545 w 9266267"/>
              <a:gd name="connsiteY223" fmla="*/ 8261631 h 8956193"/>
              <a:gd name="connsiteX224" fmla="*/ 2759321 w 9266267"/>
              <a:gd name="connsiteY224" fmla="*/ 8298187 h 8956193"/>
              <a:gd name="connsiteX225" fmla="*/ 2704488 w 9266267"/>
              <a:gd name="connsiteY225" fmla="*/ 8316465 h 8956193"/>
              <a:gd name="connsiteX226" fmla="*/ 2649654 w 9266267"/>
              <a:gd name="connsiteY226" fmla="*/ 8353021 h 8956193"/>
              <a:gd name="connsiteX227" fmla="*/ 2960379 w 9266267"/>
              <a:gd name="connsiteY227" fmla="*/ 8334743 h 8956193"/>
              <a:gd name="connsiteX228" fmla="*/ 3252826 w 9266267"/>
              <a:gd name="connsiteY228" fmla="*/ 8298187 h 8956193"/>
              <a:gd name="connsiteX229" fmla="*/ 3545273 w 9266267"/>
              <a:gd name="connsiteY229" fmla="*/ 8243353 h 8956193"/>
              <a:gd name="connsiteX230" fmla="*/ 3855998 w 9266267"/>
              <a:gd name="connsiteY230" fmla="*/ 8170242 h 8956193"/>
              <a:gd name="connsiteX231" fmla="*/ 3435605 w 9266267"/>
              <a:gd name="connsiteY231" fmla="*/ 8279909 h 8956193"/>
              <a:gd name="connsiteX232" fmla="*/ 3033491 w 9266267"/>
              <a:gd name="connsiteY232" fmla="*/ 8371299 h 8956193"/>
              <a:gd name="connsiteX233" fmla="*/ 3563551 w 9266267"/>
              <a:gd name="connsiteY233" fmla="*/ 8261631 h 8956193"/>
              <a:gd name="connsiteX234" fmla="*/ 4111889 w 9266267"/>
              <a:gd name="connsiteY234" fmla="*/ 8115408 h 8956193"/>
              <a:gd name="connsiteX235" fmla="*/ 4660227 w 9266267"/>
              <a:gd name="connsiteY235" fmla="*/ 7950906 h 8956193"/>
              <a:gd name="connsiteX236" fmla="*/ 5208565 w 9266267"/>
              <a:gd name="connsiteY236" fmla="*/ 7749849 h 8956193"/>
              <a:gd name="connsiteX237" fmla="*/ 5318232 w 9266267"/>
              <a:gd name="connsiteY237" fmla="*/ 7731571 h 8956193"/>
              <a:gd name="connsiteX238" fmla="*/ 5427900 w 9266267"/>
              <a:gd name="connsiteY238" fmla="*/ 7731571 h 8956193"/>
              <a:gd name="connsiteX239" fmla="*/ 5665514 w 9266267"/>
              <a:gd name="connsiteY239" fmla="*/ 7713293 h 8956193"/>
              <a:gd name="connsiteX240" fmla="*/ 5793459 w 9266267"/>
              <a:gd name="connsiteY240" fmla="*/ 7713293 h 8956193"/>
              <a:gd name="connsiteX241" fmla="*/ 5921404 w 9266267"/>
              <a:gd name="connsiteY241" fmla="*/ 7676737 h 8956193"/>
              <a:gd name="connsiteX242" fmla="*/ 6031072 w 9266267"/>
              <a:gd name="connsiteY242" fmla="*/ 7603625 h 8956193"/>
              <a:gd name="connsiteX243" fmla="*/ 6159018 w 9266267"/>
              <a:gd name="connsiteY243" fmla="*/ 7493957 h 8956193"/>
              <a:gd name="connsiteX244" fmla="*/ 5775181 w 9266267"/>
              <a:gd name="connsiteY244" fmla="*/ 7603625 h 8956193"/>
              <a:gd name="connsiteX245" fmla="*/ 5391344 w 9266267"/>
              <a:gd name="connsiteY245" fmla="*/ 7695015 h 8956193"/>
              <a:gd name="connsiteX246" fmla="*/ 4605393 w 9266267"/>
              <a:gd name="connsiteY246" fmla="*/ 7859516 h 8956193"/>
              <a:gd name="connsiteX247" fmla="*/ 3855998 w 9266267"/>
              <a:gd name="connsiteY247" fmla="*/ 8005740 h 8956193"/>
              <a:gd name="connsiteX248" fmla="*/ 3106602 w 9266267"/>
              <a:gd name="connsiteY248" fmla="*/ 8151964 h 8956193"/>
              <a:gd name="connsiteX249" fmla="*/ 2777599 w 9266267"/>
              <a:gd name="connsiteY249" fmla="*/ 8206797 h 8956193"/>
              <a:gd name="connsiteX250" fmla="*/ 2448597 w 9266267"/>
              <a:gd name="connsiteY250" fmla="*/ 8279909 h 8956193"/>
              <a:gd name="connsiteX251" fmla="*/ 1827147 w 9266267"/>
              <a:gd name="connsiteY251" fmla="*/ 8371299 h 8956193"/>
              <a:gd name="connsiteX252" fmla="*/ 2009926 w 9266267"/>
              <a:gd name="connsiteY252" fmla="*/ 8316465 h 8956193"/>
              <a:gd name="connsiteX253" fmla="*/ 2210983 w 9266267"/>
              <a:gd name="connsiteY253" fmla="*/ 8298187 h 8956193"/>
              <a:gd name="connsiteX254" fmla="*/ 1735757 w 9266267"/>
              <a:gd name="connsiteY254" fmla="*/ 8316465 h 8956193"/>
              <a:gd name="connsiteX255" fmla="*/ 1269670 w 9266267"/>
              <a:gd name="connsiteY255" fmla="*/ 8353021 h 8956193"/>
              <a:gd name="connsiteX256" fmla="*/ 337495 w 9266267"/>
              <a:gd name="connsiteY256" fmla="*/ 8407855 h 8956193"/>
              <a:gd name="connsiteX257" fmla="*/ 995500 w 9266267"/>
              <a:gd name="connsiteY257" fmla="*/ 8243353 h 8956193"/>
              <a:gd name="connsiteX258" fmla="*/ 1644367 w 9266267"/>
              <a:gd name="connsiteY258" fmla="*/ 8097130 h 8956193"/>
              <a:gd name="connsiteX259" fmla="*/ 2996935 w 9266267"/>
              <a:gd name="connsiteY259" fmla="*/ 7841238 h 8956193"/>
              <a:gd name="connsiteX260" fmla="*/ 3691496 w 9266267"/>
              <a:gd name="connsiteY260" fmla="*/ 7695015 h 8956193"/>
              <a:gd name="connsiteX261" fmla="*/ 4367780 w 9266267"/>
              <a:gd name="connsiteY261" fmla="*/ 7530513 h 8956193"/>
              <a:gd name="connsiteX262" fmla="*/ 4696783 w 9266267"/>
              <a:gd name="connsiteY262" fmla="*/ 7420846 h 8956193"/>
              <a:gd name="connsiteX263" fmla="*/ 5025785 w 9266267"/>
              <a:gd name="connsiteY263" fmla="*/ 7311178 h 8956193"/>
              <a:gd name="connsiteX264" fmla="*/ 5354788 w 9266267"/>
              <a:gd name="connsiteY264" fmla="*/ 7183232 h 8956193"/>
              <a:gd name="connsiteX265" fmla="*/ 5665514 w 9266267"/>
              <a:gd name="connsiteY265" fmla="*/ 7055287 h 8956193"/>
              <a:gd name="connsiteX266" fmla="*/ 5464456 w 9266267"/>
              <a:gd name="connsiteY266" fmla="*/ 7091843 h 8956193"/>
              <a:gd name="connsiteX267" fmla="*/ 5263399 w 9266267"/>
              <a:gd name="connsiteY267" fmla="*/ 7146677 h 8956193"/>
              <a:gd name="connsiteX268" fmla="*/ 4861284 w 9266267"/>
              <a:gd name="connsiteY268" fmla="*/ 7292900 h 8956193"/>
              <a:gd name="connsiteX269" fmla="*/ 4660227 w 9266267"/>
              <a:gd name="connsiteY269" fmla="*/ 7347734 h 8956193"/>
              <a:gd name="connsiteX270" fmla="*/ 4459170 w 9266267"/>
              <a:gd name="connsiteY270" fmla="*/ 7402568 h 8956193"/>
              <a:gd name="connsiteX271" fmla="*/ 4276390 w 9266267"/>
              <a:gd name="connsiteY271" fmla="*/ 7439124 h 8956193"/>
              <a:gd name="connsiteX272" fmla="*/ 4093611 w 9266267"/>
              <a:gd name="connsiteY272" fmla="*/ 7420846 h 8956193"/>
              <a:gd name="connsiteX273" fmla="*/ 4678505 w 9266267"/>
              <a:gd name="connsiteY273" fmla="*/ 7256344 h 8956193"/>
              <a:gd name="connsiteX274" fmla="*/ 5281677 w 9266267"/>
              <a:gd name="connsiteY274" fmla="*/ 7091843 h 8956193"/>
              <a:gd name="connsiteX275" fmla="*/ 5866571 w 9266267"/>
              <a:gd name="connsiteY275" fmla="*/ 6872507 h 8956193"/>
              <a:gd name="connsiteX276" fmla="*/ 6469742 w 9266267"/>
              <a:gd name="connsiteY276" fmla="*/ 6634894 h 8956193"/>
              <a:gd name="connsiteX277" fmla="*/ 6305242 w 9266267"/>
              <a:gd name="connsiteY277" fmla="*/ 6762840 h 8956193"/>
              <a:gd name="connsiteX278" fmla="*/ 6506298 w 9266267"/>
              <a:gd name="connsiteY278" fmla="*/ 6708006 h 8956193"/>
              <a:gd name="connsiteX279" fmla="*/ 6707356 w 9266267"/>
              <a:gd name="connsiteY279" fmla="*/ 6616616 h 8956193"/>
              <a:gd name="connsiteX280" fmla="*/ 6890135 w 9266267"/>
              <a:gd name="connsiteY280" fmla="*/ 6525226 h 8956193"/>
              <a:gd name="connsiteX281" fmla="*/ 7072914 w 9266267"/>
              <a:gd name="connsiteY281" fmla="*/ 6415559 h 8956193"/>
              <a:gd name="connsiteX282" fmla="*/ 7438474 w 9266267"/>
              <a:gd name="connsiteY282" fmla="*/ 6177945 h 8956193"/>
              <a:gd name="connsiteX283" fmla="*/ 7785754 w 9266267"/>
              <a:gd name="connsiteY283" fmla="*/ 5922054 h 8956193"/>
              <a:gd name="connsiteX284" fmla="*/ 7456752 w 9266267"/>
              <a:gd name="connsiteY284" fmla="*/ 6141389 h 8956193"/>
              <a:gd name="connsiteX285" fmla="*/ 7127748 w 9266267"/>
              <a:gd name="connsiteY285" fmla="*/ 6324169 h 8956193"/>
              <a:gd name="connsiteX286" fmla="*/ 6798746 w 9266267"/>
              <a:gd name="connsiteY286" fmla="*/ 6488670 h 8956193"/>
              <a:gd name="connsiteX287" fmla="*/ 6469742 w 9266267"/>
              <a:gd name="connsiteY287" fmla="*/ 6634894 h 8956193"/>
              <a:gd name="connsiteX288" fmla="*/ 6762190 w 9266267"/>
              <a:gd name="connsiteY288" fmla="*/ 6452115 h 8956193"/>
              <a:gd name="connsiteX289" fmla="*/ 7109470 w 9266267"/>
              <a:gd name="connsiteY289" fmla="*/ 6269335 h 8956193"/>
              <a:gd name="connsiteX290" fmla="*/ 6981525 w 9266267"/>
              <a:gd name="connsiteY290" fmla="*/ 6305891 h 8956193"/>
              <a:gd name="connsiteX291" fmla="*/ 6835302 w 9266267"/>
              <a:gd name="connsiteY291" fmla="*/ 6342447 h 8956193"/>
              <a:gd name="connsiteX292" fmla="*/ 6524576 w 9266267"/>
              <a:gd name="connsiteY292" fmla="*/ 6452115 h 8956193"/>
              <a:gd name="connsiteX293" fmla="*/ 6159018 w 9266267"/>
              <a:gd name="connsiteY293" fmla="*/ 6616616 h 8956193"/>
              <a:gd name="connsiteX294" fmla="*/ 5756903 w 9266267"/>
              <a:gd name="connsiteY294" fmla="*/ 6781118 h 8956193"/>
              <a:gd name="connsiteX295" fmla="*/ 6049350 w 9266267"/>
              <a:gd name="connsiteY295" fmla="*/ 6634894 h 8956193"/>
              <a:gd name="connsiteX296" fmla="*/ 6323519 w 9266267"/>
              <a:gd name="connsiteY296" fmla="*/ 6488670 h 8956193"/>
              <a:gd name="connsiteX297" fmla="*/ 6579410 w 9266267"/>
              <a:gd name="connsiteY297" fmla="*/ 6305891 h 8956193"/>
              <a:gd name="connsiteX298" fmla="*/ 6817024 w 9266267"/>
              <a:gd name="connsiteY298" fmla="*/ 6123111 h 8956193"/>
              <a:gd name="connsiteX299" fmla="*/ 6012794 w 9266267"/>
              <a:gd name="connsiteY299" fmla="*/ 6470392 h 8956193"/>
              <a:gd name="connsiteX300" fmla="*/ 5610680 w 9266267"/>
              <a:gd name="connsiteY300" fmla="*/ 6616616 h 8956193"/>
              <a:gd name="connsiteX301" fmla="*/ 5190287 w 9266267"/>
              <a:gd name="connsiteY301" fmla="*/ 6744562 h 8956193"/>
              <a:gd name="connsiteX302" fmla="*/ 5628958 w 9266267"/>
              <a:gd name="connsiteY302" fmla="*/ 6561782 h 8956193"/>
              <a:gd name="connsiteX303" fmla="*/ 6049350 w 9266267"/>
              <a:gd name="connsiteY303" fmla="*/ 6360725 h 8956193"/>
              <a:gd name="connsiteX304" fmla="*/ 6414909 w 9266267"/>
              <a:gd name="connsiteY304" fmla="*/ 6214501 h 8956193"/>
              <a:gd name="connsiteX305" fmla="*/ 6780468 w 9266267"/>
              <a:gd name="connsiteY305" fmla="*/ 6031721 h 8956193"/>
              <a:gd name="connsiteX306" fmla="*/ 7127748 w 9266267"/>
              <a:gd name="connsiteY306" fmla="*/ 5830664 h 8956193"/>
              <a:gd name="connsiteX307" fmla="*/ 7475029 w 9266267"/>
              <a:gd name="connsiteY307" fmla="*/ 5611328 h 8956193"/>
              <a:gd name="connsiteX308" fmla="*/ 7420196 w 9266267"/>
              <a:gd name="connsiteY308" fmla="*/ 5666162 h 8956193"/>
              <a:gd name="connsiteX309" fmla="*/ 7511585 w 9266267"/>
              <a:gd name="connsiteY309" fmla="*/ 5574773 h 8956193"/>
              <a:gd name="connsiteX310" fmla="*/ 7767476 w 9266267"/>
              <a:gd name="connsiteY310" fmla="*/ 5373715 h 8956193"/>
              <a:gd name="connsiteX311" fmla="*/ 8005090 w 9266267"/>
              <a:gd name="connsiteY311" fmla="*/ 5136102 h 8956193"/>
              <a:gd name="connsiteX312" fmla="*/ 8114757 w 9266267"/>
              <a:gd name="connsiteY312" fmla="*/ 5026434 h 8956193"/>
              <a:gd name="connsiteX313" fmla="*/ 8187868 w 9266267"/>
              <a:gd name="connsiteY313" fmla="*/ 4898489 h 8956193"/>
              <a:gd name="connsiteX314" fmla="*/ 8242702 w 9266267"/>
              <a:gd name="connsiteY314" fmla="*/ 4752265 h 8956193"/>
              <a:gd name="connsiteX315" fmla="*/ 8297536 w 9266267"/>
              <a:gd name="connsiteY315" fmla="*/ 4606041 h 8956193"/>
              <a:gd name="connsiteX316" fmla="*/ 8352370 w 9266267"/>
              <a:gd name="connsiteY316" fmla="*/ 4514652 h 8956193"/>
              <a:gd name="connsiteX317" fmla="*/ 8352370 w 9266267"/>
              <a:gd name="connsiteY317" fmla="*/ 4569485 h 8956193"/>
              <a:gd name="connsiteX318" fmla="*/ 8352370 w 9266267"/>
              <a:gd name="connsiteY318" fmla="*/ 4587763 h 8956193"/>
              <a:gd name="connsiteX319" fmla="*/ 8370648 w 9266267"/>
              <a:gd name="connsiteY319" fmla="*/ 4587763 h 8956193"/>
              <a:gd name="connsiteX320" fmla="*/ 8425482 w 9266267"/>
              <a:gd name="connsiteY320" fmla="*/ 4532930 h 8956193"/>
              <a:gd name="connsiteX321" fmla="*/ 8535150 w 9266267"/>
              <a:gd name="connsiteY321" fmla="*/ 4350151 h 8956193"/>
              <a:gd name="connsiteX322" fmla="*/ 8608262 w 9266267"/>
              <a:gd name="connsiteY322" fmla="*/ 4167372 h 8956193"/>
              <a:gd name="connsiteX323" fmla="*/ 8663095 w 9266267"/>
              <a:gd name="connsiteY323" fmla="*/ 3948036 h 8956193"/>
              <a:gd name="connsiteX324" fmla="*/ 8699651 w 9266267"/>
              <a:gd name="connsiteY324" fmla="*/ 3746979 h 8956193"/>
              <a:gd name="connsiteX325" fmla="*/ 8699651 w 9266267"/>
              <a:gd name="connsiteY325" fmla="*/ 3509365 h 8956193"/>
              <a:gd name="connsiteX326" fmla="*/ 8699651 w 9266267"/>
              <a:gd name="connsiteY326" fmla="*/ 3290030 h 8956193"/>
              <a:gd name="connsiteX327" fmla="*/ 8663095 w 9266267"/>
              <a:gd name="connsiteY327" fmla="*/ 2814804 h 8956193"/>
              <a:gd name="connsiteX328" fmla="*/ 8626539 w 9266267"/>
              <a:gd name="connsiteY328" fmla="*/ 2668580 h 8956193"/>
              <a:gd name="connsiteX329" fmla="*/ 8553428 w 9266267"/>
              <a:gd name="connsiteY329" fmla="*/ 2522356 h 8956193"/>
              <a:gd name="connsiteX330" fmla="*/ 8462038 w 9266267"/>
              <a:gd name="connsiteY330" fmla="*/ 2376133 h 8956193"/>
              <a:gd name="connsiteX331" fmla="*/ 8334092 w 9266267"/>
              <a:gd name="connsiteY331" fmla="*/ 2248187 h 8956193"/>
              <a:gd name="connsiteX332" fmla="*/ 8297536 w 9266267"/>
              <a:gd name="connsiteY332" fmla="*/ 2175075 h 8956193"/>
              <a:gd name="connsiteX333" fmla="*/ 8242702 w 9266267"/>
              <a:gd name="connsiteY333" fmla="*/ 2156797 h 8956193"/>
              <a:gd name="connsiteX334" fmla="*/ 8224424 w 9266267"/>
              <a:gd name="connsiteY334" fmla="*/ 2138519 h 8956193"/>
              <a:gd name="connsiteX335" fmla="*/ 8169591 w 9266267"/>
              <a:gd name="connsiteY335" fmla="*/ 2138519 h 8956193"/>
              <a:gd name="connsiteX336" fmla="*/ 8133035 w 9266267"/>
              <a:gd name="connsiteY336" fmla="*/ 2120241 h 8956193"/>
              <a:gd name="connsiteX337" fmla="*/ 8096479 w 9266267"/>
              <a:gd name="connsiteY337" fmla="*/ 2083686 h 8956193"/>
              <a:gd name="connsiteX338" fmla="*/ 8206146 w 9266267"/>
              <a:gd name="connsiteY338" fmla="*/ 2211631 h 8956193"/>
              <a:gd name="connsiteX339" fmla="*/ 8297536 w 9266267"/>
              <a:gd name="connsiteY339" fmla="*/ 2339577 h 8956193"/>
              <a:gd name="connsiteX340" fmla="*/ 8388926 w 9266267"/>
              <a:gd name="connsiteY340" fmla="*/ 2485800 h 8956193"/>
              <a:gd name="connsiteX341" fmla="*/ 8462038 w 9266267"/>
              <a:gd name="connsiteY341" fmla="*/ 2632024 h 8956193"/>
              <a:gd name="connsiteX342" fmla="*/ 8516872 w 9266267"/>
              <a:gd name="connsiteY342" fmla="*/ 2778248 h 8956193"/>
              <a:gd name="connsiteX343" fmla="*/ 8571706 w 9266267"/>
              <a:gd name="connsiteY343" fmla="*/ 2924471 h 8956193"/>
              <a:gd name="connsiteX344" fmla="*/ 8589984 w 9266267"/>
              <a:gd name="connsiteY344" fmla="*/ 3088973 h 8956193"/>
              <a:gd name="connsiteX345" fmla="*/ 8608262 w 9266267"/>
              <a:gd name="connsiteY345" fmla="*/ 3253474 h 8956193"/>
              <a:gd name="connsiteX346" fmla="*/ 8626539 w 9266267"/>
              <a:gd name="connsiteY346" fmla="*/ 3417976 h 8956193"/>
              <a:gd name="connsiteX347" fmla="*/ 8608262 w 9266267"/>
              <a:gd name="connsiteY347" fmla="*/ 3582477 h 8956193"/>
              <a:gd name="connsiteX348" fmla="*/ 8608262 w 9266267"/>
              <a:gd name="connsiteY348" fmla="*/ 3746979 h 8956193"/>
              <a:gd name="connsiteX349" fmla="*/ 8571706 w 9266267"/>
              <a:gd name="connsiteY349" fmla="*/ 3911480 h 8956193"/>
              <a:gd name="connsiteX350" fmla="*/ 8535150 w 9266267"/>
              <a:gd name="connsiteY350" fmla="*/ 4075982 h 8956193"/>
              <a:gd name="connsiteX351" fmla="*/ 8480316 w 9266267"/>
              <a:gd name="connsiteY351" fmla="*/ 4222205 h 8956193"/>
              <a:gd name="connsiteX352" fmla="*/ 8425482 w 9266267"/>
              <a:gd name="connsiteY352" fmla="*/ 4386707 h 8956193"/>
              <a:gd name="connsiteX353" fmla="*/ 8352370 w 9266267"/>
              <a:gd name="connsiteY353" fmla="*/ 4514652 h 8956193"/>
              <a:gd name="connsiteX354" fmla="*/ 8352370 w 9266267"/>
              <a:gd name="connsiteY354" fmla="*/ 4350151 h 8956193"/>
              <a:gd name="connsiteX355" fmla="*/ 8334092 w 9266267"/>
              <a:gd name="connsiteY355" fmla="*/ 4478096 h 8956193"/>
              <a:gd name="connsiteX356" fmla="*/ 8297536 w 9266267"/>
              <a:gd name="connsiteY356" fmla="*/ 4606041 h 8956193"/>
              <a:gd name="connsiteX357" fmla="*/ 8187868 w 9266267"/>
              <a:gd name="connsiteY357" fmla="*/ 4788821 h 8956193"/>
              <a:gd name="connsiteX358" fmla="*/ 8059923 w 9266267"/>
              <a:gd name="connsiteY358" fmla="*/ 4953322 h 8956193"/>
              <a:gd name="connsiteX359" fmla="*/ 7804032 w 9266267"/>
              <a:gd name="connsiteY359" fmla="*/ 5264047 h 8956193"/>
              <a:gd name="connsiteX360" fmla="*/ 7858866 w 9266267"/>
              <a:gd name="connsiteY360" fmla="*/ 5172658 h 8956193"/>
              <a:gd name="connsiteX361" fmla="*/ 7895422 w 9266267"/>
              <a:gd name="connsiteY361" fmla="*/ 5062990 h 8956193"/>
              <a:gd name="connsiteX362" fmla="*/ 7694364 w 9266267"/>
              <a:gd name="connsiteY362" fmla="*/ 5264047 h 8956193"/>
              <a:gd name="connsiteX363" fmla="*/ 7475029 w 9266267"/>
              <a:gd name="connsiteY363" fmla="*/ 5446827 h 8956193"/>
              <a:gd name="connsiteX364" fmla="*/ 7255694 w 9266267"/>
              <a:gd name="connsiteY364" fmla="*/ 5629606 h 8956193"/>
              <a:gd name="connsiteX365" fmla="*/ 7018081 w 9266267"/>
              <a:gd name="connsiteY365" fmla="*/ 5794108 h 8956193"/>
              <a:gd name="connsiteX366" fmla="*/ 6542854 w 9266267"/>
              <a:gd name="connsiteY366" fmla="*/ 6086555 h 8956193"/>
              <a:gd name="connsiteX367" fmla="*/ 6049350 w 9266267"/>
              <a:gd name="connsiteY367" fmla="*/ 6360725 h 8956193"/>
              <a:gd name="connsiteX368" fmla="*/ 5555846 w 9266267"/>
              <a:gd name="connsiteY368" fmla="*/ 6543504 h 8956193"/>
              <a:gd name="connsiteX369" fmla="*/ 5044063 w 9266267"/>
              <a:gd name="connsiteY369" fmla="*/ 6689728 h 8956193"/>
              <a:gd name="connsiteX370" fmla="*/ 4550559 w 9266267"/>
              <a:gd name="connsiteY370" fmla="*/ 6817673 h 8956193"/>
              <a:gd name="connsiteX371" fmla="*/ 4038777 w 9266267"/>
              <a:gd name="connsiteY371" fmla="*/ 6927341 h 8956193"/>
              <a:gd name="connsiteX372" fmla="*/ 4331224 w 9266267"/>
              <a:gd name="connsiteY372" fmla="*/ 6909063 h 8956193"/>
              <a:gd name="connsiteX373" fmla="*/ 4623671 w 9266267"/>
              <a:gd name="connsiteY373" fmla="*/ 6872507 h 8956193"/>
              <a:gd name="connsiteX374" fmla="*/ 4897840 w 9266267"/>
              <a:gd name="connsiteY374" fmla="*/ 6817673 h 8956193"/>
              <a:gd name="connsiteX375" fmla="*/ 5190287 w 9266267"/>
              <a:gd name="connsiteY375" fmla="*/ 6744562 h 8956193"/>
              <a:gd name="connsiteX376" fmla="*/ 4824728 w 9266267"/>
              <a:gd name="connsiteY376" fmla="*/ 6872507 h 8956193"/>
              <a:gd name="connsiteX377" fmla="*/ 4440892 w 9266267"/>
              <a:gd name="connsiteY377" fmla="*/ 7000453 h 8956193"/>
              <a:gd name="connsiteX378" fmla="*/ 4057055 w 9266267"/>
              <a:gd name="connsiteY378" fmla="*/ 7110121 h 8956193"/>
              <a:gd name="connsiteX379" fmla="*/ 3673218 w 9266267"/>
              <a:gd name="connsiteY379" fmla="*/ 7219788 h 8956193"/>
              <a:gd name="connsiteX380" fmla="*/ 3289382 w 9266267"/>
              <a:gd name="connsiteY380" fmla="*/ 7311178 h 8956193"/>
              <a:gd name="connsiteX381" fmla="*/ 2905545 w 9266267"/>
              <a:gd name="connsiteY381" fmla="*/ 7366012 h 8956193"/>
              <a:gd name="connsiteX382" fmla="*/ 2503430 w 9266267"/>
              <a:gd name="connsiteY382" fmla="*/ 7420846 h 8956193"/>
              <a:gd name="connsiteX383" fmla="*/ 2119594 w 9266267"/>
              <a:gd name="connsiteY383" fmla="*/ 7475680 h 8956193"/>
              <a:gd name="connsiteX384" fmla="*/ 2393763 w 9266267"/>
              <a:gd name="connsiteY384" fmla="*/ 7256344 h 8956193"/>
              <a:gd name="connsiteX385" fmla="*/ 2521708 w 9266267"/>
              <a:gd name="connsiteY385" fmla="*/ 7164954 h 8956193"/>
              <a:gd name="connsiteX386" fmla="*/ 2532152 w 9266267"/>
              <a:gd name="connsiteY386" fmla="*/ 7154511 h 8956193"/>
              <a:gd name="connsiteX387" fmla="*/ 2375485 w 9266267"/>
              <a:gd name="connsiteY387" fmla="*/ 7201510 h 8956193"/>
              <a:gd name="connsiteX388" fmla="*/ 2295073 w 9266267"/>
              <a:gd name="connsiteY388" fmla="*/ 7223440 h 8956193"/>
              <a:gd name="connsiteX389" fmla="*/ 2532459 w 9266267"/>
              <a:gd name="connsiteY389" fmla="*/ 7154204 h 8956193"/>
              <a:gd name="connsiteX390" fmla="*/ 2576542 w 9266267"/>
              <a:gd name="connsiteY390" fmla="*/ 7110121 h 8956193"/>
              <a:gd name="connsiteX391" fmla="*/ 2613098 w 9266267"/>
              <a:gd name="connsiteY391" fmla="*/ 7037009 h 8956193"/>
              <a:gd name="connsiteX392" fmla="*/ 2594820 w 9266267"/>
              <a:gd name="connsiteY392" fmla="*/ 7018731 h 8956193"/>
              <a:gd name="connsiteX393" fmla="*/ 2558264 w 9266267"/>
              <a:gd name="connsiteY393" fmla="*/ 7018731 h 8956193"/>
              <a:gd name="connsiteX394" fmla="*/ 2448597 w 9266267"/>
              <a:gd name="connsiteY394" fmla="*/ 7000453 h 8956193"/>
              <a:gd name="connsiteX395" fmla="*/ 2393763 w 9266267"/>
              <a:gd name="connsiteY395" fmla="*/ 6982175 h 8956193"/>
              <a:gd name="connsiteX396" fmla="*/ 2393763 w 9266267"/>
              <a:gd name="connsiteY396" fmla="*/ 6963897 h 8956193"/>
              <a:gd name="connsiteX397" fmla="*/ 2448597 w 9266267"/>
              <a:gd name="connsiteY397" fmla="*/ 6945619 h 8956193"/>
              <a:gd name="connsiteX398" fmla="*/ 2686210 w 9266267"/>
              <a:gd name="connsiteY398" fmla="*/ 6835951 h 8956193"/>
              <a:gd name="connsiteX399" fmla="*/ 2905545 w 9266267"/>
              <a:gd name="connsiteY399" fmla="*/ 6762840 h 8956193"/>
              <a:gd name="connsiteX400" fmla="*/ 3307660 w 9266267"/>
              <a:gd name="connsiteY400" fmla="*/ 6634894 h 8956193"/>
              <a:gd name="connsiteX401" fmla="*/ 3472161 w 9266267"/>
              <a:gd name="connsiteY401" fmla="*/ 6561782 h 8956193"/>
              <a:gd name="connsiteX402" fmla="*/ 3600107 w 9266267"/>
              <a:gd name="connsiteY402" fmla="*/ 6470392 h 8956193"/>
              <a:gd name="connsiteX403" fmla="*/ 3673218 w 9266267"/>
              <a:gd name="connsiteY403" fmla="*/ 6433837 h 8956193"/>
              <a:gd name="connsiteX404" fmla="*/ 3709774 w 9266267"/>
              <a:gd name="connsiteY404" fmla="*/ 6360725 h 8956193"/>
              <a:gd name="connsiteX405" fmla="*/ 3764608 w 9266267"/>
              <a:gd name="connsiteY405" fmla="*/ 6305891 h 8956193"/>
              <a:gd name="connsiteX406" fmla="*/ 3801164 w 9266267"/>
              <a:gd name="connsiteY406" fmla="*/ 6214501 h 8956193"/>
              <a:gd name="connsiteX407" fmla="*/ 3801164 w 9266267"/>
              <a:gd name="connsiteY407" fmla="*/ 6196223 h 8956193"/>
              <a:gd name="connsiteX408" fmla="*/ 3764608 w 9266267"/>
              <a:gd name="connsiteY408" fmla="*/ 6177945 h 8956193"/>
              <a:gd name="connsiteX409" fmla="*/ 3716870 w 9266267"/>
              <a:gd name="connsiteY409" fmla="*/ 6142142 h 8956193"/>
              <a:gd name="connsiteX410" fmla="*/ 3426097 w 9266267"/>
              <a:gd name="connsiteY410" fmla="*/ 6302364 h 8956193"/>
              <a:gd name="connsiteX411" fmla="*/ 3107390 w 9266267"/>
              <a:gd name="connsiteY411" fmla="*/ 6424943 h 8956193"/>
              <a:gd name="connsiteX412" fmla="*/ 2776426 w 9266267"/>
              <a:gd name="connsiteY412" fmla="*/ 6535265 h 8956193"/>
              <a:gd name="connsiteX413" fmla="*/ 2445461 w 9266267"/>
              <a:gd name="connsiteY413" fmla="*/ 6621070 h 8956193"/>
              <a:gd name="connsiteX414" fmla="*/ 2114496 w 9266267"/>
              <a:gd name="connsiteY414" fmla="*/ 6682360 h 8956193"/>
              <a:gd name="connsiteX415" fmla="*/ 1771274 w 9266267"/>
              <a:gd name="connsiteY415" fmla="*/ 6743650 h 8956193"/>
              <a:gd name="connsiteX416" fmla="*/ 1440309 w 9266267"/>
              <a:gd name="connsiteY416" fmla="*/ 6792681 h 8956193"/>
              <a:gd name="connsiteX417" fmla="*/ 741606 w 9266267"/>
              <a:gd name="connsiteY417" fmla="*/ 6890745 h 8956193"/>
              <a:gd name="connsiteX418" fmla="*/ 668058 w 9266267"/>
              <a:gd name="connsiteY418" fmla="*/ 6890745 h 8956193"/>
              <a:gd name="connsiteX419" fmla="*/ 600640 w 9266267"/>
              <a:gd name="connsiteY419" fmla="*/ 6878487 h 8956193"/>
              <a:gd name="connsiteX420" fmla="*/ 539350 w 9266267"/>
              <a:gd name="connsiteY420" fmla="*/ 6853971 h 8956193"/>
              <a:gd name="connsiteX421" fmla="*/ 502576 w 9266267"/>
              <a:gd name="connsiteY421" fmla="*/ 6817197 h 8956193"/>
              <a:gd name="connsiteX422" fmla="*/ 490318 w 9266267"/>
              <a:gd name="connsiteY422" fmla="*/ 6792681 h 8956193"/>
              <a:gd name="connsiteX423" fmla="*/ 490318 w 9266267"/>
              <a:gd name="connsiteY423" fmla="*/ 6780423 h 8956193"/>
              <a:gd name="connsiteX424" fmla="*/ 502576 w 9266267"/>
              <a:gd name="connsiteY424" fmla="*/ 6755908 h 8956193"/>
              <a:gd name="connsiteX425" fmla="*/ 527092 w 9266267"/>
              <a:gd name="connsiteY425" fmla="*/ 6731392 h 8956193"/>
              <a:gd name="connsiteX426" fmla="*/ 551608 w 9266267"/>
              <a:gd name="connsiteY426" fmla="*/ 6706876 h 8956193"/>
              <a:gd name="connsiteX427" fmla="*/ 600640 w 9266267"/>
              <a:gd name="connsiteY427" fmla="*/ 6682360 h 8956193"/>
              <a:gd name="connsiteX428" fmla="*/ 729348 w 9266267"/>
              <a:gd name="connsiteY428" fmla="*/ 6633328 h 8956193"/>
              <a:gd name="connsiteX429" fmla="*/ 1011281 w 9266267"/>
              <a:gd name="connsiteY429" fmla="*/ 6547522 h 8956193"/>
              <a:gd name="connsiteX430" fmla="*/ 1280956 w 9266267"/>
              <a:gd name="connsiteY430" fmla="*/ 6473975 h 8956193"/>
              <a:gd name="connsiteX431" fmla="*/ 1857079 w 9266267"/>
              <a:gd name="connsiteY431" fmla="*/ 6351396 h 8956193"/>
              <a:gd name="connsiteX432" fmla="*/ 1832563 w 9266267"/>
              <a:gd name="connsiteY432" fmla="*/ 6375911 h 8956193"/>
              <a:gd name="connsiteX433" fmla="*/ 1808048 w 9266267"/>
              <a:gd name="connsiteY433" fmla="*/ 6400427 h 8956193"/>
              <a:gd name="connsiteX434" fmla="*/ 1722242 w 9266267"/>
              <a:gd name="connsiteY434" fmla="*/ 6424943 h 8956193"/>
              <a:gd name="connsiteX435" fmla="*/ 1624178 w 9266267"/>
              <a:gd name="connsiteY435" fmla="*/ 6449459 h 8956193"/>
              <a:gd name="connsiteX436" fmla="*/ 1587405 w 9266267"/>
              <a:gd name="connsiteY436" fmla="*/ 6461717 h 8956193"/>
              <a:gd name="connsiteX437" fmla="*/ 1550631 w 9266267"/>
              <a:gd name="connsiteY437" fmla="*/ 6486233 h 8956193"/>
              <a:gd name="connsiteX438" fmla="*/ 1759016 w 9266267"/>
              <a:gd name="connsiteY438" fmla="*/ 6473975 h 8956193"/>
              <a:gd name="connsiteX439" fmla="*/ 1955143 w 9266267"/>
              <a:gd name="connsiteY439" fmla="*/ 6449459 h 8956193"/>
              <a:gd name="connsiteX440" fmla="*/ 2151270 w 9266267"/>
              <a:gd name="connsiteY440" fmla="*/ 6412685 h 8956193"/>
              <a:gd name="connsiteX441" fmla="*/ 2359655 w 9266267"/>
              <a:gd name="connsiteY441" fmla="*/ 6363654 h 8956193"/>
              <a:gd name="connsiteX442" fmla="*/ 2077722 w 9266267"/>
              <a:gd name="connsiteY442" fmla="*/ 6437201 h 8956193"/>
              <a:gd name="connsiteX443" fmla="*/ 1808048 w 9266267"/>
              <a:gd name="connsiteY443" fmla="*/ 6498491 h 8956193"/>
              <a:gd name="connsiteX444" fmla="*/ 2163528 w 9266267"/>
              <a:gd name="connsiteY444" fmla="*/ 6424943 h 8956193"/>
              <a:gd name="connsiteX445" fmla="*/ 2531267 w 9266267"/>
              <a:gd name="connsiteY445" fmla="*/ 6326880 h 8956193"/>
              <a:gd name="connsiteX446" fmla="*/ 2899005 w 9266267"/>
              <a:gd name="connsiteY446" fmla="*/ 6216558 h 8956193"/>
              <a:gd name="connsiteX447" fmla="*/ 3266743 w 9266267"/>
              <a:gd name="connsiteY447" fmla="*/ 6081721 h 8956193"/>
              <a:gd name="connsiteX448" fmla="*/ 3340291 w 9266267"/>
              <a:gd name="connsiteY448" fmla="*/ 6069463 h 8956193"/>
              <a:gd name="connsiteX449" fmla="*/ 3413839 w 9266267"/>
              <a:gd name="connsiteY449" fmla="*/ 6069463 h 8956193"/>
              <a:gd name="connsiteX450" fmla="*/ 3543114 w 9266267"/>
              <a:gd name="connsiteY450" fmla="*/ 6059518 h 8956193"/>
              <a:gd name="connsiteX451" fmla="*/ 3466331 w 9266267"/>
              <a:gd name="connsiteY451" fmla="*/ 6026611 h 8956193"/>
              <a:gd name="connsiteX452" fmla="*/ 3389323 w 9266267"/>
              <a:gd name="connsiteY452" fmla="*/ 6044947 h 8956193"/>
              <a:gd name="connsiteX453" fmla="*/ 2862231 w 9266267"/>
              <a:gd name="connsiteY453" fmla="*/ 6155268 h 8956193"/>
              <a:gd name="connsiteX454" fmla="*/ 2359655 w 9266267"/>
              <a:gd name="connsiteY454" fmla="*/ 6253332 h 8956193"/>
              <a:gd name="connsiteX455" fmla="*/ 1857079 w 9266267"/>
              <a:gd name="connsiteY455" fmla="*/ 6351396 h 8956193"/>
              <a:gd name="connsiteX456" fmla="*/ 1636436 w 9266267"/>
              <a:gd name="connsiteY456" fmla="*/ 6388169 h 8956193"/>
              <a:gd name="connsiteX457" fmla="*/ 1415793 w 9266267"/>
              <a:gd name="connsiteY457" fmla="*/ 6437201 h 8956193"/>
              <a:gd name="connsiteX458" fmla="*/ 999023 w 9266267"/>
              <a:gd name="connsiteY458" fmla="*/ 6498491 h 8956193"/>
              <a:gd name="connsiteX459" fmla="*/ 1121602 w 9266267"/>
              <a:gd name="connsiteY459" fmla="*/ 6461717 h 8956193"/>
              <a:gd name="connsiteX460" fmla="*/ 1256440 w 9266267"/>
              <a:gd name="connsiteY460" fmla="*/ 6449459 h 8956193"/>
              <a:gd name="connsiteX461" fmla="*/ 937733 w 9266267"/>
              <a:gd name="connsiteY461" fmla="*/ 6461717 h 8956193"/>
              <a:gd name="connsiteX462" fmla="*/ 625156 w 9266267"/>
              <a:gd name="connsiteY462" fmla="*/ 6486233 h 8956193"/>
              <a:gd name="connsiteX463" fmla="*/ 0 w 9266267"/>
              <a:gd name="connsiteY463" fmla="*/ 6523007 h 8956193"/>
              <a:gd name="connsiteX464" fmla="*/ 441286 w 9266267"/>
              <a:gd name="connsiteY464" fmla="*/ 6412685 h 8956193"/>
              <a:gd name="connsiteX465" fmla="*/ 876443 w 9266267"/>
              <a:gd name="connsiteY465" fmla="*/ 6314622 h 8956193"/>
              <a:gd name="connsiteX466" fmla="*/ 1783532 w 9266267"/>
              <a:gd name="connsiteY466" fmla="*/ 6143010 h 8956193"/>
              <a:gd name="connsiteX467" fmla="*/ 2249333 w 9266267"/>
              <a:gd name="connsiteY467" fmla="*/ 6044947 h 8956193"/>
              <a:gd name="connsiteX468" fmla="*/ 2702878 w 9266267"/>
              <a:gd name="connsiteY468" fmla="*/ 5934625 h 8956193"/>
              <a:gd name="connsiteX469" fmla="*/ 2923521 w 9266267"/>
              <a:gd name="connsiteY469" fmla="*/ 5861078 h 8956193"/>
              <a:gd name="connsiteX470" fmla="*/ 3144164 w 9266267"/>
              <a:gd name="connsiteY470" fmla="*/ 5787530 h 8956193"/>
              <a:gd name="connsiteX471" fmla="*/ 3364807 w 9266267"/>
              <a:gd name="connsiteY471" fmla="*/ 5701724 h 8956193"/>
              <a:gd name="connsiteX472" fmla="*/ 3573193 w 9266267"/>
              <a:gd name="connsiteY472" fmla="*/ 5615919 h 8956193"/>
              <a:gd name="connsiteX473" fmla="*/ 3438355 w 9266267"/>
              <a:gd name="connsiteY473" fmla="*/ 5640435 h 8956193"/>
              <a:gd name="connsiteX474" fmla="*/ 3303517 w 9266267"/>
              <a:gd name="connsiteY474" fmla="*/ 5677208 h 8956193"/>
              <a:gd name="connsiteX475" fmla="*/ 3033842 w 9266267"/>
              <a:gd name="connsiteY475" fmla="*/ 5775272 h 8956193"/>
              <a:gd name="connsiteX476" fmla="*/ 2899005 w 9266267"/>
              <a:gd name="connsiteY476" fmla="*/ 5812046 h 8956193"/>
              <a:gd name="connsiteX477" fmla="*/ 2764168 w 9266267"/>
              <a:gd name="connsiteY477" fmla="*/ 5848820 h 8956193"/>
              <a:gd name="connsiteX478" fmla="*/ 2641588 w 9266267"/>
              <a:gd name="connsiteY478" fmla="*/ 5873336 h 8956193"/>
              <a:gd name="connsiteX479" fmla="*/ 2519009 w 9266267"/>
              <a:gd name="connsiteY479" fmla="*/ 5861078 h 8956193"/>
              <a:gd name="connsiteX480" fmla="*/ 2911263 w 9266267"/>
              <a:gd name="connsiteY480" fmla="*/ 5750756 h 8956193"/>
              <a:gd name="connsiteX481" fmla="*/ 3315775 w 9266267"/>
              <a:gd name="connsiteY481" fmla="*/ 5640435 h 8956193"/>
              <a:gd name="connsiteX482" fmla="*/ 3708030 w 9266267"/>
              <a:gd name="connsiteY482" fmla="*/ 5493339 h 8956193"/>
              <a:gd name="connsiteX483" fmla="*/ 4112541 w 9266267"/>
              <a:gd name="connsiteY483" fmla="*/ 5333985 h 8956193"/>
              <a:gd name="connsiteX484" fmla="*/ 4002221 w 9266267"/>
              <a:gd name="connsiteY484" fmla="*/ 5419791 h 8956193"/>
              <a:gd name="connsiteX485" fmla="*/ 4137057 w 9266267"/>
              <a:gd name="connsiteY485" fmla="*/ 5383017 h 8956193"/>
              <a:gd name="connsiteX486" fmla="*/ 4271895 w 9266267"/>
              <a:gd name="connsiteY486" fmla="*/ 5321727 h 8956193"/>
              <a:gd name="connsiteX487" fmla="*/ 4394475 w 9266267"/>
              <a:gd name="connsiteY487" fmla="*/ 5260438 h 8956193"/>
              <a:gd name="connsiteX488" fmla="*/ 4517054 w 9266267"/>
              <a:gd name="connsiteY488" fmla="*/ 5186890 h 8956193"/>
              <a:gd name="connsiteX489" fmla="*/ 4762213 w 9266267"/>
              <a:gd name="connsiteY489" fmla="*/ 5027536 h 8956193"/>
              <a:gd name="connsiteX490" fmla="*/ 4995114 w 9266267"/>
              <a:gd name="connsiteY490" fmla="*/ 4855925 h 8956193"/>
              <a:gd name="connsiteX491" fmla="*/ 4774471 w 9266267"/>
              <a:gd name="connsiteY491" fmla="*/ 5003020 h 8956193"/>
              <a:gd name="connsiteX492" fmla="*/ 4553828 w 9266267"/>
              <a:gd name="connsiteY492" fmla="*/ 5125600 h 8956193"/>
              <a:gd name="connsiteX493" fmla="*/ 4333185 w 9266267"/>
              <a:gd name="connsiteY493" fmla="*/ 5235922 h 8956193"/>
              <a:gd name="connsiteX494" fmla="*/ 4112541 w 9266267"/>
              <a:gd name="connsiteY494" fmla="*/ 5333985 h 8956193"/>
              <a:gd name="connsiteX495" fmla="*/ 4308669 w 9266267"/>
              <a:gd name="connsiteY495" fmla="*/ 5211406 h 8956193"/>
              <a:gd name="connsiteX496" fmla="*/ 4541570 w 9266267"/>
              <a:gd name="connsiteY496" fmla="*/ 5088826 h 8956193"/>
              <a:gd name="connsiteX497" fmla="*/ 4455765 w 9266267"/>
              <a:gd name="connsiteY497" fmla="*/ 5113342 h 8956193"/>
              <a:gd name="connsiteX498" fmla="*/ 4357701 w 9266267"/>
              <a:gd name="connsiteY498" fmla="*/ 5137858 h 8956193"/>
              <a:gd name="connsiteX499" fmla="*/ 4149315 w 9266267"/>
              <a:gd name="connsiteY499" fmla="*/ 5211406 h 8956193"/>
              <a:gd name="connsiteX500" fmla="*/ 3904157 w 9266267"/>
              <a:gd name="connsiteY500" fmla="*/ 5321727 h 8956193"/>
              <a:gd name="connsiteX501" fmla="*/ 3634482 w 9266267"/>
              <a:gd name="connsiteY501" fmla="*/ 5432049 h 8956193"/>
              <a:gd name="connsiteX502" fmla="*/ 3830609 w 9266267"/>
              <a:gd name="connsiteY502" fmla="*/ 5333985 h 8956193"/>
              <a:gd name="connsiteX503" fmla="*/ 4014478 w 9266267"/>
              <a:gd name="connsiteY503" fmla="*/ 5235922 h 8956193"/>
              <a:gd name="connsiteX504" fmla="*/ 4186089 w 9266267"/>
              <a:gd name="connsiteY504" fmla="*/ 5113342 h 8956193"/>
              <a:gd name="connsiteX505" fmla="*/ 4345443 w 9266267"/>
              <a:gd name="connsiteY505" fmla="*/ 4990762 h 8956193"/>
              <a:gd name="connsiteX506" fmla="*/ 3806093 w 9266267"/>
              <a:gd name="connsiteY506" fmla="*/ 5223664 h 8956193"/>
              <a:gd name="connsiteX507" fmla="*/ 3536419 w 9266267"/>
              <a:gd name="connsiteY507" fmla="*/ 5321727 h 8956193"/>
              <a:gd name="connsiteX508" fmla="*/ 3254485 w 9266267"/>
              <a:gd name="connsiteY508" fmla="*/ 5407533 h 8956193"/>
              <a:gd name="connsiteX509" fmla="*/ 3548677 w 9266267"/>
              <a:gd name="connsiteY509" fmla="*/ 5284954 h 8956193"/>
              <a:gd name="connsiteX510" fmla="*/ 3830609 w 9266267"/>
              <a:gd name="connsiteY510" fmla="*/ 5150116 h 8956193"/>
              <a:gd name="connsiteX511" fmla="*/ 4075768 w 9266267"/>
              <a:gd name="connsiteY511" fmla="*/ 5052052 h 8956193"/>
              <a:gd name="connsiteX512" fmla="*/ 4320927 w 9266267"/>
              <a:gd name="connsiteY512" fmla="*/ 4929472 h 8956193"/>
              <a:gd name="connsiteX513" fmla="*/ 4553828 w 9266267"/>
              <a:gd name="connsiteY513" fmla="*/ 4794635 h 8956193"/>
              <a:gd name="connsiteX514" fmla="*/ 4786729 w 9266267"/>
              <a:gd name="connsiteY514" fmla="*/ 4647539 h 8956193"/>
              <a:gd name="connsiteX515" fmla="*/ 4749955 w 9266267"/>
              <a:gd name="connsiteY515" fmla="*/ 4684313 h 8956193"/>
              <a:gd name="connsiteX516" fmla="*/ 4811245 w 9266267"/>
              <a:gd name="connsiteY516" fmla="*/ 4623024 h 8956193"/>
              <a:gd name="connsiteX517" fmla="*/ 4982856 w 9266267"/>
              <a:gd name="connsiteY517" fmla="*/ 4488186 h 8956193"/>
              <a:gd name="connsiteX518" fmla="*/ 5142210 w 9266267"/>
              <a:gd name="connsiteY518" fmla="*/ 4328833 h 8956193"/>
              <a:gd name="connsiteX519" fmla="*/ 5215757 w 9266267"/>
              <a:gd name="connsiteY519" fmla="*/ 4255285 h 8956193"/>
              <a:gd name="connsiteX520" fmla="*/ 5264789 w 9266267"/>
              <a:gd name="connsiteY520" fmla="*/ 4169480 h 8956193"/>
              <a:gd name="connsiteX521" fmla="*/ 5301563 w 9266267"/>
              <a:gd name="connsiteY521" fmla="*/ 4071416 h 8956193"/>
              <a:gd name="connsiteX522" fmla="*/ 5338337 w 9266267"/>
              <a:gd name="connsiteY522" fmla="*/ 3973352 h 8956193"/>
              <a:gd name="connsiteX523" fmla="*/ 5375111 w 9266267"/>
              <a:gd name="connsiteY523" fmla="*/ 3912063 h 8956193"/>
              <a:gd name="connsiteX524" fmla="*/ 5375111 w 9266267"/>
              <a:gd name="connsiteY524" fmla="*/ 3948836 h 8956193"/>
              <a:gd name="connsiteX525" fmla="*/ 5375111 w 9266267"/>
              <a:gd name="connsiteY525" fmla="*/ 3961094 h 8956193"/>
              <a:gd name="connsiteX526" fmla="*/ 5387369 w 9266267"/>
              <a:gd name="connsiteY526" fmla="*/ 3961094 h 8956193"/>
              <a:gd name="connsiteX527" fmla="*/ 5424143 w 9266267"/>
              <a:gd name="connsiteY527" fmla="*/ 3924321 h 8956193"/>
              <a:gd name="connsiteX528" fmla="*/ 5497691 w 9266267"/>
              <a:gd name="connsiteY528" fmla="*/ 3801742 h 8956193"/>
              <a:gd name="connsiteX529" fmla="*/ 5546723 w 9266267"/>
              <a:gd name="connsiteY529" fmla="*/ 3679163 h 8956193"/>
              <a:gd name="connsiteX530" fmla="*/ 5583495 w 9266267"/>
              <a:gd name="connsiteY530" fmla="*/ 3532067 h 8956193"/>
              <a:gd name="connsiteX531" fmla="*/ 5608011 w 9266267"/>
              <a:gd name="connsiteY531" fmla="*/ 3397229 h 8956193"/>
              <a:gd name="connsiteX532" fmla="*/ 5608011 w 9266267"/>
              <a:gd name="connsiteY532" fmla="*/ 3237875 h 8956193"/>
              <a:gd name="connsiteX533" fmla="*/ 5608011 w 9266267"/>
              <a:gd name="connsiteY533" fmla="*/ 3090780 h 8956193"/>
              <a:gd name="connsiteX534" fmla="*/ 5583495 w 9266267"/>
              <a:gd name="connsiteY534" fmla="*/ 2772074 h 8956193"/>
              <a:gd name="connsiteX535" fmla="*/ 5558979 w 9266267"/>
              <a:gd name="connsiteY535" fmla="*/ 2674010 h 8956193"/>
              <a:gd name="connsiteX536" fmla="*/ 5509949 w 9266267"/>
              <a:gd name="connsiteY536" fmla="*/ 2575946 h 8956193"/>
              <a:gd name="connsiteX537" fmla="*/ 5448659 w 9266267"/>
              <a:gd name="connsiteY537" fmla="*/ 2477883 h 8956193"/>
              <a:gd name="connsiteX538" fmla="*/ 5362853 w 9266267"/>
              <a:gd name="connsiteY538" fmla="*/ 2392077 h 8956193"/>
              <a:gd name="connsiteX539" fmla="*/ 5338337 w 9266267"/>
              <a:gd name="connsiteY539" fmla="*/ 2343045 h 8956193"/>
              <a:gd name="connsiteX540" fmla="*/ 5301563 w 9266267"/>
              <a:gd name="connsiteY540" fmla="*/ 2330787 h 8956193"/>
              <a:gd name="connsiteX541" fmla="*/ 5289305 w 9266267"/>
              <a:gd name="connsiteY541" fmla="*/ 2318529 h 8956193"/>
              <a:gd name="connsiteX542" fmla="*/ 5252531 w 9266267"/>
              <a:gd name="connsiteY542" fmla="*/ 2318529 h 8956193"/>
              <a:gd name="connsiteX543" fmla="*/ 5228015 w 9266267"/>
              <a:gd name="connsiteY543" fmla="*/ 2306271 h 8956193"/>
              <a:gd name="connsiteX544" fmla="*/ 5203499 w 9266267"/>
              <a:gd name="connsiteY544" fmla="*/ 2281756 h 8956193"/>
              <a:gd name="connsiteX545" fmla="*/ 5277047 w 9266267"/>
              <a:gd name="connsiteY545" fmla="*/ 2367561 h 8956193"/>
              <a:gd name="connsiteX546" fmla="*/ 5338337 w 9266267"/>
              <a:gd name="connsiteY546" fmla="*/ 2453367 h 8956193"/>
              <a:gd name="connsiteX547" fmla="*/ 5399627 w 9266267"/>
              <a:gd name="connsiteY547" fmla="*/ 2551430 h 8956193"/>
              <a:gd name="connsiteX548" fmla="*/ 5448659 w 9266267"/>
              <a:gd name="connsiteY548" fmla="*/ 2649494 h 8956193"/>
              <a:gd name="connsiteX549" fmla="*/ 5485433 w 9266267"/>
              <a:gd name="connsiteY549" fmla="*/ 2747558 h 8956193"/>
              <a:gd name="connsiteX550" fmla="*/ 5522207 w 9266267"/>
              <a:gd name="connsiteY550" fmla="*/ 2845621 h 8956193"/>
              <a:gd name="connsiteX551" fmla="*/ 5534465 w 9266267"/>
              <a:gd name="connsiteY551" fmla="*/ 2955943 h 8956193"/>
              <a:gd name="connsiteX552" fmla="*/ 5546723 w 9266267"/>
              <a:gd name="connsiteY552" fmla="*/ 3066264 h 8956193"/>
              <a:gd name="connsiteX553" fmla="*/ 5558979 w 9266267"/>
              <a:gd name="connsiteY553" fmla="*/ 3176586 h 8956193"/>
              <a:gd name="connsiteX554" fmla="*/ 5546723 w 9266267"/>
              <a:gd name="connsiteY554" fmla="*/ 3286907 h 8956193"/>
              <a:gd name="connsiteX555" fmla="*/ 5546723 w 9266267"/>
              <a:gd name="connsiteY555" fmla="*/ 3397229 h 8956193"/>
              <a:gd name="connsiteX556" fmla="*/ 5522207 w 9266267"/>
              <a:gd name="connsiteY556" fmla="*/ 3507551 h 8956193"/>
              <a:gd name="connsiteX557" fmla="*/ 5497691 w 9266267"/>
              <a:gd name="connsiteY557" fmla="*/ 3617873 h 8956193"/>
              <a:gd name="connsiteX558" fmla="*/ 5460917 w 9266267"/>
              <a:gd name="connsiteY558" fmla="*/ 3715936 h 8956193"/>
              <a:gd name="connsiteX559" fmla="*/ 5424143 w 9266267"/>
              <a:gd name="connsiteY559" fmla="*/ 3826258 h 8956193"/>
              <a:gd name="connsiteX560" fmla="*/ 5375111 w 9266267"/>
              <a:gd name="connsiteY560" fmla="*/ 3912063 h 8956193"/>
              <a:gd name="connsiteX561" fmla="*/ 5375111 w 9266267"/>
              <a:gd name="connsiteY561" fmla="*/ 3801742 h 8956193"/>
              <a:gd name="connsiteX562" fmla="*/ 5362853 w 9266267"/>
              <a:gd name="connsiteY562" fmla="*/ 3887547 h 8956193"/>
              <a:gd name="connsiteX563" fmla="*/ 5338337 w 9266267"/>
              <a:gd name="connsiteY563" fmla="*/ 3973352 h 8956193"/>
              <a:gd name="connsiteX564" fmla="*/ 5264789 w 9266267"/>
              <a:gd name="connsiteY564" fmla="*/ 4095932 h 8956193"/>
              <a:gd name="connsiteX565" fmla="*/ 5178983 w 9266267"/>
              <a:gd name="connsiteY565" fmla="*/ 4206253 h 8956193"/>
              <a:gd name="connsiteX566" fmla="*/ 5007372 w 9266267"/>
              <a:gd name="connsiteY566" fmla="*/ 4414638 h 8956193"/>
              <a:gd name="connsiteX567" fmla="*/ 5044146 w 9266267"/>
              <a:gd name="connsiteY567" fmla="*/ 4353349 h 8956193"/>
              <a:gd name="connsiteX568" fmla="*/ 5068662 w 9266267"/>
              <a:gd name="connsiteY568" fmla="*/ 4279801 h 8956193"/>
              <a:gd name="connsiteX569" fmla="*/ 4933824 w 9266267"/>
              <a:gd name="connsiteY569" fmla="*/ 4414638 h 8956193"/>
              <a:gd name="connsiteX570" fmla="*/ 4786729 w 9266267"/>
              <a:gd name="connsiteY570" fmla="*/ 4537218 h 8956193"/>
              <a:gd name="connsiteX571" fmla="*/ 4639634 w 9266267"/>
              <a:gd name="connsiteY571" fmla="*/ 4659797 h 8956193"/>
              <a:gd name="connsiteX572" fmla="*/ 4480281 w 9266267"/>
              <a:gd name="connsiteY572" fmla="*/ 4770119 h 8956193"/>
              <a:gd name="connsiteX573" fmla="*/ 4161573 w 9266267"/>
              <a:gd name="connsiteY573" fmla="*/ 4966246 h 8956193"/>
              <a:gd name="connsiteX574" fmla="*/ 3830609 w 9266267"/>
              <a:gd name="connsiteY574" fmla="*/ 5150116 h 8956193"/>
              <a:gd name="connsiteX575" fmla="*/ 3499645 w 9266267"/>
              <a:gd name="connsiteY575" fmla="*/ 5272696 h 8956193"/>
              <a:gd name="connsiteX576" fmla="*/ 3156422 w 9266267"/>
              <a:gd name="connsiteY576" fmla="*/ 5370759 h 8956193"/>
              <a:gd name="connsiteX577" fmla="*/ 2825457 w 9266267"/>
              <a:gd name="connsiteY577" fmla="*/ 5456565 h 8956193"/>
              <a:gd name="connsiteX578" fmla="*/ 2482235 w 9266267"/>
              <a:gd name="connsiteY578" fmla="*/ 5530113 h 8956193"/>
              <a:gd name="connsiteX579" fmla="*/ 2678362 w 9266267"/>
              <a:gd name="connsiteY579" fmla="*/ 5517855 h 8956193"/>
              <a:gd name="connsiteX580" fmla="*/ 2874489 w 9266267"/>
              <a:gd name="connsiteY580" fmla="*/ 5493339 h 8956193"/>
              <a:gd name="connsiteX581" fmla="*/ 3058358 w 9266267"/>
              <a:gd name="connsiteY581" fmla="*/ 5456565 h 8956193"/>
              <a:gd name="connsiteX582" fmla="*/ 3254485 w 9266267"/>
              <a:gd name="connsiteY582" fmla="*/ 5407533 h 8956193"/>
              <a:gd name="connsiteX583" fmla="*/ 3009326 w 9266267"/>
              <a:gd name="connsiteY583" fmla="*/ 5493339 h 8956193"/>
              <a:gd name="connsiteX584" fmla="*/ 2751910 w 9266267"/>
              <a:gd name="connsiteY584" fmla="*/ 5579145 h 8956193"/>
              <a:gd name="connsiteX585" fmla="*/ 2494493 w 9266267"/>
              <a:gd name="connsiteY585" fmla="*/ 5652692 h 8956193"/>
              <a:gd name="connsiteX586" fmla="*/ 2237076 w 9266267"/>
              <a:gd name="connsiteY586" fmla="*/ 5726240 h 8956193"/>
              <a:gd name="connsiteX587" fmla="*/ 1979659 w 9266267"/>
              <a:gd name="connsiteY587" fmla="*/ 5787530 h 8956193"/>
              <a:gd name="connsiteX588" fmla="*/ 1722242 w 9266267"/>
              <a:gd name="connsiteY588" fmla="*/ 5824304 h 8956193"/>
              <a:gd name="connsiteX589" fmla="*/ 1452567 w 9266267"/>
              <a:gd name="connsiteY589" fmla="*/ 5861078 h 8956193"/>
              <a:gd name="connsiteX590" fmla="*/ 1195150 w 9266267"/>
              <a:gd name="connsiteY590" fmla="*/ 5897852 h 8956193"/>
              <a:gd name="connsiteX591" fmla="*/ 1379020 w 9266267"/>
              <a:gd name="connsiteY591" fmla="*/ 5750756 h 8956193"/>
              <a:gd name="connsiteX592" fmla="*/ 1464825 w 9266267"/>
              <a:gd name="connsiteY592" fmla="*/ 5689466 h 8956193"/>
              <a:gd name="connsiteX593" fmla="*/ 1471829 w 9266267"/>
              <a:gd name="connsiteY593" fmla="*/ 5682462 h 8956193"/>
              <a:gd name="connsiteX594" fmla="*/ 1366762 w 9266267"/>
              <a:gd name="connsiteY594" fmla="*/ 5713982 h 8956193"/>
              <a:gd name="connsiteX595" fmla="*/ 1312834 w 9266267"/>
              <a:gd name="connsiteY595" fmla="*/ 5728689 h 8956193"/>
              <a:gd name="connsiteX596" fmla="*/ 1472035 w 9266267"/>
              <a:gd name="connsiteY596" fmla="*/ 5682256 h 8956193"/>
              <a:gd name="connsiteX597" fmla="*/ 1501599 w 9266267"/>
              <a:gd name="connsiteY597" fmla="*/ 5652692 h 8956193"/>
              <a:gd name="connsiteX598" fmla="*/ 1526115 w 9266267"/>
              <a:gd name="connsiteY598" fmla="*/ 5603661 h 8956193"/>
              <a:gd name="connsiteX599" fmla="*/ 1513857 w 9266267"/>
              <a:gd name="connsiteY599" fmla="*/ 5591403 h 8956193"/>
              <a:gd name="connsiteX600" fmla="*/ 1489341 w 9266267"/>
              <a:gd name="connsiteY600" fmla="*/ 5591403 h 8956193"/>
              <a:gd name="connsiteX601" fmla="*/ 1415793 w 9266267"/>
              <a:gd name="connsiteY601" fmla="*/ 5579145 h 8956193"/>
              <a:gd name="connsiteX602" fmla="*/ 1379020 w 9266267"/>
              <a:gd name="connsiteY602" fmla="*/ 5566887 h 8956193"/>
              <a:gd name="connsiteX603" fmla="*/ 1379020 w 9266267"/>
              <a:gd name="connsiteY603" fmla="*/ 5554629 h 8956193"/>
              <a:gd name="connsiteX604" fmla="*/ 1415793 w 9266267"/>
              <a:gd name="connsiteY604" fmla="*/ 5542371 h 8956193"/>
              <a:gd name="connsiteX605" fmla="*/ 1575147 w 9266267"/>
              <a:gd name="connsiteY605" fmla="*/ 5468823 h 8956193"/>
              <a:gd name="connsiteX606" fmla="*/ 1722242 w 9266267"/>
              <a:gd name="connsiteY606" fmla="*/ 5419791 h 8956193"/>
              <a:gd name="connsiteX607" fmla="*/ 1991917 w 9266267"/>
              <a:gd name="connsiteY607" fmla="*/ 5333985 h 8956193"/>
              <a:gd name="connsiteX608" fmla="*/ 2102238 w 9266267"/>
              <a:gd name="connsiteY608" fmla="*/ 5284954 h 8956193"/>
              <a:gd name="connsiteX609" fmla="*/ 2188044 w 9266267"/>
              <a:gd name="connsiteY609" fmla="*/ 5223664 h 8956193"/>
              <a:gd name="connsiteX610" fmla="*/ 2237076 w 9266267"/>
              <a:gd name="connsiteY610" fmla="*/ 5199148 h 8956193"/>
              <a:gd name="connsiteX611" fmla="*/ 2261591 w 9266267"/>
              <a:gd name="connsiteY611" fmla="*/ 5150116 h 8956193"/>
              <a:gd name="connsiteX612" fmla="*/ 2298365 w 9266267"/>
              <a:gd name="connsiteY612" fmla="*/ 5113342 h 8956193"/>
              <a:gd name="connsiteX613" fmla="*/ 2322881 w 9266267"/>
              <a:gd name="connsiteY613" fmla="*/ 5052052 h 8956193"/>
              <a:gd name="connsiteX614" fmla="*/ 2322881 w 9266267"/>
              <a:gd name="connsiteY614" fmla="*/ 5039794 h 8956193"/>
              <a:gd name="connsiteX615" fmla="*/ 2298365 w 9266267"/>
              <a:gd name="connsiteY615" fmla="*/ 5027536 h 8956193"/>
              <a:gd name="connsiteX616" fmla="*/ 2249333 w 9266267"/>
              <a:gd name="connsiteY616" fmla="*/ 4990762 h 8956193"/>
              <a:gd name="connsiteX617" fmla="*/ 2077722 w 9266267"/>
              <a:gd name="connsiteY617" fmla="*/ 4917214 h 8956193"/>
              <a:gd name="connsiteX618" fmla="*/ 1991917 w 9266267"/>
              <a:gd name="connsiteY618" fmla="*/ 4880440 h 8956193"/>
              <a:gd name="connsiteX619" fmla="*/ 1930627 w 9266267"/>
              <a:gd name="connsiteY619" fmla="*/ 4843667 h 8956193"/>
              <a:gd name="connsiteX620" fmla="*/ 1918369 w 9266267"/>
              <a:gd name="connsiteY620" fmla="*/ 4819151 h 8956193"/>
              <a:gd name="connsiteX621" fmla="*/ 1906111 w 9266267"/>
              <a:gd name="connsiteY621" fmla="*/ 4806893 h 8956193"/>
              <a:gd name="connsiteX622" fmla="*/ 1906111 w 9266267"/>
              <a:gd name="connsiteY622" fmla="*/ 4782377 h 8956193"/>
              <a:gd name="connsiteX623" fmla="*/ 1930627 w 9266267"/>
              <a:gd name="connsiteY623" fmla="*/ 4770119 h 8956193"/>
              <a:gd name="connsiteX624" fmla="*/ 2531267 w 9266267"/>
              <a:gd name="connsiteY624" fmla="*/ 4549476 h 8956193"/>
              <a:gd name="connsiteX625" fmla="*/ 2751910 w 9266267"/>
              <a:gd name="connsiteY625" fmla="*/ 4488186 h 8956193"/>
              <a:gd name="connsiteX626" fmla="*/ 2764168 w 9266267"/>
              <a:gd name="connsiteY626" fmla="*/ 4475928 h 8956193"/>
              <a:gd name="connsiteX627" fmla="*/ 2776426 w 9266267"/>
              <a:gd name="connsiteY627" fmla="*/ 4451412 h 8956193"/>
              <a:gd name="connsiteX628" fmla="*/ 3131906 w 9266267"/>
              <a:gd name="connsiteY628" fmla="*/ 4316575 h 8956193"/>
              <a:gd name="connsiteX629" fmla="*/ 3389323 w 9266267"/>
              <a:gd name="connsiteY629" fmla="*/ 4218511 h 8956193"/>
              <a:gd name="connsiteX630" fmla="*/ 3536419 w 9266267"/>
              <a:gd name="connsiteY630" fmla="*/ 4169480 h 8956193"/>
              <a:gd name="connsiteX631" fmla="*/ 3573193 w 9266267"/>
              <a:gd name="connsiteY631" fmla="*/ 4169480 h 8956193"/>
              <a:gd name="connsiteX632" fmla="*/ 3622224 w 9266267"/>
              <a:gd name="connsiteY632" fmla="*/ 4193995 h 8956193"/>
              <a:gd name="connsiteX633" fmla="*/ 3683514 w 9266267"/>
              <a:gd name="connsiteY633" fmla="*/ 4108190 h 8956193"/>
              <a:gd name="connsiteX634" fmla="*/ 3855125 w 9266267"/>
              <a:gd name="connsiteY634" fmla="*/ 4034642 h 8956193"/>
              <a:gd name="connsiteX635" fmla="*/ 4014478 w 9266267"/>
              <a:gd name="connsiteY635" fmla="*/ 3936579 h 8956193"/>
              <a:gd name="connsiteX636" fmla="*/ 4124799 w 9266267"/>
              <a:gd name="connsiteY636" fmla="*/ 3912063 h 8956193"/>
              <a:gd name="connsiteX637" fmla="*/ 4222864 w 9266267"/>
              <a:gd name="connsiteY637" fmla="*/ 3875290 h 8956193"/>
              <a:gd name="connsiteX638" fmla="*/ 4198348 w 9266267"/>
              <a:gd name="connsiteY638" fmla="*/ 3863031 h 8956193"/>
              <a:gd name="connsiteX639" fmla="*/ 4186089 w 9266267"/>
              <a:gd name="connsiteY639" fmla="*/ 3838516 h 8956193"/>
              <a:gd name="connsiteX640" fmla="*/ 4345443 w 9266267"/>
              <a:gd name="connsiteY640" fmla="*/ 3715936 h 8956193"/>
              <a:gd name="connsiteX641" fmla="*/ 4468023 w 9266267"/>
              <a:gd name="connsiteY641" fmla="*/ 3581099 h 8956193"/>
              <a:gd name="connsiteX642" fmla="*/ 4541570 w 9266267"/>
              <a:gd name="connsiteY642" fmla="*/ 3556582 h 8956193"/>
              <a:gd name="connsiteX643" fmla="*/ 4615118 w 9266267"/>
              <a:gd name="connsiteY643" fmla="*/ 3532067 h 8956193"/>
              <a:gd name="connsiteX644" fmla="*/ 4602860 w 9266267"/>
              <a:gd name="connsiteY644" fmla="*/ 3470777 h 8956193"/>
              <a:gd name="connsiteX645" fmla="*/ 4600409 w 9266267"/>
              <a:gd name="connsiteY645" fmla="*/ 3460971 h 8956193"/>
              <a:gd name="connsiteX646" fmla="*/ 4590605 w 9266267"/>
              <a:gd name="connsiteY646" fmla="*/ 3470775 h 8956193"/>
              <a:gd name="connsiteX647" fmla="*/ 4590605 w 9266267"/>
              <a:gd name="connsiteY647" fmla="*/ 3495291 h 8956193"/>
              <a:gd name="connsiteX648" fmla="*/ 4529315 w 9266267"/>
              <a:gd name="connsiteY648" fmla="*/ 3470775 h 8956193"/>
              <a:gd name="connsiteX649" fmla="*/ 4594104 w 9266267"/>
              <a:gd name="connsiteY649" fmla="*/ 3405986 h 8956193"/>
              <a:gd name="connsiteX650" fmla="*/ 4615118 w 9266267"/>
              <a:gd name="connsiteY650" fmla="*/ 3311423 h 8956193"/>
              <a:gd name="connsiteX651" fmla="*/ 4627376 w 9266267"/>
              <a:gd name="connsiteY651" fmla="*/ 3213360 h 8956193"/>
              <a:gd name="connsiteX652" fmla="*/ 4627376 w 9266267"/>
              <a:gd name="connsiteY652" fmla="*/ 3152070 h 8956193"/>
              <a:gd name="connsiteX653" fmla="*/ 4615118 w 9266267"/>
              <a:gd name="connsiteY653" fmla="*/ 3090780 h 8956193"/>
              <a:gd name="connsiteX654" fmla="*/ 4602860 w 9266267"/>
              <a:gd name="connsiteY654" fmla="*/ 3054006 h 8956193"/>
              <a:gd name="connsiteX655" fmla="*/ 4553828 w 9266267"/>
              <a:gd name="connsiteY655" fmla="*/ 2980459 h 8956193"/>
              <a:gd name="connsiteX656" fmla="*/ 4566086 w 9266267"/>
              <a:gd name="connsiteY656" fmla="*/ 2919169 h 8956193"/>
              <a:gd name="connsiteX657" fmla="*/ 4529312 w 9266267"/>
              <a:gd name="connsiteY657" fmla="*/ 2906911 h 8956193"/>
              <a:gd name="connsiteX658" fmla="*/ 4492538 w 9266267"/>
              <a:gd name="connsiteY658" fmla="*/ 2894653 h 8956193"/>
              <a:gd name="connsiteX659" fmla="*/ 4345443 w 9266267"/>
              <a:gd name="connsiteY659" fmla="*/ 2674010 h 8956193"/>
              <a:gd name="connsiteX660" fmla="*/ 4296411 w 9266267"/>
              <a:gd name="connsiteY660" fmla="*/ 2674010 h 8956193"/>
              <a:gd name="connsiteX661" fmla="*/ 4271895 w 9266267"/>
              <a:gd name="connsiteY661" fmla="*/ 2674010 h 8956193"/>
              <a:gd name="connsiteX662" fmla="*/ 4247380 w 9266267"/>
              <a:gd name="connsiteY662" fmla="*/ 2674010 h 8956193"/>
              <a:gd name="connsiteX663" fmla="*/ 4161573 w 9266267"/>
              <a:gd name="connsiteY663" fmla="*/ 2612720 h 8956193"/>
              <a:gd name="connsiteX664" fmla="*/ 4063510 w 9266267"/>
              <a:gd name="connsiteY664" fmla="*/ 2563688 h 8956193"/>
              <a:gd name="connsiteX665" fmla="*/ 3855125 w 9266267"/>
              <a:gd name="connsiteY665" fmla="*/ 2428851 h 8956193"/>
              <a:gd name="connsiteX666" fmla="*/ 3671256 w 9266267"/>
              <a:gd name="connsiteY666" fmla="*/ 2318529 h 8956193"/>
              <a:gd name="connsiteX667" fmla="*/ 3475129 w 9266267"/>
              <a:gd name="connsiteY667" fmla="*/ 2220466 h 8956193"/>
              <a:gd name="connsiteX668" fmla="*/ 3279001 w 9266267"/>
              <a:gd name="connsiteY668" fmla="*/ 2122402 h 8956193"/>
              <a:gd name="connsiteX669" fmla="*/ 3082874 w 9266267"/>
              <a:gd name="connsiteY669" fmla="*/ 2024339 h 8956193"/>
              <a:gd name="connsiteX670" fmla="*/ 3082874 w 9266267"/>
              <a:gd name="connsiteY670" fmla="*/ 1999823 h 8956193"/>
              <a:gd name="connsiteX671" fmla="*/ 3082874 w 9266267"/>
              <a:gd name="connsiteY671" fmla="*/ 1963049 h 8956193"/>
              <a:gd name="connsiteX672" fmla="*/ 3046100 w 9266267"/>
              <a:gd name="connsiteY672" fmla="*/ 1963049 h 8956193"/>
              <a:gd name="connsiteX673" fmla="*/ 3009326 w 9266267"/>
              <a:gd name="connsiteY673" fmla="*/ 1963049 h 8956193"/>
              <a:gd name="connsiteX674" fmla="*/ 2972552 w 9266267"/>
              <a:gd name="connsiteY674" fmla="*/ 1950791 h 8956193"/>
              <a:gd name="connsiteX675" fmla="*/ 2935779 w 9266267"/>
              <a:gd name="connsiteY675" fmla="*/ 1950791 h 8956193"/>
              <a:gd name="connsiteX676" fmla="*/ 2948036 w 9266267"/>
              <a:gd name="connsiteY676" fmla="*/ 1938533 h 8956193"/>
              <a:gd name="connsiteX677" fmla="*/ 2948036 w 9266267"/>
              <a:gd name="connsiteY677" fmla="*/ 1926275 h 8956193"/>
              <a:gd name="connsiteX678" fmla="*/ 2874489 w 9266267"/>
              <a:gd name="connsiteY678" fmla="*/ 1926275 h 8956193"/>
              <a:gd name="connsiteX679" fmla="*/ 2813199 w 9266267"/>
              <a:gd name="connsiteY679" fmla="*/ 1901759 h 8956193"/>
              <a:gd name="connsiteX680" fmla="*/ 2764168 w 9266267"/>
              <a:gd name="connsiteY680" fmla="*/ 1877243 h 8956193"/>
              <a:gd name="connsiteX681" fmla="*/ 2690620 w 9266267"/>
              <a:gd name="connsiteY681" fmla="*/ 1840469 h 8956193"/>
              <a:gd name="connsiteX682" fmla="*/ 2653846 w 9266267"/>
              <a:gd name="connsiteY682" fmla="*/ 1852727 h 8956193"/>
              <a:gd name="connsiteX683" fmla="*/ 2617072 w 9266267"/>
              <a:gd name="connsiteY683" fmla="*/ 1864985 h 8956193"/>
              <a:gd name="connsiteX684" fmla="*/ 2580299 w 9266267"/>
              <a:gd name="connsiteY684" fmla="*/ 1852727 h 8956193"/>
              <a:gd name="connsiteX685" fmla="*/ 2531267 w 9266267"/>
              <a:gd name="connsiteY685" fmla="*/ 1815954 h 8956193"/>
              <a:gd name="connsiteX686" fmla="*/ 2494493 w 9266267"/>
              <a:gd name="connsiteY686" fmla="*/ 1791438 h 8956193"/>
              <a:gd name="connsiteX687" fmla="*/ 2445461 w 9266267"/>
              <a:gd name="connsiteY687" fmla="*/ 1779180 h 8956193"/>
              <a:gd name="connsiteX688" fmla="*/ 2396429 w 9266267"/>
              <a:gd name="connsiteY688" fmla="*/ 1779180 h 8956193"/>
              <a:gd name="connsiteX689" fmla="*/ 2310623 w 9266267"/>
              <a:gd name="connsiteY689" fmla="*/ 1779180 h 8956193"/>
              <a:gd name="connsiteX690" fmla="*/ 2237076 w 9266267"/>
              <a:gd name="connsiteY690" fmla="*/ 1791438 h 8956193"/>
              <a:gd name="connsiteX691" fmla="*/ 2089980 w 9266267"/>
              <a:gd name="connsiteY691" fmla="*/ 1791438 h 8956193"/>
              <a:gd name="connsiteX692" fmla="*/ 2016432 w 9266267"/>
              <a:gd name="connsiteY692" fmla="*/ 1803696 h 8956193"/>
              <a:gd name="connsiteX693" fmla="*/ 1955143 w 9266267"/>
              <a:gd name="connsiteY693" fmla="*/ 1815954 h 8956193"/>
              <a:gd name="connsiteX694" fmla="*/ 1906111 w 9266267"/>
              <a:gd name="connsiteY694" fmla="*/ 1828212 h 8956193"/>
              <a:gd name="connsiteX695" fmla="*/ 1869337 w 9266267"/>
              <a:gd name="connsiteY695" fmla="*/ 1852727 h 8956193"/>
              <a:gd name="connsiteX696" fmla="*/ 1869337 w 9266267"/>
              <a:gd name="connsiteY696" fmla="*/ 1815954 h 8956193"/>
              <a:gd name="connsiteX697" fmla="*/ 1881595 w 9266267"/>
              <a:gd name="connsiteY697" fmla="*/ 1779180 h 8956193"/>
              <a:gd name="connsiteX698" fmla="*/ 1893853 w 9266267"/>
              <a:gd name="connsiteY698" fmla="*/ 1742406 h 8956193"/>
              <a:gd name="connsiteX699" fmla="*/ 1918369 w 9266267"/>
              <a:gd name="connsiteY699" fmla="*/ 1717890 h 8956193"/>
              <a:gd name="connsiteX700" fmla="*/ 1991917 w 9266267"/>
              <a:gd name="connsiteY700" fmla="*/ 1668858 h 8956193"/>
              <a:gd name="connsiteX701" fmla="*/ 2077722 w 9266267"/>
              <a:gd name="connsiteY701" fmla="*/ 1632084 h 8956193"/>
              <a:gd name="connsiteX702" fmla="*/ 2310623 w 9266267"/>
              <a:gd name="connsiteY702" fmla="*/ 1583052 h 8956193"/>
              <a:gd name="connsiteX703" fmla="*/ 2580299 w 9266267"/>
              <a:gd name="connsiteY703" fmla="*/ 1534020 h 8956193"/>
              <a:gd name="connsiteX704" fmla="*/ 2420945 w 9266267"/>
              <a:gd name="connsiteY704" fmla="*/ 1497246 h 8956193"/>
              <a:gd name="connsiteX705" fmla="*/ 2249333 w 9266267"/>
              <a:gd name="connsiteY705" fmla="*/ 1484989 h 8956193"/>
              <a:gd name="connsiteX706" fmla="*/ 2089980 w 9266267"/>
              <a:gd name="connsiteY706" fmla="*/ 1484989 h 8956193"/>
              <a:gd name="connsiteX707" fmla="*/ 1942885 w 9266267"/>
              <a:gd name="connsiteY707" fmla="*/ 1521763 h 8956193"/>
              <a:gd name="connsiteX708" fmla="*/ 1869337 w 9266267"/>
              <a:gd name="connsiteY708" fmla="*/ 1534020 h 8956193"/>
              <a:gd name="connsiteX709" fmla="*/ 1808048 w 9266267"/>
              <a:gd name="connsiteY709" fmla="*/ 1558537 h 8956193"/>
              <a:gd name="connsiteX710" fmla="*/ 1709984 w 9266267"/>
              <a:gd name="connsiteY710" fmla="*/ 1619826 h 8956193"/>
              <a:gd name="connsiteX711" fmla="*/ 1624178 w 9266267"/>
              <a:gd name="connsiteY711" fmla="*/ 1681116 h 8956193"/>
              <a:gd name="connsiteX712" fmla="*/ 1575147 w 9266267"/>
              <a:gd name="connsiteY712" fmla="*/ 1705632 h 8956193"/>
              <a:gd name="connsiteX713" fmla="*/ 1538373 w 9266267"/>
              <a:gd name="connsiteY713" fmla="*/ 1717890 h 8956193"/>
              <a:gd name="connsiteX714" fmla="*/ 1501599 w 9266267"/>
              <a:gd name="connsiteY714" fmla="*/ 1717890 h 8956193"/>
              <a:gd name="connsiteX715" fmla="*/ 1477083 w 9266267"/>
              <a:gd name="connsiteY715" fmla="*/ 1693374 h 8956193"/>
              <a:gd name="connsiteX716" fmla="*/ 1477083 w 9266267"/>
              <a:gd name="connsiteY716" fmla="*/ 1644342 h 8956193"/>
              <a:gd name="connsiteX717" fmla="*/ 1477083 w 9266267"/>
              <a:gd name="connsiteY717" fmla="*/ 1595311 h 8956193"/>
              <a:gd name="connsiteX718" fmla="*/ 1501599 w 9266267"/>
              <a:gd name="connsiteY718" fmla="*/ 1534020 h 8956193"/>
              <a:gd name="connsiteX719" fmla="*/ 1550631 w 9266267"/>
              <a:gd name="connsiteY719" fmla="*/ 1460473 h 8956193"/>
              <a:gd name="connsiteX720" fmla="*/ 1611921 w 9266267"/>
              <a:gd name="connsiteY720" fmla="*/ 1386925 h 8956193"/>
              <a:gd name="connsiteX721" fmla="*/ 1697726 w 9266267"/>
              <a:gd name="connsiteY721" fmla="*/ 1325635 h 8956193"/>
              <a:gd name="connsiteX722" fmla="*/ 1748270 w 9266267"/>
              <a:gd name="connsiteY722" fmla="*/ 1296754 h 8956193"/>
              <a:gd name="connsiteX723" fmla="*/ 1790591 w 9266267"/>
              <a:gd name="connsiteY723" fmla="*/ 1169788 h 8956193"/>
              <a:gd name="connsiteX724" fmla="*/ 1863703 w 9266267"/>
              <a:gd name="connsiteY724" fmla="*/ 1005287 h 8956193"/>
              <a:gd name="connsiteX725" fmla="*/ 1899212 w 9266267"/>
              <a:gd name="connsiteY725" fmla="*/ 941371 h 8956193"/>
              <a:gd name="connsiteX726" fmla="*/ 1869337 w 9266267"/>
              <a:gd name="connsiteY726" fmla="*/ 945638 h 8956193"/>
              <a:gd name="connsiteX727" fmla="*/ 1771274 w 9266267"/>
              <a:gd name="connsiteY727" fmla="*/ 957896 h 8956193"/>
              <a:gd name="connsiteX728" fmla="*/ 1673210 w 9266267"/>
              <a:gd name="connsiteY728" fmla="*/ 982412 h 8956193"/>
              <a:gd name="connsiteX729" fmla="*/ 1562889 w 9266267"/>
              <a:gd name="connsiteY729" fmla="*/ 1019186 h 8956193"/>
              <a:gd name="connsiteX730" fmla="*/ 1452567 w 9266267"/>
              <a:gd name="connsiteY730" fmla="*/ 1080476 h 8956193"/>
              <a:gd name="connsiteX731" fmla="*/ 1342246 w 9266267"/>
              <a:gd name="connsiteY731" fmla="*/ 1154024 h 8956193"/>
              <a:gd name="connsiteX732" fmla="*/ 1244182 w 9266267"/>
              <a:gd name="connsiteY732" fmla="*/ 1252087 h 8956193"/>
              <a:gd name="connsiteX733" fmla="*/ 1158376 w 9266267"/>
              <a:gd name="connsiteY733" fmla="*/ 1350151 h 8956193"/>
              <a:gd name="connsiteX734" fmla="*/ 1084828 w 9266267"/>
              <a:gd name="connsiteY734" fmla="*/ 1472731 h 8956193"/>
              <a:gd name="connsiteX735" fmla="*/ 1023539 w 9266267"/>
              <a:gd name="connsiteY735" fmla="*/ 1583052 h 8956193"/>
              <a:gd name="connsiteX736" fmla="*/ 974507 w 9266267"/>
              <a:gd name="connsiteY736" fmla="*/ 1693374 h 8956193"/>
              <a:gd name="connsiteX737" fmla="*/ 913217 w 9266267"/>
              <a:gd name="connsiteY737" fmla="*/ 1889501 h 8956193"/>
              <a:gd name="connsiteX738" fmla="*/ 937733 w 9266267"/>
              <a:gd name="connsiteY738" fmla="*/ 1779180 h 8956193"/>
              <a:gd name="connsiteX739" fmla="*/ 974507 w 9266267"/>
              <a:gd name="connsiteY739" fmla="*/ 1668858 h 8956193"/>
              <a:gd name="connsiteX740" fmla="*/ 1023539 w 9266267"/>
              <a:gd name="connsiteY740" fmla="*/ 1558537 h 8956193"/>
              <a:gd name="connsiteX741" fmla="*/ 1084828 w 9266267"/>
              <a:gd name="connsiteY741" fmla="*/ 1448215 h 8956193"/>
              <a:gd name="connsiteX742" fmla="*/ 1158376 w 9266267"/>
              <a:gd name="connsiteY742" fmla="*/ 1337893 h 8956193"/>
              <a:gd name="connsiteX743" fmla="*/ 1244182 w 9266267"/>
              <a:gd name="connsiteY743" fmla="*/ 1239829 h 8956193"/>
              <a:gd name="connsiteX744" fmla="*/ 1329988 w 9266267"/>
              <a:gd name="connsiteY744" fmla="*/ 1141766 h 8956193"/>
              <a:gd name="connsiteX745" fmla="*/ 1440309 w 9266267"/>
              <a:gd name="connsiteY745" fmla="*/ 1068218 h 8956193"/>
              <a:gd name="connsiteX746" fmla="*/ 1538373 w 9266267"/>
              <a:gd name="connsiteY746" fmla="*/ 1019186 h 8956193"/>
              <a:gd name="connsiteX747" fmla="*/ 1648694 w 9266267"/>
              <a:gd name="connsiteY747" fmla="*/ 970154 h 8956193"/>
              <a:gd name="connsiteX748" fmla="*/ 1746758 w 9266267"/>
              <a:gd name="connsiteY748" fmla="*/ 933380 h 8956193"/>
              <a:gd name="connsiteX749" fmla="*/ 1832563 w 9266267"/>
              <a:gd name="connsiteY749" fmla="*/ 921123 h 8956193"/>
              <a:gd name="connsiteX750" fmla="*/ 1920198 w 9266267"/>
              <a:gd name="connsiteY750" fmla="*/ 903596 h 8956193"/>
              <a:gd name="connsiteX751" fmla="*/ 1955092 w 9266267"/>
              <a:gd name="connsiteY751" fmla="*/ 840785 h 8956193"/>
              <a:gd name="connsiteX752" fmla="*/ 2064760 w 9266267"/>
              <a:gd name="connsiteY752" fmla="*/ 676284 h 8956193"/>
              <a:gd name="connsiteX753" fmla="*/ 2192705 w 9266267"/>
              <a:gd name="connsiteY753" fmla="*/ 530060 h 8956193"/>
              <a:gd name="connsiteX754" fmla="*/ 2320651 w 9266267"/>
              <a:gd name="connsiteY754" fmla="*/ 383836 h 8956193"/>
              <a:gd name="connsiteX755" fmla="*/ 2485152 w 9266267"/>
              <a:gd name="connsiteY755" fmla="*/ 274169 h 8956193"/>
              <a:gd name="connsiteX756" fmla="*/ 2631376 w 9266267"/>
              <a:gd name="connsiteY756" fmla="*/ 201057 h 8956193"/>
              <a:gd name="connsiteX757" fmla="*/ 2795877 w 9266267"/>
              <a:gd name="connsiteY757" fmla="*/ 127945 h 8956193"/>
              <a:gd name="connsiteX758" fmla="*/ 2942101 w 9266267"/>
              <a:gd name="connsiteY758" fmla="*/ 73111 h 8956193"/>
              <a:gd name="connsiteX759" fmla="*/ 3070046 w 9266267"/>
              <a:gd name="connsiteY759" fmla="*/ 54834 h 89561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</a:cxnLst>
            <a:rect l="l" t="t" r="r" b="b"/>
            <a:pathLst>
              <a:path w="9266267" h="8956193">
                <a:moveTo>
                  <a:pt x="2295073" y="7223440"/>
                </a:moveTo>
                <a:lnTo>
                  <a:pt x="2119596" y="7274620"/>
                </a:lnTo>
                <a:lnTo>
                  <a:pt x="2174429" y="7256343"/>
                </a:lnTo>
                <a:close/>
                <a:moveTo>
                  <a:pt x="1312834" y="5728689"/>
                </a:moveTo>
                <a:lnTo>
                  <a:pt x="1195152" y="5763012"/>
                </a:lnTo>
                <a:lnTo>
                  <a:pt x="1231925" y="5750755"/>
                </a:lnTo>
                <a:close/>
                <a:moveTo>
                  <a:pt x="5031888" y="2110144"/>
                </a:moveTo>
                <a:lnTo>
                  <a:pt x="5228015" y="2257240"/>
                </a:lnTo>
                <a:lnTo>
                  <a:pt x="5129952" y="2171434"/>
                </a:lnTo>
                <a:close/>
                <a:moveTo>
                  <a:pt x="7840588" y="1827794"/>
                </a:moveTo>
                <a:lnTo>
                  <a:pt x="8133035" y="2047130"/>
                </a:lnTo>
                <a:lnTo>
                  <a:pt x="7986812" y="1919184"/>
                </a:lnTo>
                <a:close/>
                <a:moveTo>
                  <a:pt x="4593082" y="1541389"/>
                </a:moveTo>
                <a:lnTo>
                  <a:pt x="4774471" y="1632084"/>
                </a:lnTo>
                <a:lnTo>
                  <a:pt x="5044146" y="1803696"/>
                </a:lnTo>
                <a:lnTo>
                  <a:pt x="5166726" y="1889501"/>
                </a:lnTo>
                <a:lnTo>
                  <a:pt x="5289305" y="1999823"/>
                </a:lnTo>
                <a:lnTo>
                  <a:pt x="5411885" y="2110144"/>
                </a:lnTo>
                <a:lnTo>
                  <a:pt x="5534465" y="2232724"/>
                </a:lnTo>
                <a:lnTo>
                  <a:pt x="5595753" y="2306271"/>
                </a:lnTo>
                <a:lnTo>
                  <a:pt x="5657043" y="2379819"/>
                </a:lnTo>
                <a:lnTo>
                  <a:pt x="5718333" y="2477883"/>
                </a:lnTo>
                <a:lnTo>
                  <a:pt x="5779623" y="2575946"/>
                </a:lnTo>
                <a:lnTo>
                  <a:pt x="5865429" y="2784331"/>
                </a:lnTo>
                <a:lnTo>
                  <a:pt x="5902202" y="2882395"/>
                </a:lnTo>
                <a:lnTo>
                  <a:pt x="5926718" y="2968201"/>
                </a:lnTo>
                <a:lnTo>
                  <a:pt x="5963492" y="3164328"/>
                </a:lnTo>
                <a:lnTo>
                  <a:pt x="5988008" y="3372714"/>
                </a:lnTo>
                <a:lnTo>
                  <a:pt x="5975750" y="3581099"/>
                </a:lnTo>
                <a:lnTo>
                  <a:pt x="5963492" y="3789484"/>
                </a:lnTo>
                <a:lnTo>
                  <a:pt x="5914460" y="3985610"/>
                </a:lnTo>
                <a:lnTo>
                  <a:pt x="5853171" y="4181737"/>
                </a:lnTo>
                <a:lnTo>
                  <a:pt x="5791881" y="4365607"/>
                </a:lnTo>
                <a:lnTo>
                  <a:pt x="5706075" y="4537218"/>
                </a:lnTo>
                <a:lnTo>
                  <a:pt x="5608011" y="4708829"/>
                </a:lnTo>
                <a:lnTo>
                  <a:pt x="5509949" y="4868183"/>
                </a:lnTo>
                <a:lnTo>
                  <a:pt x="5452093" y="4951351"/>
                </a:lnTo>
                <a:lnTo>
                  <a:pt x="5610680" y="4898489"/>
                </a:lnTo>
                <a:lnTo>
                  <a:pt x="5665514" y="4898489"/>
                </a:lnTo>
                <a:lnTo>
                  <a:pt x="5738625" y="4935044"/>
                </a:lnTo>
                <a:lnTo>
                  <a:pt x="5830015" y="4807099"/>
                </a:lnTo>
                <a:lnTo>
                  <a:pt x="6085906" y="4697431"/>
                </a:lnTo>
                <a:lnTo>
                  <a:pt x="6323519" y="4551208"/>
                </a:lnTo>
                <a:lnTo>
                  <a:pt x="6488020" y="4514652"/>
                </a:lnTo>
                <a:lnTo>
                  <a:pt x="6634244" y="4459819"/>
                </a:lnTo>
                <a:lnTo>
                  <a:pt x="6597688" y="4441541"/>
                </a:lnTo>
                <a:lnTo>
                  <a:pt x="6579410" y="4404985"/>
                </a:lnTo>
                <a:lnTo>
                  <a:pt x="6817024" y="4222205"/>
                </a:lnTo>
                <a:lnTo>
                  <a:pt x="6999803" y="4021148"/>
                </a:lnTo>
                <a:lnTo>
                  <a:pt x="7109470" y="3984592"/>
                </a:lnTo>
                <a:lnTo>
                  <a:pt x="7219138" y="3948036"/>
                </a:lnTo>
                <a:lnTo>
                  <a:pt x="7200860" y="3856646"/>
                </a:lnTo>
                <a:lnTo>
                  <a:pt x="7197205" y="3842025"/>
                </a:lnTo>
                <a:lnTo>
                  <a:pt x="7182587" y="3856644"/>
                </a:lnTo>
                <a:lnTo>
                  <a:pt x="7182587" y="3893200"/>
                </a:lnTo>
                <a:lnTo>
                  <a:pt x="7091196" y="3856644"/>
                </a:lnTo>
                <a:lnTo>
                  <a:pt x="7187804" y="3760036"/>
                </a:lnTo>
                <a:lnTo>
                  <a:pt x="7219138" y="3619033"/>
                </a:lnTo>
                <a:lnTo>
                  <a:pt x="7237416" y="3472810"/>
                </a:lnTo>
                <a:lnTo>
                  <a:pt x="7237416" y="3381420"/>
                </a:lnTo>
                <a:lnTo>
                  <a:pt x="7219138" y="3290030"/>
                </a:lnTo>
                <a:lnTo>
                  <a:pt x="7200860" y="3235196"/>
                </a:lnTo>
                <a:lnTo>
                  <a:pt x="7127748" y="3125529"/>
                </a:lnTo>
                <a:lnTo>
                  <a:pt x="7146026" y="3034139"/>
                </a:lnTo>
                <a:lnTo>
                  <a:pt x="7091192" y="3015861"/>
                </a:lnTo>
                <a:lnTo>
                  <a:pt x="7036358" y="2997583"/>
                </a:lnTo>
                <a:lnTo>
                  <a:pt x="6817024" y="2668580"/>
                </a:lnTo>
                <a:lnTo>
                  <a:pt x="6743912" y="2668580"/>
                </a:lnTo>
                <a:lnTo>
                  <a:pt x="6707356" y="2668580"/>
                </a:lnTo>
                <a:lnTo>
                  <a:pt x="6670800" y="2668580"/>
                </a:lnTo>
                <a:lnTo>
                  <a:pt x="6542854" y="2577190"/>
                </a:lnTo>
                <a:lnTo>
                  <a:pt x="6396631" y="2504078"/>
                </a:lnTo>
                <a:lnTo>
                  <a:pt x="6085906" y="2303021"/>
                </a:lnTo>
                <a:lnTo>
                  <a:pt x="5811737" y="2138519"/>
                </a:lnTo>
                <a:lnTo>
                  <a:pt x="5519290" y="1992296"/>
                </a:lnTo>
                <a:lnTo>
                  <a:pt x="5226843" y="1846072"/>
                </a:lnTo>
                <a:lnTo>
                  <a:pt x="4934396" y="1699849"/>
                </a:lnTo>
                <a:lnTo>
                  <a:pt x="4934396" y="1663293"/>
                </a:lnTo>
                <a:lnTo>
                  <a:pt x="4934396" y="1608459"/>
                </a:lnTo>
                <a:lnTo>
                  <a:pt x="4879562" y="1608459"/>
                </a:lnTo>
                <a:lnTo>
                  <a:pt x="4824728" y="1608459"/>
                </a:lnTo>
                <a:lnTo>
                  <a:pt x="4769894" y="1590181"/>
                </a:lnTo>
                <a:lnTo>
                  <a:pt x="4715061" y="1590181"/>
                </a:lnTo>
                <a:lnTo>
                  <a:pt x="4733338" y="1571903"/>
                </a:lnTo>
                <a:lnTo>
                  <a:pt x="4733338" y="1553625"/>
                </a:lnTo>
                <a:lnTo>
                  <a:pt x="4623671" y="1553625"/>
                </a:lnTo>
                <a:close/>
                <a:moveTo>
                  <a:pt x="4349502" y="1425679"/>
                </a:moveTo>
                <a:lnTo>
                  <a:pt x="4348260" y="1426093"/>
                </a:lnTo>
                <a:lnTo>
                  <a:pt x="4371041" y="1436449"/>
                </a:lnTo>
                <a:close/>
                <a:moveTo>
                  <a:pt x="1955143" y="933380"/>
                </a:moveTo>
                <a:lnTo>
                  <a:pt x="1921272" y="938219"/>
                </a:lnTo>
                <a:lnTo>
                  <a:pt x="1863703" y="1041843"/>
                </a:lnTo>
                <a:lnTo>
                  <a:pt x="1790591" y="1206344"/>
                </a:lnTo>
                <a:lnTo>
                  <a:pt x="1765397" y="1286967"/>
                </a:lnTo>
                <a:lnTo>
                  <a:pt x="1783532" y="1276603"/>
                </a:lnTo>
                <a:lnTo>
                  <a:pt x="1881595" y="1239829"/>
                </a:lnTo>
                <a:lnTo>
                  <a:pt x="1979659" y="1215314"/>
                </a:lnTo>
                <a:lnTo>
                  <a:pt x="2077722" y="1203055"/>
                </a:lnTo>
                <a:lnTo>
                  <a:pt x="2261591" y="1190797"/>
                </a:lnTo>
                <a:lnTo>
                  <a:pt x="2420945" y="1178540"/>
                </a:lnTo>
                <a:lnTo>
                  <a:pt x="2310623" y="1141766"/>
                </a:lnTo>
                <a:lnTo>
                  <a:pt x="2396429" y="1166282"/>
                </a:lnTo>
                <a:lnTo>
                  <a:pt x="2433203" y="1166282"/>
                </a:lnTo>
                <a:lnTo>
                  <a:pt x="2457719" y="1154024"/>
                </a:lnTo>
                <a:lnTo>
                  <a:pt x="2371913" y="1129508"/>
                </a:lnTo>
                <a:lnTo>
                  <a:pt x="2261591" y="1104992"/>
                </a:lnTo>
                <a:lnTo>
                  <a:pt x="2151270" y="1068218"/>
                </a:lnTo>
                <a:lnTo>
                  <a:pt x="2077722" y="1043702"/>
                </a:lnTo>
                <a:lnTo>
                  <a:pt x="2175786" y="970154"/>
                </a:lnTo>
                <a:lnTo>
                  <a:pt x="2114496" y="957896"/>
                </a:lnTo>
                <a:lnTo>
                  <a:pt x="2040948" y="945638"/>
                </a:lnTo>
                <a:close/>
                <a:moveTo>
                  <a:pt x="3453883" y="895619"/>
                </a:moveTo>
                <a:lnTo>
                  <a:pt x="3234548" y="950453"/>
                </a:lnTo>
                <a:lnTo>
                  <a:pt x="3124880" y="968731"/>
                </a:lnTo>
                <a:lnTo>
                  <a:pt x="3052538" y="997669"/>
                </a:lnTo>
                <a:lnTo>
                  <a:pt x="3095132" y="1006928"/>
                </a:lnTo>
                <a:lnTo>
                  <a:pt x="3389323" y="1080476"/>
                </a:lnTo>
                <a:lnTo>
                  <a:pt x="3471732" y="1107349"/>
                </a:lnTo>
                <a:lnTo>
                  <a:pt x="3782886" y="1041843"/>
                </a:lnTo>
                <a:lnTo>
                  <a:pt x="4185001" y="968731"/>
                </a:lnTo>
                <a:lnTo>
                  <a:pt x="3947387" y="913897"/>
                </a:lnTo>
                <a:lnTo>
                  <a:pt x="3691496" y="895619"/>
                </a:lnTo>
                <a:close/>
                <a:moveTo>
                  <a:pt x="3252826" y="73111"/>
                </a:moveTo>
                <a:lnTo>
                  <a:pt x="3124880" y="91389"/>
                </a:lnTo>
                <a:lnTo>
                  <a:pt x="2978657" y="109667"/>
                </a:lnTo>
                <a:lnTo>
                  <a:pt x="2832433" y="146223"/>
                </a:lnTo>
                <a:lnTo>
                  <a:pt x="2667932" y="201057"/>
                </a:lnTo>
                <a:lnTo>
                  <a:pt x="2503430" y="292447"/>
                </a:lnTo>
                <a:lnTo>
                  <a:pt x="2338929" y="402115"/>
                </a:lnTo>
                <a:lnTo>
                  <a:pt x="2192705" y="548338"/>
                </a:lnTo>
                <a:lnTo>
                  <a:pt x="2064760" y="694562"/>
                </a:lnTo>
                <a:lnTo>
                  <a:pt x="1955092" y="877341"/>
                </a:lnTo>
                <a:lnTo>
                  <a:pt x="1943045" y="899027"/>
                </a:lnTo>
                <a:lnTo>
                  <a:pt x="2016432" y="884349"/>
                </a:lnTo>
                <a:lnTo>
                  <a:pt x="2188044" y="884349"/>
                </a:lnTo>
                <a:lnTo>
                  <a:pt x="2347397" y="884349"/>
                </a:lnTo>
                <a:lnTo>
                  <a:pt x="2506751" y="896607"/>
                </a:lnTo>
                <a:lnTo>
                  <a:pt x="2613264" y="913649"/>
                </a:lnTo>
                <a:lnTo>
                  <a:pt x="2649654" y="859063"/>
                </a:lnTo>
                <a:lnTo>
                  <a:pt x="2741044" y="749395"/>
                </a:lnTo>
                <a:lnTo>
                  <a:pt x="2868989" y="658006"/>
                </a:lnTo>
                <a:lnTo>
                  <a:pt x="2996935" y="584894"/>
                </a:lnTo>
                <a:lnTo>
                  <a:pt x="3143158" y="530060"/>
                </a:lnTo>
                <a:lnTo>
                  <a:pt x="3289382" y="493504"/>
                </a:lnTo>
                <a:lnTo>
                  <a:pt x="3435605" y="475226"/>
                </a:lnTo>
                <a:lnTo>
                  <a:pt x="3709774" y="456948"/>
                </a:lnTo>
                <a:lnTo>
                  <a:pt x="3947387" y="438670"/>
                </a:lnTo>
                <a:lnTo>
                  <a:pt x="3782886" y="383836"/>
                </a:lnTo>
                <a:lnTo>
                  <a:pt x="3910831" y="420393"/>
                </a:lnTo>
                <a:lnTo>
                  <a:pt x="3965665" y="420393"/>
                </a:lnTo>
                <a:lnTo>
                  <a:pt x="4002221" y="402115"/>
                </a:lnTo>
                <a:lnTo>
                  <a:pt x="3874276" y="365559"/>
                </a:lnTo>
                <a:lnTo>
                  <a:pt x="3709774" y="329003"/>
                </a:lnTo>
                <a:lnTo>
                  <a:pt x="3545273" y="274169"/>
                </a:lnTo>
                <a:lnTo>
                  <a:pt x="3435605" y="237613"/>
                </a:lnTo>
                <a:lnTo>
                  <a:pt x="3581829" y="127945"/>
                </a:lnTo>
                <a:lnTo>
                  <a:pt x="3490439" y="109667"/>
                </a:lnTo>
                <a:lnTo>
                  <a:pt x="3380771" y="91389"/>
                </a:lnTo>
                <a:close/>
                <a:moveTo>
                  <a:pt x="3344215" y="0"/>
                </a:moveTo>
                <a:lnTo>
                  <a:pt x="3600107" y="0"/>
                </a:lnTo>
                <a:lnTo>
                  <a:pt x="3837720" y="0"/>
                </a:lnTo>
                <a:lnTo>
                  <a:pt x="4075333" y="18278"/>
                </a:lnTo>
                <a:lnTo>
                  <a:pt x="4532281" y="91389"/>
                </a:lnTo>
                <a:lnTo>
                  <a:pt x="4952674" y="182779"/>
                </a:lnTo>
                <a:lnTo>
                  <a:pt x="5391344" y="292447"/>
                </a:lnTo>
                <a:lnTo>
                  <a:pt x="6232130" y="566616"/>
                </a:lnTo>
                <a:lnTo>
                  <a:pt x="6652522" y="731117"/>
                </a:lnTo>
                <a:lnTo>
                  <a:pt x="7054636" y="913897"/>
                </a:lnTo>
                <a:lnTo>
                  <a:pt x="7456752" y="1114954"/>
                </a:lnTo>
                <a:lnTo>
                  <a:pt x="7858866" y="1370846"/>
                </a:lnTo>
                <a:lnTo>
                  <a:pt x="8041646" y="1498791"/>
                </a:lnTo>
                <a:lnTo>
                  <a:pt x="8224424" y="1663293"/>
                </a:lnTo>
                <a:lnTo>
                  <a:pt x="8407204" y="1827794"/>
                </a:lnTo>
                <a:lnTo>
                  <a:pt x="8589984" y="2010574"/>
                </a:lnTo>
                <a:lnTo>
                  <a:pt x="8681373" y="2120241"/>
                </a:lnTo>
                <a:lnTo>
                  <a:pt x="8772763" y="2229909"/>
                </a:lnTo>
                <a:lnTo>
                  <a:pt x="8864152" y="2376133"/>
                </a:lnTo>
                <a:lnTo>
                  <a:pt x="8955542" y="2522356"/>
                </a:lnTo>
                <a:lnTo>
                  <a:pt x="9083488" y="2833081"/>
                </a:lnTo>
                <a:lnTo>
                  <a:pt x="9138321" y="2979305"/>
                </a:lnTo>
                <a:lnTo>
                  <a:pt x="9174877" y="3107251"/>
                </a:lnTo>
                <a:lnTo>
                  <a:pt x="9229711" y="3399698"/>
                </a:lnTo>
                <a:lnTo>
                  <a:pt x="9266267" y="3710423"/>
                </a:lnTo>
                <a:lnTo>
                  <a:pt x="9247989" y="4021148"/>
                </a:lnTo>
                <a:lnTo>
                  <a:pt x="9229711" y="4331873"/>
                </a:lnTo>
                <a:lnTo>
                  <a:pt x="9156599" y="4624319"/>
                </a:lnTo>
                <a:lnTo>
                  <a:pt x="9065210" y="4916766"/>
                </a:lnTo>
                <a:lnTo>
                  <a:pt x="8973820" y="5190936"/>
                </a:lnTo>
                <a:lnTo>
                  <a:pt x="8845874" y="5446827"/>
                </a:lnTo>
                <a:lnTo>
                  <a:pt x="8699651" y="5702718"/>
                </a:lnTo>
                <a:lnTo>
                  <a:pt x="8553428" y="5940332"/>
                </a:lnTo>
                <a:lnTo>
                  <a:pt x="8260980" y="6360725"/>
                </a:lnTo>
                <a:lnTo>
                  <a:pt x="8169591" y="6452115"/>
                </a:lnTo>
                <a:lnTo>
                  <a:pt x="8078201" y="6543504"/>
                </a:lnTo>
                <a:lnTo>
                  <a:pt x="7804032" y="6726284"/>
                </a:lnTo>
                <a:lnTo>
                  <a:pt x="7511585" y="6909063"/>
                </a:lnTo>
                <a:lnTo>
                  <a:pt x="7237416" y="7055287"/>
                </a:lnTo>
                <a:lnTo>
                  <a:pt x="6780468" y="7329456"/>
                </a:lnTo>
                <a:lnTo>
                  <a:pt x="6341797" y="7585347"/>
                </a:lnTo>
                <a:lnTo>
                  <a:pt x="5446178" y="8078852"/>
                </a:lnTo>
                <a:lnTo>
                  <a:pt x="4970952" y="8261631"/>
                </a:lnTo>
                <a:lnTo>
                  <a:pt x="4477448" y="8426133"/>
                </a:lnTo>
                <a:lnTo>
                  <a:pt x="3983943" y="8554078"/>
                </a:lnTo>
                <a:lnTo>
                  <a:pt x="3490439" y="8645468"/>
                </a:lnTo>
                <a:lnTo>
                  <a:pt x="2978657" y="8736858"/>
                </a:lnTo>
                <a:lnTo>
                  <a:pt x="2485152" y="8809969"/>
                </a:lnTo>
                <a:lnTo>
                  <a:pt x="1443310" y="8956193"/>
                </a:lnTo>
                <a:lnTo>
                  <a:pt x="1333642" y="8956193"/>
                </a:lnTo>
                <a:lnTo>
                  <a:pt x="1233114" y="8937915"/>
                </a:lnTo>
                <a:lnTo>
                  <a:pt x="1141724" y="8901359"/>
                </a:lnTo>
                <a:lnTo>
                  <a:pt x="1086890" y="8846525"/>
                </a:lnTo>
                <a:lnTo>
                  <a:pt x="1068612" y="8809969"/>
                </a:lnTo>
                <a:lnTo>
                  <a:pt x="1068612" y="8791691"/>
                </a:lnTo>
                <a:lnTo>
                  <a:pt x="1086890" y="8755136"/>
                </a:lnTo>
                <a:lnTo>
                  <a:pt x="1123446" y="8718580"/>
                </a:lnTo>
                <a:lnTo>
                  <a:pt x="1160002" y="8682024"/>
                </a:lnTo>
                <a:lnTo>
                  <a:pt x="1233114" y="8645468"/>
                </a:lnTo>
                <a:lnTo>
                  <a:pt x="1425032" y="8572356"/>
                </a:lnTo>
                <a:lnTo>
                  <a:pt x="1845425" y="8444410"/>
                </a:lnTo>
                <a:lnTo>
                  <a:pt x="2247539" y="8334743"/>
                </a:lnTo>
                <a:lnTo>
                  <a:pt x="3106602" y="8151964"/>
                </a:lnTo>
                <a:lnTo>
                  <a:pt x="3070046" y="8188519"/>
                </a:lnTo>
                <a:lnTo>
                  <a:pt x="3033491" y="8225075"/>
                </a:lnTo>
                <a:lnTo>
                  <a:pt x="2905545" y="8261631"/>
                </a:lnTo>
                <a:lnTo>
                  <a:pt x="2759321" y="8298187"/>
                </a:lnTo>
                <a:lnTo>
                  <a:pt x="2704488" y="8316465"/>
                </a:lnTo>
                <a:lnTo>
                  <a:pt x="2649654" y="8353021"/>
                </a:lnTo>
                <a:lnTo>
                  <a:pt x="2960379" y="8334743"/>
                </a:lnTo>
                <a:lnTo>
                  <a:pt x="3252826" y="8298187"/>
                </a:lnTo>
                <a:lnTo>
                  <a:pt x="3545273" y="8243353"/>
                </a:lnTo>
                <a:lnTo>
                  <a:pt x="3855998" y="8170242"/>
                </a:lnTo>
                <a:lnTo>
                  <a:pt x="3435605" y="8279909"/>
                </a:lnTo>
                <a:lnTo>
                  <a:pt x="3033491" y="8371299"/>
                </a:lnTo>
                <a:lnTo>
                  <a:pt x="3563551" y="8261631"/>
                </a:lnTo>
                <a:lnTo>
                  <a:pt x="4111889" y="8115408"/>
                </a:lnTo>
                <a:lnTo>
                  <a:pt x="4660227" y="7950906"/>
                </a:lnTo>
                <a:lnTo>
                  <a:pt x="5208565" y="7749849"/>
                </a:lnTo>
                <a:lnTo>
                  <a:pt x="5318232" y="7731571"/>
                </a:lnTo>
                <a:lnTo>
                  <a:pt x="5427900" y="7731571"/>
                </a:lnTo>
                <a:lnTo>
                  <a:pt x="5665514" y="7713293"/>
                </a:lnTo>
                <a:lnTo>
                  <a:pt x="5793459" y="7713293"/>
                </a:lnTo>
                <a:lnTo>
                  <a:pt x="5921404" y="7676737"/>
                </a:lnTo>
                <a:lnTo>
                  <a:pt x="6031072" y="7603625"/>
                </a:lnTo>
                <a:lnTo>
                  <a:pt x="6159018" y="7493957"/>
                </a:lnTo>
                <a:lnTo>
                  <a:pt x="5775181" y="7603625"/>
                </a:lnTo>
                <a:lnTo>
                  <a:pt x="5391344" y="7695015"/>
                </a:lnTo>
                <a:lnTo>
                  <a:pt x="4605393" y="7859516"/>
                </a:lnTo>
                <a:lnTo>
                  <a:pt x="3855998" y="8005740"/>
                </a:lnTo>
                <a:lnTo>
                  <a:pt x="3106602" y="8151964"/>
                </a:lnTo>
                <a:lnTo>
                  <a:pt x="2777599" y="8206797"/>
                </a:lnTo>
                <a:lnTo>
                  <a:pt x="2448597" y="8279909"/>
                </a:lnTo>
                <a:lnTo>
                  <a:pt x="1827147" y="8371299"/>
                </a:lnTo>
                <a:lnTo>
                  <a:pt x="2009926" y="8316465"/>
                </a:lnTo>
                <a:lnTo>
                  <a:pt x="2210983" y="8298187"/>
                </a:lnTo>
                <a:lnTo>
                  <a:pt x="1735757" y="8316465"/>
                </a:lnTo>
                <a:lnTo>
                  <a:pt x="1269670" y="8353021"/>
                </a:lnTo>
                <a:lnTo>
                  <a:pt x="337495" y="8407855"/>
                </a:lnTo>
                <a:lnTo>
                  <a:pt x="995500" y="8243353"/>
                </a:lnTo>
                <a:lnTo>
                  <a:pt x="1644367" y="8097130"/>
                </a:lnTo>
                <a:lnTo>
                  <a:pt x="2996935" y="7841238"/>
                </a:lnTo>
                <a:lnTo>
                  <a:pt x="3691496" y="7695015"/>
                </a:lnTo>
                <a:lnTo>
                  <a:pt x="4367780" y="7530513"/>
                </a:lnTo>
                <a:lnTo>
                  <a:pt x="4696783" y="7420846"/>
                </a:lnTo>
                <a:lnTo>
                  <a:pt x="5025785" y="7311178"/>
                </a:lnTo>
                <a:lnTo>
                  <a:pt x="5354788" y="7183232"/>
                </a:lnTo>
                <a:lnTo>
                  <a:pt x="5665514" y="7055287"/>
                </a:lnTo>
                <a:lnTo>
                  <a:pt x="5464456" y="7091843"/>
                </a:lnTo>
                <a:lnTo>
                  <a:pt x="5263399" y="7146677"/>
                </a:lnTo>
                <a:lnTo>
                  <a:pt x="4861284" y="7292900"/>
                </a:lnTo>
                <a:lnTo>
                  <a:pt x="4660227" y="7347734"/>
                </a:lnTo>
                <a:lnTo>
                  <a:pt x="4459170" y="7402568"/>
                </a:lnTo>
                <a:lnTo>
                  <a:pt x="4276390" y="7439124"/>
                </a:lnTo>
                <a:lnTo>
                  <a:pt x="4093611" y="7420846"/>
                </a:lnTo>
                <a:lnTo>
                  <a:pt x="4678505" y="7256344"/>
                </a:lnTo>
                <a:lnTo>
                  <a:pt x="5281677" y="7091843"/>
                </a:lnTo>
                <a:lnTo>
                  <a:pt x="5866571" y="6872507"/>
                </a:lnTo>
                <a:lnTo>
                  <a:pt x="6469742" y="6634894"/>
                </a:lnTo>
                <a:lnTo>
                  <a:pt x="6305242" y="6762840"/>
                </a:lnTo>
                <a:lnTo>
                  <a:pt x="6506298" y="6708006"/>
                </a:lnTo>
                <a:lnTo>
                  <a:pt x="6707356" y="6616616"/>
                </a:lnTo>
                <a:lnTo>
                  <a:pt x="6890135" y="6525226"/>
                </a:lnTo>
                <a:lnTo>
                  <a:pt x="7072914" y="6415559"/>
                </a:lnTo>
                <a:lnTo>
                  <a:pt x="7438474" y="6177945"/>
                </a:lnTo>
                <a:lnTo>
                  <a:pt x="7785754" y="5922054"/>
                </a:lnTo>
                <a:lnTo>
                  <a:pt x="7456752" y="6141389"/>
                </a:lnTo>
                <a:lnTo>
                  <a:pt x="7127748" y="6324169"/>
                </a:lnTo>
                <a:lnTo>
                  <a:pt x="6798746" y="6488670"/>
                </a:lnTo>
                <a:lnTo>
                  <a:pt x="6469742" y="6634894"/>
                </a:lnTo>
                <a:lnTo>
                  <a:pt x="6762190" y="6452115"/>
                </a:lnTo>
                <a:lnTo>
                  <a:pt x="7109470" y="6269335"/>
                </a:lnTo>
                <a:lnTo>
                  <a:pt x="6981525" y="6305891"/>
                </a:lnTo>
                <a:lnTo>
                  <a:pt x="6835302" y="6342447"/>
                </a:lnTo>
                <a:lnTo>
                  <a:pt x="6524576" y="6452115"/>
                </a:lnTo>
                <a:lnTo>
                  <a:pt x="6159018" y="6616616"/>
                </a:lnTo>
                <a:lnTo>
                  <a:pt x="5756903" y="6781118"/>
                </a:lnTo>
                <a:lnTo>
                  <a:pt x="6049350" y="6634894"/>
                </a:lnTo>
                <a:lnTo>
                  <a:pt x="6323519" y="6488670"/>
                </a:lnTo>
                <a:lnTo>
                  <a:pt x="6579410" y="6305891"/>
                </a:lnTo>
                <a:lnTo>
                  <a:pt x="6817024" y="6123111"/>
                </a:lnTo>
                <a:lnTo>
                  <a:pt x="6012794" y="6470392"/>
                </a:lnTo>
                <a:lnTo>
                  <a:pt x="5610680" y="6616616"/>
                </a:lnTo>
                <a:lnTo>
                  <a:pt x="5190287" y="6744562"/>
                </a:lnTo>
                <a:lnTo>
                  <a:pt x="5628958" y="6561782"/>
                </a:lnTo>
                <a:lnTo>
                  <a:pt x="6049350" y="6360725"/>
                </a:lnTo>
                <a:lnTo>
                  <a:pt x="6414909" y="6214501"/>
                </a:lnTo>
                <a:lnTo>
                  <a:pt x="6780468" y="6031721"/>
                </a:lnTo>
                <a:lnTo>
                  <a:pt x="7127748" y="5830664"/>
                </a:lnTo>
                <a:lnTo>
                  <a:pt x="7475029" y="5611328"/>
                </a:lnTo>
                <a:lnTo>
                  <a:pt x="7420196" y="5666162"/>
                </a:lnTo>
                <a:lnTo>
                  <a:pt x="7511585" y="5574773"/>
                </a:lnTo>
                <a:lnTo>
                  <a:pt x="7767476" y="5373715"/>
                </a:lnTo>
                <a:lnTo>
                  <a:pt x="8005090" y="5136102"/>
                </a:lnTo>
                <a:lnTo>
                  <a:pt x="8114757" y="5026434"/>
                </a:lnTo>
                <a:lnTo>
                  <a:pt x="8187868" y="4898489"/>
                </a:lnTo>
                <a:lnTo>
                  <a:pt x="8242702" y="4752265"/>
                </a:lnTo>
                <a:lnTo>
                  <a:pt x="8297536" y="4606041"/>
                </a:lnTo>
                <a:lnTo>
                  <a:pt x="8352370" y="4514652"/>
                </a:lnTo>
                <a:lnTo>
                  <a:pt x="8352370" y="4569485"/>
                </a:lnTo>
                <a:lnTo>
                  <a:pt x="8352370" y="4587763"/>
                </a:lnTo>
                <a:lnTo>
                  <a:pt x="8370648" y="4587763"/>
                </a:lnTo>
                <a:lnTo>
                  <a:pt x="8425482" y="4532930"/>
                </a:lnTo>
                <a:lnTo>
                  <a:pt x="8535150" y="4350151"/>
                </a:lnTo>
                <a:lnTo>
                  <a:pt x="8608262" y="4167372"/>
                </a:lnTo>
                <a:lnTo>
                  <a:pt x="8663095" y="3948036"/>
                </a:lnTo>
                <a:lnTo>
                  <a:pt x="8699651" y="3746979"/>
                </a:lnTo>
                <a:lnTo>
                  <a:pt x="8699651" y="3509365"/>
                </a:lnTo>
                <a:lnTo>
                  <a:pt x="8699651" y="3290030"/>
                </a:lnTo>
                <a:lnTo>
                  <a:pt x="8663095" y="2814804"/>
                </a:lnTo>
                <a:lnTo>
                  <a:pt x="8626539" y="2668580"/>
                </a:lnTo>
                <a:lnTo>
                  <a:pt x="8553428" y="2522356"/>
                </a:lnTo>
                <a:lnTo>
                  <a:pt x="8462038" y="2376133"/>
                </a:lnTo>
                <a:lnTo>
                  <a:pt x="8334092" y="2248187"/>
                </a:lnTo>
                <a:lnTo>
                  <a:pt x="8297536" y="2175075"/>
                </a:lnTo>
                <a:lnTo>
                  <a:pt x="8242702" y="2156797"/>
                </a:lnTo>
                <a:lnTo>
                  <a:pt x="8224424" y="2138519"/>
                </a:lnTo>
                <a:lnTo>
                  <a:pt x="8169591" y="2138519"/>
                </a:lnTo>
                <a:lnTo>
                  <a:pt x="8133035" y="2120241"/>
                </a:lnTo>
                <a:lnTo>
                  <a:pt x="8096479" y="2083686"/>
                </a:lnTo>
                <a:lnTo>
                  <a:pt x="8206146" y="2211631"/>
                </a:lnTo>
                <a:lnTo>
                  <a:pt x="8297536" y="2339577"/>
                </a:lnTo>
                <a:lnTo>
                  <a:pt x="8388926" y="2485800"/>
                </a:lnTo>
                <a:lnTo>
                  <a:pt x="8462038" y="2632024"/>
                </a:lnTo>
                <a:lnTo>
                  <a:pt x="8516872" y="2778248"/>
                </a:lnTo>
                <a:lnTo>
                  <a:pt x="8571706" y="2924471"/>
                </a:lnTo>
                <a:lnTo>
                  <a:pt x="8589984" y="3088973"/>
                </a:lnTo>
                <a:lnTo>
                  <a:pt x="8608262" y="3253474"/>
                </a:lnTo>
                <a:lnTo>
                  <a:pt x="8626539" y="3417976"/>
                </a:lnTo>
                <a:lnTo>
                  <a:pt x="8608262" y="3582477"/>
                </a:lnTo>
                <a:lnTo>
                  <a:pt x="8608262" y="3746979"/>
                </a:lnTo>
                <a:lnTo>
                  <a:pt x="8571706" y="3911480"/>
                </a:lnTo>
                <a:lnTo>
                  <a:pt x="8535150" y="4075982"/>
                </a:lnTo>
                <a:lnTo>
                  <a:pt x="8480316" y="4222205"/>
                </a:lnTo>
                <a:lnTo>
                  <a:pt x="8425482" y="4386707"/>
                </a:lnTo>
                <a:lnTo>
                  <a:pt x="8352370" y="4514652"/>
                </a:lnTo>
                <a:lnTo>
                  <a:pt x="8352370" y="4350151"/>
                </a:lnTo>
                <a:lnTo>
                  <a:pt x="8334092" y="4478096"/>
                </a:lnTo>
                <a:lnTo>
                  <a:pt x="8297536" y="4606041"/>
                </a:lnTo>
                <a:lnTo>
                  <a:pt x="8187868" y="4788821"/>
                </a:lnTo>
                <a:lnTo>
                  <a:pt x="8059923" y="4953322"/>
                </a:lnTo>
                <a:lnTo>
                  <a:pt x="7804032" y="5264047"/>
                </a:lnTo>
                <a:lnTo>
                  <a:pt x="7858866" y="5172658"/>
                </a:lnTo>
                <a:lnTo>
                  <a:pt x="7895422" y="5062990"/>
                </a:lnTo>
                <a:lnTo>
                  <a:pt x="7694364" y="5264047"/>
                </a:lnTo>
                <a:lnTo>
                  <a:pt x="7475029" y="5446827"/>
                </a:lnTo>
                <a:lnTo>
                  <a:pt x="7255694" y="5629606"/>
                </a:lnTo>
                <a:lnTo>
                  <a:pt x="7018081" y="5794108"/>
                </a:lnTo>
                <a:lnTo>
                  <a:pt x="6542854" y="6086555"/>
                </a:lnTo>
                <a:lnTo>
                  <a:pt x="6049350" y="6360725"/>
                </a:lnTo>
                <a:lnTo>
                  <a:pt x="5555846" y="6543504"/>
                </a:lnTo>
                <a:lnTo>
                  <a:pt x="5044063" y="6689728"/>
                </a:lnTo>
                <a:lnTo>
                  <a:pt x="4550559" y="6817673"/>
                </a:lnTo>
                <a:lnTo>
                  <a:pt x="4038777" y="6927341"/>
                </a:lnTo>
                <a:lnTo>
                  <a:pt x="4331224" y="6909063"/>
                </a:lnTo>
                <a:lnTo>
                  <a:pt x="4623671" y="6872507"/>
                </a:lnTo>
                <a:lnTo>
                  <a:pt x="4897840" y="6817673"/>
                </a:lnTo>
                <a:lnTo>
                  <a:pt x="5190287" y="6744562"/>
                </a:lnTo>
                <a:lnTo>
                  <a:pt x="4824728" y="6872507"/>
                </a:lnTo>
                <a:lnTo>
                  <a:pt x="4440892" y="7000453"/>
                </a:lnTo>
                <a:lnTo>
                  <a:pt x="4057055" y="7110121"/>
                </a:lnTo>
                <a:lnTo>
                  <a:pt x="3673218" y="7219788"/>
                </a:lnTo>
                <a:lnTo>
                  <a:pt x="3289382" y="7311178"/>
                </a:lnTo>
                <a:lnTo>
                  <a:pt x="2905545" y="7366012"/>
                </a:lnTo>
                <a:lnTo>
                  <a:pt x="2503430" y="7420846"/>
                </a:lnTo>
                <a:lnTo>
                  <a:pt x="2119594" y="7475680"/>
                </a:lnTo>
                <a:lnTo>
                  <a:pt x="2393763" y="7256344"/>
                </a:lnTo>
                <a:lnTo>
                  <a:pt x="2521708" y="7164954"/>
                </a:lnTo>
                <a:lnTo>
                  <a:pt x="2532152" y="7154511"/>
                </a:lnTo>
                <a:lnTo>
                  <a:pt x="2375485" y="7201510"/>
                </a:lnTo>
                <a:lnTo>
                  <a:pt x="2295073" y="7223440"/>
                </a:lnTo>
                <a:lnTo>
                  <a:pt x="2532459" y="7154204"/>
                </a:lnTo>
                <a:lnTo>
                  <a:pt x="2576542" y="7110121"/>
                </a:lnTo>
                <a:lnTo>
                  <a:pt x="2613098" y="7037009"/>
                </a:lnTo>
                <a:lnTo>
                  <a:pt x="2594820" y="7018731"/>
                </a:lnTo>
                <a:lnTo>
                  <a:pt x="2558264" y="7018731"/>
                </a:lnTo>
                <a:lnTo>
                  <a:pt x="2448597" y="7000453"/>
                </a:lnTo>
                <a:lnTo>
                  <a:pt x="2393763" y="6982175"/>
                </a:lnTo>
                <a:lnTo>
                  <a:pt x="2393763" y="6963897"/>
                </a:lnTo>
                <a:lnTo>
                  <a:pt x="2448597" y="6945619"/>
                </a:lnTo>
                <a:lnTo>
                  <a:pt x="2686210" y="6835951"/>
                </a:lnTo>
                <a:lnTo>
                  <a:pt x="2905545" y="6762840"/>
                </a:lnTo>
                <a:lnTo>
                  <a:pt x="3307660" y="6634894"/>
                </a:lnTo>
                <a:lnTo>
                  <a:pt x="3472161" y="6561782"/>
                </a:lnTo>
                <a:lnTo>
                  <a:pt x="3600107" y="6470392"/>
                </a:lnTo>
                <a:lnTo>
                  <a:pt x="3673218" y="6433837"/>
                </a:lnTo>
                <a:lnTo>
                  <a:pt x="3709774" y="6360725"/>
                </a:lnTo>
                <a:lnTo>
                  <a:pt x="3764608" y="6305891"/>
                </a:lnTo>
                <a:lnTo>
                  <a:pt x="3801164" y="6214501"/>
                </a:lnTo>
                <a:lnTo>
                  <a:pt x="3801164" y="6196223"/>
                </a:lnTo>
                <a:lnTo>
                  <a:pt x="3764608" y="6177945"/>
                </a:lnTo>
                <a:lnTo>
                  <a:pt x="3716870" y="6142142"/>
                </a:lnTo>
                <a:lnTo>
                  <a:pt x="3426097" y="6302364"/>
                </a:lnTo>
                <a:lnTo>
                  <a:pt x="3107390" y="6424943"/>
                </a:lnTo>
                <a:lnTo>
                  <a:pt x="2776426" y="6535265"/>
                </a:lnTo>
                <a:lnTo>
                  <a:pt x="2445461" y="6621070"/>
                </a:lnTo>
                <a:lnTo>
                  <a:pt x="2114496" y="6682360"/>
                </a:lnTo>
                <a:lnTo>
                  <a:pt x="1771274" y="6743650"/>
                </a:lnTo>
                <a:lnTo>
                  <a:pt x="1440309" y="6792681"/>
                </a:lnTo>
                <a:lnTo>
                  <a:pt x="741606" y="6890745"/>
                </a:lnTo>
                <a:lnTo>
                  <a:pt x="668058" y="6890745"/>
                </a:lnTo>
                <a:lnTo>
                  <a:pt x="600640" y="6878487"/>
                </a:lnTo>
                <a:lnTo>
                  <a:pt x="539350" y="6853971"/>
                </a:lnTo>
                <a:lnTo>
                  <a:pt x="502576" y="6817197"/>
                </a:lnTo>
                <a:lnTo>
                  <a:pt x="490318" y="6792681"/>
                </a:lnTo>
                <a:lnTo>
                  <a:pt x="490318" y="6780423"/>
                </a:lnTo>
                <a:lnTo>
                  <a:pt x="502576" y="6755908"/>
                </a:lnTo>
                <a:lnTo>
                  <a:pt x="527092" y="6731392"/>
                </a:lnTo>
                <a:lnTo>
                  <a:pt x="551608" y="6706876"/>
                </a:lnTo>
                <a:lnTo>
                  <a:pt x="600640" y="6682360"/>
                </a:lnTo>
                <a:lnTo>
                  <a:pt x="729348" y="6633328"/>
                </a:lnTo>
                <a:lnTo>
                  <a:pt x="1011281" y="6547522"/>
                </a:lnTo>
                <a:lnTo>
                  <a:pt x="1280956" y="6473975"/>
                </a:lnTo>
                <a:lnTo>
                  <a:pt x="1857079" y="6351396"/>
                </a:lnTo>
                <a:lnTo>
                  <a:pt x="1832563" y="6375911"/>
                </a:lnTo>
                <a:lnTo>
                  <a:pt x="1808048" y="6400427"/>
                </a:lnTo>
                <a:lnTo>
                  <a:pt x="1722242" y="6424943"/>
                </a:lnTo>
                <a:lnTo>
                  <a:pt x="1624178" y="6449459"/>
                </a:lnTo>
                <a:lnTo>
                  <a:pt x="1587405" y="6461717"/>
                </a:lnTo>
                <a:lnTo>
                  <a:pt x="1550631" y="6486233"/>
                </a:lnTo>
                <a:lnTo>
                  <a:pt x="1759016" y="6473975"/>
                </a:lnTo>
                <a:lnTo>
                  <a:pt x="1955143" y="6449459"/>
                </a:lnTo>
                <a:lnTo>
                  <a:pt x="2151270" y="6412685"/>
                </a:lnTo>
                <a:lnTo>
                  <a:pt x="2359655" y="6363654"/>
                </a:lnTo>
                <a:lnTo>
                  <a:pt x="2077722" y="6437201"/>
                </a:lnTo>
                <a:lnTo>
                  <a:pt x="1808048" y="6498491"/>
                </a:lnTo>
                <a:lnTo>
                  <a:pt x="2163528" y="6424943"/>
                </a:lnTo>
                <a:lnTo>
                  <a:pt x="2531267" y="6326880"/>
                </a:lnTo>
                <a:lnTo>
                  <a:pt x="2899005" y="6216558"/>
                </a:lnTo>
                <a:lnTo>
                  <a:pt x="3266743" y="6081721"/>
                </a:lnTo>
                <a:lnTo>
                  <a:pt x="3340291" y="6069463"/>
                </a:lnTo>
                <a:lnTo>
                  <a:pt x="3413839" y="6069463"/>
                </a:lnTo>
                <a:lnTo>
                  <a:pt x="3543114" y="6059518"/>
                </a:lnTo>
                <a:lnTo>
                  <a:pt x="3466331" y="6026611"/>
                </a:lnTo>
                <a:lnTo>
                  <a:pt x="3389323" y="6044947"/>
                </a:lnTo>
                <a:lnTo>
                  <a:pt x="2862231" y="6155268"/>
                </a:lnTo>
                <a:lnTo>
                  <a:pt x="2359655" y="6253332"/>
                </a:lnTo>
                <a:lnTo>
                  <a:pt x="1857079" y="6351396"/>
                </a:lnTo>
                <a:lnTo>
                  <a:pt x="1636436" y="6388169"/>
                </a:lnTo>
                <a:lnTo>
                  <a:pt x="1415793" y="6437201"/>
                </a:lnTo>
                <a:lnTo>
                  <a:pt x="999023" y="6498491"/>
                </a:lnTo>
                <a:lnTo>
                  <a:pt x="1121602" y="6461717"/>
                </a:lnTo>
                <a:lnTo>
                  <a:pt x="1256440" y="6449459"/>
                </a:lnTo>
                <a:lnTo>
                  <a:pt x="937733" y="6461717"/>
                </a:lnTo>
                <a:lnTo>
                  <a:pt x="625156" y="6486233"/>
                </a:lnTo>
                <a:lnTo>
                  <a:pt x="0" y="6523007"/>
                </a:lnTo>
                <a:lnTo>
                  <a:pt x="441286" y="6412685"/>
                </a:lnTo>
                <a:lnTo>
                  <a:pt x="876443" y="6314622"/>
                </a:lnTo>
                <a:lnTo>
                  <a:pt x="1783532" y="6143010"/>
                </a:lnTo>
                <a:lnTo>
                  <a:pt x="2249333" y="6044947"/>
                </a:lnTo>
                <a:lnTo>
                  <a:pt x="2702878" y="5934625"/>
                </a:lnTo>
                <a:lnTo>
                  <a:pt x="2923521" y="5861078"/>
                </a:lnTo>
                <a:lnTo>
                  <a:pt x="3144164" y="5787530"/>
                </a:lnTo>
                <a:lnTo>
                  <a:pt x="3364807" y="5701724"/>
                </a:lnTo>
                <a:lnTo>
                  <a:pt x="3573193" y="5615919"/>
                </a:lnTo>
                <a:lnTo>
                  <a:pt x="3438355" y="5640435"/>
                </a:lnTo>
                <a:lnTo>
                  <a:pt x="3303517" y="5677208"/>
                </a:lnTo>
                <a:lnTo>
                  <a:pt x="3033842" y="5775272"/>
                </a:lnTo>
                <a:lnTo>
                  <a:pt x="2899005" y="5812046"/>
                </a:lnTo>
                <a:lnTo>
                  <a:pt x="2764168" y="5848820"/>
                </a:lnTo>
                <a:lnTo>
                  <a:pt x="2641588" y="5873336"/>
                </a:lnTo>
                <a:lnTo>
                  <a:pt x="2519009" y="5861078"/>
                </a:lnTo>
                <a:lnTo>
                  <a:pt x="2911263" y="5750756"/>
                </a:lnTo>
                <a:lnTo>
                  <a:pt x="3315775" y="5640435"/>
                </a:lnTo>
                <a:lnTo>
                  <a:pt x="3708030" y="5493339"/>
                </a:lnTo>
                <a:lnTo>
                  <a:pt x="4112541" y="5333985"/>
                </a:lnTo>
                <a:lnTo>
                  <a:pt x="4002221" y="5419791"/>
                </a:lnTo>
                <a:lnTo>
                  <a:pt x="4137057" y="5383017"/>
                </a:lnTo>
                <a:lnTo>
                  <a:pt x="4271895" y="5321727"/>
                </a:lnTo>
                <a:lnTo>
                  <a:pt x="4394475" y="5260438"/>
                </a:lnTo>
                <a:lnTo>
                  <a:pt x="4517054" y="5186890"/>
                </a:lnTo>
                <a:lnTo>
                  <a:pt x="4762213" y="5027536"/>
                </a:lnTo>
                <a:lnTo>
                  <a:pt x="4995114" y="4855925"/>
                </a:lnTo>
                <a:lnTo>
                  <a:pt x="4774471" y="5003020"/>
                </a:lnTo>
                <a:lnTo>
                  <a:pt x="4553828" y="5125600"/>
                </a:lnTo>
                <a:lnTo>
                  <a:pt x="4333185" y="5235922"/>
                </a:lnTo>
                <a:lnTo>
                  <a:pt x="4112541" y="5333985"/>
                </a:lnTo>
                <a:lnTo>
                  <a:pt x="4308669" y="5211406"/>
                </a:lnTo>
                <a:lnTo>
                  <a:pt x="4541570" y="5088826"/>
                </a:lnTo>
                <a:lnTo>
                  <a:pt x="4455765" y="5113342"/>
                </a:lnTo>
                <a:lnTo>
                  <a:pt x="4357701" y="5137858"/>
                </a:lnTo>
                <a:lnTo>
                  <a:pt x="4149315" y="5211406"/>
                </a:lnTo>
                <a:lnTo>
                  <a:pt x="3904157" y="5321727"/>
                </a:lnTo>
                <a:lnTo>
                  <a:pt x="3634482" y="5432049"/>
                </a:lnTo>
                <a:lnTo>
                  <a:pt x="3830609" y="5333985"/>
                </a:lnTo>
                <a:lnTo>
                  <a:pt x="4014478" y="5235922"/>
                </a:lnTo>
                <a:lnTo>
                  <a:pt x="4186089" y="5113342"/>
                </a:lnTo>
                <a:lnTo>
                  <a:pt x="4345443" y="4990762"/>
                </a:lnTo>
                <a:lnTo>
                  <a:pt x="3806093" y="5223664"/>
                </a:lnTo>
                <a:lnTo>
                  <a:pt x="3536419" y="5321727"/>
                </a:lnTo>
                <a:lnTo>
                  <a:pt x="3254485" y="5407533"/>
                </a:lnTo>
                <a:lnTo>
                  <a:pt x="3548677" y="5284954"/>
                </a:lnTo>
                <a:lnTo>
                  <a:pt x="3830609" y="5150116"/>
                </a:lnTo>
                <a:lnTo>
                  <a:pt x="4075768" y="5052052"/>
                </a:lnTo>
                <a:lnTo>
                  <a:pt x="4320927" y="4929472"/>
                </a:lnTo>
                <a:lnTo>
                  <a:pt x="4553828" y="4794635"/>
                </a:lnTo>
                <a:lnTo>
                  <a:pt x="4786729" y="4647539"/>
                </a:lnTo>
                <a:lnTo>
                  <a:pt x="4749955" y="4684313"/>
                </a:lnTo>
                <a:lnTo>
                  <a:pt x="4811245" y="4623024"/>
                </a:lnTo>
                <a:lnTo>
                  <a:pt x="4982856" y="4488186"/>
                </a:lnTo>
                <a:lnTo>
                  <a:pt x="5142210" y="4328833"/>
                </a:lnTo>
                <a:lnTo>
                  <a:pt x="5215757" y="4255285"/>
                </a:lnTo>
                <a:lnTo>
                  <a:pt x="5264789" y="4169480"/>
                </a:lnTo>
                <a:lnTo>
                  <a:pt x="5301563" y="4071416"/>
                </a:lnTo>
                <a:lnTo>
                  <a:pt x="5338337" y="3973352"/>
                </a:lnTo>
                <a:lnTo>
                  <a:pt x="5375111" y="3912063"/>
                </a:lnTo>
                <a:lnTo>
                  <a:pt x="5375111" y="3948836"/>
                </a:lnTo>
                <a:lnTo>
                  <a:pt x="5375111" y="3961094"/>
                </a:lnTo>
                <a:lnTo>
                  <a:pt x="5387369" y="3961094"/>
                </a:lnTo>
                <a:lnTo>
                  <a:pt x="5424143" y="3924321"/>
                </a:lnTo>
                <a:lnTo>
                  <a:pt x="5497691" y="3801742"/>
                </a:lnTo>
                <a:lnTo>
                  <a:pt x="5546723" y="3679163"/>
                </a:lnTo>
                <a:lnTo>
                  <a:pt x="5583495" y="3532067"/>
                </a:lnTo>
                <a:lnTo>
                  <a:pt x="5608011" y="3397229"/>
                </a:lnTo>
                <a:lnTo>
                  <a:pt x="5608011" y="3237875"/>
                </a:lnTo>
                <a:lnTo>
                  <a:pt x="5608011" y="3090780"/>
                </a:lnTo>
                <a:lnTo>
                  <a:pt x="5583495" y="2772074"/>
                </a:lnTo>
                <a:lnTo>
                  <a:pt x="5558979" y="2674010"/>
                </a:lnTo>
                <a:lnTo>
                  <a:pt x="5509949" y="2575946"/>
                </a:lnTo>
                <a:lnTo>
                  <a:pt x="5448659" y="2477883"/>
                </a:lnTo>
                <a:lnTo>
                  <a:pt x="5362853" y="2392077"/>
                </a:lnTo>
                <a:lnTo>
                  <a:pt x="5338337" y="2343045"/>
                </a:lnTo>
                <a:lnTo>
                  <a:pt x="5301563" y="2330787"/>
                </a:lnTo>
                <a:lnTo>
                  <a:pt x="5289305" y="2318529"/>
                </a:lnTo>
                <a:lnTo>
                  <a:pt x="5252531" y="2318529"/>
                </a:lnTo>
                <a:lnTo>
                  <a:pt x="5228015" y="2306271"/>
                </a:lnTo>
                <a:lnTo>
                  <a:pt x="5203499" y="2281756"/>
                </a:lnTo>
                <a:lnTo>
                  <a:pt x="5277047" y="2367561"/>
                </a:lnTo>
                <a:lnTo>
                  <a:pt x="5338337" y="2453367"/>
                </a:lnTo>
                <a:lnTo>
                  <a:pt x="5399627" y="2551430"/>
                </a:lnTo>
                <a:lnTo>
                  <a:pt x="5448659" y="2649494"/>
                </a:lnTo>
                <a:lnTo>
                  <a:pt x="5485433" y="2747558"/>
                </a:lnTo>
                <a:lnTo>
                  <a:pt x="5522207" y="2845621"/>
                </a:lnTo>
                <a:lnTo>
                  <a:pt x="5534465" y="2955943"/>
                </a:lnTo>
                <a:lnTo>
                  <a:pt x="5546723" y="3066264"/>
                </a:lnTo>
                <a:lnTo>
                  <a:pt x="5558979" y="3176586"/>
                </a:lnTo>
                <a:lnTo>
                  <a:pt x="5546723" y="3286907"/>
                </a:lnTo>
                <a:lnTo>
                  <a:pt x="5546723" y="3397229"/>
                </a:lnTo>
                <a:lnTo>
                  <a:pt x="5522207" y="3507551"/>
                </a:lnTo>
                <a:lnTo>
                  <a:pt x="5497691" y="3617873"/>
                </a:lnTo>
                <a:lnTo>
                  <a:pt x="5460917" y="3715936"/>
                </a:lnTo>
                <a:lnTo>
                  <a:pt x="5424143" y="3826258"/>
                </a:lnTo>
                <a:lnTo>
                  <a:pt x="5375111" y="3912063"/>
                </a:lnTo>
                <a:lnTo>
                  <a:pt x="5375111" y="3801742"/>
                </a:lnTo>
                <a:lnTo>
                  <a:pt x="5362853" y="3887547"/>
                </a:lnTo>
                <a:lnTo>
                  <a:pt x="5338337" y="3973352"/>
                </a:lnTo>
                <a:lnTo>
                  <a:pt x="5264789" y="4095932"/>
                </a:lnTo>
                <a:lnTo>
                  <a:pt x="5178983" y="4206253"/>
                </a:lnTo>
                <a:lnTo>
                  <a:pt x="5007372" y="4414638"/>
                </a:lnTo>
                <a:lnTo>
                  <a:pt x="5044146" y="4353349"/>
                </a:lnTo>
                <a:lnTo>
                  <a:pt x="5068662" y="4279801"/>
                </a:lnTo>
                <a:lnTo>
                  <a:pt x="4933824" y="4414638"/>
                </a:lnTo>
                <a:lnTo>
                  <a:pt x="4786729" y="4537218"/>
                </a:lnTo>
                <a:lnTo>
                  <a:pt x="4639634" y="4659797"/>
                </a:lnTo>
                <a:lnTo>
                  <a:pt x="4480281" y="4770119"/>
                </a:lnTo>
                <a:lnTo>
                  <a:pt x="4161573" y="4966246"/>
                </a:lnTo>
                <a:lnTo>
                  <a:pt x="3830609" y="5150116"/>
                </a:lnTo>
                <a:lnTo>
                  <a:pt x="3499645" y="5272696"/>
                </a:lnTo>
                <a:lnTo>
                  <a:pt x="3156422" y="5370759"/>
                </a:lnTo>
                <a:lnTo>
                  <a:pt x="2825457" y="5456565"/>
                </a:lnTo>
                <a:lnTo>
                  <a:pt x="2482235" y="5530113"/>
                </a:lnTo>
                <a:lnTo>
                  <a:pt x="2678362" y="5517855"/>
                </a:lnTo>
                <a:lnTo>
                  <a:pt x="2874489" y="5493339"/>
                </a:lnTo>
                <a:lnTo>
                  <a:pt x="3058358" y="5456565"/>
                </a:lnTo>
                <a:lnTo>
                  <a:pt x="3254485" y="5407533"/>
                </a:lnTo>
                <a:lnTo>
                  <a:pt x="3009326" y="5493339"/>
                </a:lnTo>
                <a:lnTo>
                  <a:pt x="2751910" y="5579145"/>
                </a:lnTo>
                <a:lnTo>
                  <a:pt x="2494493" y="5652692"/>
                </a:lnTo>
                <a:lnTo>
                  <a:pt x="2237076" y="5726240"/>
                </a:lnTo>
                <a:lnTo>
                  <a:pt x="1979659" y="5787530"/>
                </a:lnTo>
                <a:lnTo>
                  <a:pt x="1722242" y="5824304"/>
                </a:lnTo>
                <a:lnTo>
                  <a:pt x="1452567" y="5861078"/>
                </a:lnTo>
                <a:lnTo>
                  <a:pt x="1195150" y="5897852"/>
                </a:lnTo>
                <a:lnTo>
                  <a:pt x="1379020" y="5750756"/>
                </a:lnTo>
                <a:lnTo>
                  <a:pt x="1464825" y="5689466"/>
                </a:lnTo>
                <a:lnTo>
                  <a:pt x="1471829" y="5682462"/>
                </a:lnTo>
                <a:lnTo>
                  <a:pt x="1366762" y="5713982"/>
                </a:lnTo>
                <a:lnTo>
                  <a:pt x="1312834" y="5728689"/>
                </a:lnTo>
                <a:lnTo>
                  <a:pt x="1472035" y="5682256"/>
                </a:lnTo>
                <a:lnTo>
                  <a:pt x="1501599" y="5652692"/>
                </a:lnTo>
                <a:lnTo>
                  <a:pt x="1526115" y="5603661"/>
                </a:lnTo>
                <a:lnTo>
                  <a:pt x="1513857" y="5591403"/>
                </a:lnTo>
                <a:lnTo>
                  <a:pt x="1489341" y="5591403"/>
                </a:lnTo>
                <a:lnTo>
                  <a:pt x="1415793" y="5579145"/>
                </a:lnTo>
                <a:lnTo>
                  <a:pt x="1379020" y="5566887"/>
                </a:lnTo>
                <a:lnTo>
                  <a:pt x="1379020" y="5554629"/>
                </a:lnTo>
                <a:lnTo>
                  <a:pt x="1415793" y="5542371"/>
                </a:lnTo>
                <a:lnTo>
                  <a:pt x="1575147" y="5468823"/>
                </a:lnTo>
                <a:lnTo>
                  <a:pt x="1722242" y="5419791"/>
                </a:lnTo>
                <a:lnTo>
                  <a:pt x="1991917" y="5333985"/>
                </a:lnTo>
                <a:lnTo>
                  <a:pt x="2102238" y="5284954"/>
                </a:lnTo>
                <a:lnTo>
                  <a:pt x="2188044" y="5223664"/>
                </a:lnTo>
                <a:lnTo>
                  <a:pt x="2237076" y="5199148"/>
                </a:lnTo>
                <a:lnTo>
                  <a:pt x="2261591" y="5150116"/>
                </a:lnTo>
                <a:lnTo>
                  <a:pt x="2298365" y="5113342"/>
                </a:lnTo>
                <a:lnTo>
                  <a:pt x="2322881" y="5052052"/>
                </a:lnTo>
                <a:lnTo>
                  <a:pt x="2322881" y="5039794"/>
                </a:lnTo>
                <a:lnTo>
                  <a:pt x="2298365" y="5027536"/>
                </a:lnTo>
                <a:lnTo>
                  <a:pt x="2249333" y="4990762"/>
                </a:lnTo>
                <a:lnTo>
                  <a:pt x="2077722" y="4917214"/>
                </a:lnTo>
                <a:lnTo>
                  <a:pt x="1991917" y="4880440"/>
                </a:lnTo>
                <a:lnTo>
                  <a:pt x="1930627" y="4843667"/>
                </a:lnTo>
                <a:lnTo>
                  <a:pt x="1918369" y="4819151"/>
                </a:lnTo>
                <a:lnTo>
                  <a:pt x="1906111" y="4806893"/>
                </a:lnTo>
                <a:lnTo>
                  <a:pt x="1906111" y="4782377"/>
                </a:lnTo>
                <a:lnTo>
                  <a:pt x="1930627" y="4770119"/>
                </a:lnTo>
                <a:lnTo>
                  <a:pt x="2531267" y="4549476"/>
                </a:lnTo>
                <a:lnTo>
                  <a:pt x="2751910" y="4488186"/>
                </a:lnTo>
                <a:lnTo>
                  <a:pt x="2764168" y="4475928"/>
                </a:lnTo>
                <a:lnTo>
                  <a:pt x="2776426" y="4451412"/>
                </a:lnTo>
                <a:lnTo>
                  <a:pt x="3131906" y="4316575"/>
                </a:lnTo>
                <a:lnTo>
                  <a:pt x="3389323" y="4218511"/>
                </a:lnTo>
                <a:lnTo>
                  <a:pt x="3536419" y="4169480"/>
                </a:lnTo>
                <a:lnTo>
                  <a:pt x="3573193" y="4169480"/>
                </a:lnTo>
                <a:lnTo>
                  <a:pt x="3622224" y="4193995"/>
                </a:lnTo>
                <a:lnTo>
                  <a:pt x="3683514" y="4108190"/>
                </a:lnTo>
                <a:lnTo>
                  <a:pt x="3855125" y="4034642"/>
                </a:lnTo>
                <a:lnTo>
                  <a:pt x="4014478" y="3936579"/>
                </a:lnTo>
                <a:lnTo>
                  <a:pt x="4124799" y="3912063"/>
                </a:lnTo>
                <a:lnTo>
                  <a:pt x="4222864" y="3875290"/>
                </a:lnTo>
                <a:lnTo>
                  <a:pt x="4198348" y="3863031"/>
                </a:lnTo>
                <a:lnTo>
                  <a:pt x="4186089" y="3838516"/>
                </a:lnTo>
                <a:lnTo>
                  <a:pt x="4345443" y="3715936"/>
                </a:lnTo>
                <a:lnTo>
                  <a:pt x="4468023" y="3581099"/>
                </a:lnTo>
                <a:lnTo>
                  <a:pt x="4541570" y="3556582"/>
                </a:lnTo>
                <a:lnTo>
                  <a:pt x="4615118" y="3532067"/>
                </a:lnTo>
                <a:lnTo>
                  <a:pt x="4602860" y="3470777"/>
                </a:lnTo>
                <a:lnTo>
                  <a:pt x="4600409" y="3460971"/>
                </a:lnTo>
                <a:lnTo>
                  <a:pt x="4590605" y="3470775"/>
                </a:lnTo>
                <a:lnTo>
                  <a:pt x="4590605" y="3495291"/>
                </a:lnTo>
                <a:lnTo>
                  <a:pt x="4529315" y="3470775"/>
                </a:lnTo>
                <a:lnTo>
                  <a:pt x="4594104" y="3405986"/>
                </a:lnTo>
                <a:lnTo>
                  <a:pt x="4615118" y="3311423"/>
                </a:lnTo>
                <a:lnTo>
                  <a:pt x="4627376" y="3213360"/>
                </a:lnTo>
                <a:lnTo>
                  <a:pt x="4627376" y="3152070"/>
                </a:lnTo>
                <a:lnTo>
                  <a:pt x="4615118" y="3090780"/>
                </a:lnTo>
                <a:lnTo>
                  <a:pt x="4602860" y="3054006"/>
                </a:lnTo>
                <a:lnTo>
                  <a:pt x="4553828" y="2980459"/>
                </a:lnTo>
                <a:lnTo>
                  <a:pt x="4566086" y="2919169"/>
                </a:lnTo>
                <a:lnTo>
                  <a:pt x="4529312" y="2906911"/>
                </a:lnTo>
                <a:lnTo>
                  <a:pt x="4492538" y="2894653"/>
                </a:lnTo>
                <a:lnTo>
                  <a:pt x="4345443" y="2674010"/>
                </a:lnTo>
                <a:lnTo>
                  <a:pt x="4296411" y="2674010"/>
                </a:lnTo>
                <a:lnTo>
                  <a:pt x="4271895" y="2674010"/>
                </a:lnTo>
                <a:lnTo>
                  <a:pt x="4247380" y="2674010"/>
                </a:lnTo>
                <a:lnTo>
                  <a:pt x="4161573" y="2612720"/>
                </a:lnTo>
                <a:lnTo>
                  <a:pt x="4063510" y="2563688"/>
                </a:lnTo>
                <a:lnTo>
                  <a:pt x="3855125" y="2428851"/>
                </a:lnTo>
                <a:lnTo>
                  <a:pt x="3671256" y="2318529"/>
                </a:lnTo>
                <a:lnTo>
                  <a:pt x="3475129" y="2220466"/>
                </a:lnTo>
                <a:lnTo>
                  <a:pt x="3279001" y="2122402"/>
                </a:lnTo>
                <a:lnTo>
                  <a:pt x="3082874" y="2024339"/>
                </a:lnTo>
                <a:lnTo>
                  <a:pt x="3082874" y="1999823"/>
                </a:lnTo>
                <a:lnTo>
                  <a:pt x="3082874" y="1963049"/>
                </a:lnTo>
                <a:lnTo>
                  <a:pt x="3046100" y="1963049"/>
                </a:lnTo>
                <a:lnTo>
                  <a:pt x="3009326" y="1963049"/>
                </a:lnTo>
                <a:lnTo>
                  <a:pt x="2972552" y="1950791"/>
                </a:lnTo>
                <a:lnTo>
                  <a:pt x="2935779" y="1950791"/>
                </a:lnTo>
                <a:lnTo>
                  <a:pt x="2948036" y="1938533"/>
                </a:lnTo>
                <a:lnTo>
                  <a:pt x="2948036" y="1926275"/>
                </a:lnTo>
                <a:lnTo>
                  <a:pt x="2874489" y="1926275"/>
                </a:lnTo>
                <a:lnTo>
                  <a:pt x="2813199" y="1901759"/>
                </a:lnTo>
                <a:lnTo>
                  <a:pt x="2764168" y="1877243"/>
                </a:lnTo>
                <a:lnTo>
                  <a:pt x="2690620" y="1840469"/>
                </a:lnTo>
                <a:lnTo>
                  <a:pt x="2653846" y="1852727"/>
                </a:lnTo>
                <a:lnTo>
                  <a:pt x="2617072" y="1864985"/>
                </a:lnTo>
                <a:lnTo>
                  <a:pt x="2580299" y="1852727"/>
                </a:lnTo>
                <a:lnTo>
                  <a:pt x="2531267" y="1815954"/>
                </a:lnTo>
                <a:lnTo>
                  <a:pt x="2494493" y="1791438"/>
                </a:lnTo>
                <a:lnTo>
                  <a:pt x="2445461" y="1779180"/>
                </a:lnTo>
                <a:lnTo>
                  <a:pt x="2396429" y="1779180"/>
                </a:lnTo>
                <a:lnTo>
                  <a:pt x="2310623" y="1779180"/>
                </a:lnTo>
                <a:lnTo>
                  <a:pt x="2237076" y="1791438"/>
                </a:lnTo>
                <a:lnTo>
                  <a:pt x="2089980" y="1791438"/>
                </a:lnTo>
                <a:lnTo>
                  <a:pt x="2016432" y="1803696"/>
                </a:lnTo>
                <a:lnTo>
                  <a:pt x="1955143" y="1815954"/>
                </a:lnTo>
                <a:lnTo>
                  <a:pt x="1906111" y="1828212"/>
                </a:lnTo>
                <a:lnTo>
                  <a:pt x="1869337" y="1852727"/>
                </a:lnTo>
                <a:lnTo>
                  <a:pt x="1869337" y="1815954"/>
                </a:lnTo>
                <a:lnTo>
                  <a:pt x="1881595" y="1779180"/>
                </a:lnTo>
                <a:lnTo>
                  <a:pt x="1893853" y="1742406"/>
                </a:lnTo>
                <a:lnTo>
                  <a:pt x="1918369" y="1717890"/>
                </a:lnTo>
                <a:lnTo>
                  <a:pt x="1991917" y="1668858"/>
                </a:lnTo>
                <a:lnTo>
                  <a:pt x="2077722" y="1632084"/>
                </a:lnTo>
                <a:lnTo>
                  <a:pt x="2310623" y="1583052"/>
                </a:lnTo>
                <a:lnTo>
                  <a:pt x="2580299" y="1534020"/>
                </a:lnTo>
                <a:lnTo>
                  <a:pt x="2420945" y="1497246"/>
                </a:lnTo>
                <a:lnTo>
                  <a:pt x="2249333" y="1484989"/>
                </a:lnTo>
                <a:lnTo>
                  <a:pt x="2089980" y="1484989"/>
                </a:lnTo>
                <a:lnTo>
                  <a:pt x="1942885" y="1521763"/>
                </a:lnTo>
                <a:lnTo>
                  <a:pt x="1869337" y="1534020"/>
                </a:lnTo>
                <a:lnTo>
                  <a:pt x="1808048" y="1558537"/>
                </a:lnTo>
                <a:lnTo>
                  <a:pt x="1709984" y="1619826"/>
                </a:lnTo>
                <a:lnTo>
                  <a:pt x="1624178" y="1681116"/>
                </a:lnTo>
                <a:lnTo>
                  <a:pt x="1575147" y="1705632"/>
                </a:lnTo>
                <a:lnTo>
                  <a:pt x="1538373" y="1717890"/>
                </a:lnTo>
                <a:lnTo>
                  <a:pt x="1501599" y="1717890"/>
                </a:lnTo>
                <a:lnTo>
                  <a:pt x="1477083" y="1693374"/>
                </a:lnTo>
                <a:lnTo>
                  <a:pt x="1477083" y="1644342"/>
                </a:lnTo>
                <a:lnTo>
                  <a:pt x="1477083" y="1595311"/>
                </a:lnTo>
                <a:lnTo>
                  <a:pt x="1501599" y="1534020"/>
                </a:lnTo>
                <a:lnTo>
                  <a:pt x="1550631" y="1460473"/>
                </a:lnTo>
                <a:lnTo>
                  <a:pt x="1611921" y="1386925"/>
                </a:lnTo>
                <a:lnTo>
                  <a:pt x="1697726" y="1325635"/>
                </a:lnTo>
                <a:lnTo>
                  <a:pt x="1748270" y="1296754"/>
                </a:lnTo>
                <a:lnTo>
                  <a:pt x="1790591" y="1169788"/>
                </a:lnTo>
                <a:lnTo>
                  <a:pt x="1863703" y="1005287"/>
                </a:lnTo>
                <a:lnTo>
                  <a:pt x="1899212" y="941371"/>
                </a:lnTo>
                <a:lnTo>
                  <a:pt x="1869337" y="945638"/>
                </a:lnTo>
                <a:lnTo>
                  <a:pt x="1771274" y="957896"/>
                </a:lnTo>
                <a:lnTo>
                  <a:pt x="1673210" y="982412"/>
                </a:lnTo>
                <a:lnTo>
                  <a:pt x="1562889" y="1019186"/>
                </a:lnTo>
                <a:lnTo>
                  <a:pt x="1452567" y="1080476"/>
                </a:lnTo>
                <a:lnTo>
                  <a:pt x="1342246" y="1154024"/>
                </a:lnTo>
                <a:lnTo>
                  <a:pt x="1244182" y="1252087"/>
                </a:lnTo>
                <a:lnTo>
                  <a:pt x="1158376" y="1350151"/>
                </a:lnTo>
                <a:lnTo>
                  <a:pt x="1084828" y="1472731"/>
                </a:lnTo>
                <a:lnTo>
                  <a:pt x="1023539" y="1583052"/>
                </a:lnTo>
                <a:lnTo>
                  <a:pt x="974507" y="1693374"/>
                </a:lnTo>
                <a:lnTo>
                  <a:pt x="913217" y="1889501"/>
                </a:lnTo>
                <a:lnTo>
                  <a:pt x="937733" y="1779180"/>
                </a:lnTo>
                <a:lnTo>
                  <a:pt x="974507" y="1668858"/>
                </a:lnTo>
                <a:lnTo>
                  <a:pt x="1023539" y="1558537"/>
                </a:lnTo>
                <a:lnTo>
                  <a:pt x="1084828" y="1448215"/>
                </a:lnTo>
                <a:lnTo>
                  <a:pt x="1158376" y="1337893"/>
                </a:lnTo>
                <a:lnTo>
                  <a:pt x="1244182" y="1239829"/>
                </a:lnTo>
                <a:lnTo>
                  <a:pt x="1329988" y="1141766"/>
                </a:lnTo>
                <a:lnTo>
                  <a:pt x="1440309" y="1068218"/>
                </a:lnTo>
                <a:lnTo>
                  <a:pt x="1538373" y="1019186"/>
                </a:lnTo>
                <a:lnTo>
                  <a:pt x="1648694" y="970154"/>
                </a:lnTo>
                <a:lnTo>
                  <a:pt x="1746758" y="933380"/>
                </a:lnTo>
                <a:lnTo>
                  <a:pt x="1832563" y="921123"/>
                </a:lnTo>
                <a:lnTo>
                  <a:pt x="1920198" y="903596"/>
                </a:lnTo>
                <a:lnTo>
                  <a:pt x="1955092" y="840785"/>
                </a:lnTo>
                <a:lnTo>
                  <a:pt x="2064760" y="676284"/>
                </a:lnTo>
                <a:lnTo>
                  <a:pt x="2192705" y="530060"/>
                </a:lnTo>
                <a:lnTo>
                  <a:pt x="2320651" y="383836"/>
                </a:lnTo>
                <a:lnTo>
                  <a:pt x="2485152" y="274169"/>
                </a:lnTo>
                <a:lnTo>
                  <a:pt x="2631376" y="201057"/>
                </a:lnTo>
                <a:lnTo>
                  <a:pt x="2795877" y="127945"/>
                </a:lnTo>
                <a:lnTo>
                  <a:pt x="2942101" y="73111"/>
                </a:lnTo>
                <a:lnTo>
                  <a:pt x="3070046" y="5483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anchor="t">
            <a:noAutofit/>
          </a:bodyPr>
          <a:lstStyle>
            <a:lvl1pPr marL="0" marR="0" indent="0" algn="r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2000"/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US" dirty="0"/>
              <a:t>Drag and Drop Image Here</a:t>
            </a:r>
          </a:p>
        </p:txBody>
      </p:sp>
    </p:spTree>
    <p:extLst>
      <p:ext uri="{BB962C8B-B14F-4D97-AF65-F5344CB8AC3E}">
        <p14:creationId xmlns:p14="http://schemas.microsoft.com/office/powerpoint/2010/main" val="39432850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4">
            <a:extLst>
              <a:ext uri="{FF2B5EF4-FFF2-40B4-BE49-F238E27FC236}">
                <a16:creationId xmlns:a16="http://schemas.microsoft.com/office/drawing/2014/main" id="{9CEB53AB-19F7-425A-BA63-00721477B90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1" y="302134"/>
            <a:ext cx="10328223" cy="6253733"/>
          </a:xfrm>
          <a:custGeom>
            <a:avLst/>
            <a:gdLst>
              <a:gd name="connsiteX0" fmla="*/ 5097780 w 8602980"/>
              <a:gd name="connsiteY0" fmla="*/ 2481873 h 5209100"/>
              <a:gd name="connsiteX1" fmla="*/ 5117377 w 8602980"/>
              <a:gd name="connsiteY1" fmla="*/ 2504269 h 5209100"/>
              <a:gd name="connsiteX2" fmla="*/ 5133122 w 8602980"/>
              <a:gd name="connsiteY2" fmla="*/ 2511421 h 5209100"/>
              <a:gd name="connsiteX3" fmla="*/ 8435975 w 8602980"/>
              <a:gd name="connsiteY3" fmla="*/ 1945835 h 5209100"/>
              <a:gd name="connsiteX4" fmla="*/ 8435975 w 8602980"/>
              <a:gd name="connsiteY4" fmla="*/ 2083888 h 5209100"/>
              <a:gd name="connsiteX5" fmla="*/ 8368791 w 8602980"/>
              <a:gd name="connsiteY5" fmla="*/ 2136571 h 5209100"/>
              <a:gd name="connsiteX6" fmla="*/ 8040009 w 8602980"/>
              <a:gd name="connsiteY6" fmla="*/ 2319276 h 5209100"/>
              <a:gd name="connsiteX7" fmla="*/ 7711226 w 8602980"/>
              <a:gd name="connsiteY7" fmla="*/ 2501981 h 5209100"/>
              <a:gd name="connsiteX8" fmla="*/ 7366842 w 8602980"/>
              <a:gd name="connsiteY8" fmla="*/ 2630538 h 5209100"/>
              <a:gd name="connsiteX9" fmla="*/ 7552743 w 8602980"/>
              <a:gd name="connsiteY9" fmla="*/ 2547648 h 5209100"/>
              <a:gd name="connsiteX10" fmla="*/ 7730842 w 8602980"/>
              <a:gd name="connsiteY10" fmla="*/ 2437685 h 5209100"/>
              <a:gd name="connsiteX11" fmla="*/ 8087042 w 8602980"/>
              <a:gd name="connsiteY11" fmla="*/ 2217758 h 5209100"/>
              <a:gd name="connsiteX12" fmla="*/ 0 w 8602980"/>
              <a:gd name="connsiteY12" fmla="*/ 0 h 5209100"/>
              <a:gd name="connsiteX13" fmla="*/ 58093 w 8602980"/>
              <a:gd name="connsiteY13" fmla="*/ 1032 h 5209100"/>
              <a:gd name="connsiteX14" fmla="*/ 537334 w 8602980"/>
              <a:gd name="connsiteY14" fmla="*/ 9548 h 5209100"/>
              <a:gd name="connsiteX15" fmla="*/ 1016575 w 8602980"/>
              <a:gd name="connsiteY15" fmla="*/ 18066 h 5209100"/>
              <a:gd name="connsiteX16" fmla="*/ 1259092 w 8602980"/>
              <a:gd name="connsiteY16" fmla="*/ 65473 h 5209100"/>
              <a:gd name="connsiteX17" fmla="*/ 1577843 w 8602980"/>
              <a:gd name="connsiteY17" fmla="*/ 178879 h 5209100"/>
              <a:gd name="connsiteX18" fmla="*/ 2264158 w 8602980"/>
              <a:gd name="connsiteY18" fmla="*/ 508915 h 5209100"/>
              <a:gd name="connsiteX19" fmla="*/ 2807816 w 8602980"/>
              <a:gd name="connsiteY19" fmla="*/ 674803 h 5209100"/>
              <a:gd name="connsiteX20" fmla="*/ 3326065 w 8602980"/>
              <a:gd name="connsiteY20" fmla="*/ 818691 h 5209100"/>
              <a:gd name="connsiteX21" fmla="*/ 3810097 w 8602980"/>
              <a:gd name="connsiteY21" fmla="*/ 943116 h 5209100"/>
              <a:gd name="connsiteX22" fmla="*/ 4304942 w 8602980"/>
              <a:gd name="connsiteY22" fmla="*/ 1005781 h 5209100"/>
              <a:gd name="connsiteX23" fmla="*/ 5257403 w 8602980"/>
              <a:gd name="connsiteY23" fmla="*/ 1200482 h 5209100"/>
              <a:gd name="connsiteX24" fmla="*/ 5674009 w 8602980"/>
              <a:gd name="connsiteY24" fmla="*/ 1256370 h 5209100"/>
              <a:gd name="connsiteX25" fmla="*/ 6057401 w 8602980"/>
              <a:gd name="connsiteY25" fmla="*/ 1263183 h 5209100"/>
              <a:gd name="connsiteX26" fmla="*/ 6450601 w 8602980"/>
              <a:gd name="connsiteY26" fmla="*/ 1237849 h 5209100"/>
              <a:gd name="connsiteX27" fmla="*/ 6626694 w 8602980"/>
              <a:gd name="connsiteY27" fmla="*/ 1187108 h 5209100"/>
              <a:gd name="connsiteX28" fmla="*/ 6820398 w 8602980"/>
              <a:gd name="connsiteY28" fmla="*/ 1131292 h 5209100"/>
              <a:gd name="connsiteX29" fmla="*/ 7014101 w 8602980"/>
              <a:gd name="connsiteY29" fmla="*/ 1075477 h 5209100"/>
              <a:gd name="connsiteX30" fmla="*/ 7192200 w 8602980"/>
              <a:gd name="connsiteY30" fmla="*/ 965513 h 5209100"/>
              <a:gd name="connsiteX31" fmla="*/ 7387911 w 8602980"/>
              <a:gd name="connsiteY31" fmla="*/ 850476 h 5209100"/>
              <a:gd name="connsiteX32" fmla="*/ 7593428 w 8602980"/>
              <a:gd name="connsiteY32" fmla="*/ 703290 h 5209100"/>
              <a:gd name="connsiteX33" fmla="*/ 7673674 w 8602980"/>
              <a:gd name="connsiteY33" fmla="*/ 650845 h 5209100"/>
              <a:gd name="connsiteX34" fmla="*/ 7761719 w 8602980"/>
              <a:gd name="connsiteY34" fmla="*/ 625474 h 5209100"/>
              <a:gd name="connsiteX35" fmla="*/ 7857568 w 8602980"/>
              <a:gd name="connsiteY35" fmla="*/ 627178 h 5209100"/>
              <a:gd name="connsiteX36" fmla="*/ 7933801 w 8602980"/>
              <a:gd name="connsiteY36" fmla="*/ 693178 h 5209100"/>
              <a:gd name="connsiteX37" fmla="*/ 7959211 w 8602980"/>
              <a:gd name="connsiteY37" fmla="*/ 715178 h 5209100"/>
              <a:gd name="connsiteX38" fmla="*/ 7992424 w 8602980"/>
              <a:gd name="connsiteY38" fmla="*/ 764252 h 5209100"/>
              <a:gd name="connsiteX39" fmla="*/ 7982616 w 8602980"/>
              <a:gd name="connsiteY39" fmla="*/ 796401 h 5209100"/>
              <a:gd name="connsiteX40" fmla="*/ 7980609 w 8602980"/>
              <a:gd name="connsiteY40" fmla="*/ 855621 h 5209100"/>
              <a:gd name="connsiteX41" fmla="*/ 7931569 w 8602980"/>
              <a:gd name="connsiteY41" fmla="*/ 1016364 h 5209100"/>
              <a:gd name="connsiteX42" fmla="*/ 7794483 w 8602980"/>
              <a:gd name="connsiteY42" fmla="*/ 1202476 h 5209100"/>
              <a:gd name="connsiteX43" fmla="*/ 7479296 w 8602980"/>
              <a:gd name="connsiteY43" fmla="*/ 1498551 h 5209100"/>
              <a:gd name="connsiteX44" fmla="*/ 7326606 w 8602980"/>
              <a:gd name="connsiteY44" fmla="*/ 1630515 h 5209100"/>
              <a:gd name="connsiteX45" fmla="*/ 7148506 w 8602980"/>
              <a:gd name="connsiteY45" fmla="*/ 1740478 h 5209100"/>
              <a:gd name="connsiteX46" fmla="*/ 6988016 w 8602980"/>
              <a:gd name="connsiteY46" fmla="*/ 1845369 h 5209100"/>
              <a:gd name="connsiteX47" fmla="*/ 6819722 w 8602980"/>
              <a:gd name="connsiteY47" fmla="*/ 1923183 h 5209100"/>
              <a:gd name="connsiteX48" fmla="*/ 6643630 w 8602980"/>
              <a:gd name="connsiteY48" fmla="*/ 1973925 h 5209100"/>
              <a:gd name="connsiteX49" fmla="*/ 6467536 w 8602980"/>
              <a:gd name="connsiteY49" fmla="*/ 2024666 h 5209100"/>
              <a:gd name="connsiteX50" fmla="*/ 6477344 w 8602980"/>
              <a:gd name="connsiteY50" fmla="*/ 1992517 h 5209100"/>
              <a:gd name="connsiteX51" fmla="*/ 6522370 w 8602980"/>
              <a:gd name="connsiteY51" fmla="*/ 1950221 h 5209100"/>
              <a:gd name="connsiteX52" fmla="*/ 6620225 w 8602980"/>
              <a:gd name="connsiteY52" fmla="*/ 1892703 h 5209100"/>
              <a:gd name="connsiteX53" fmla="*/ 6725882 w 8602980"/>
              <a:gd name="connsiteY53" fmla="*/ 1862258 h 5209100"/>
              <a:gd name="connsiteX54" fmla="*/ 6815935 w 8602980"/>
              <a:gd name="connsiteY54" fmla="*/ 1777665 h 5209100"/>
              <a:gd name="connsiteX55" fmla="*/ 6291667 w 8602980"/>
              <a:gd name="connsiteY55" fmla="*/ 1811444 h 5209100"/>
              <a:gd name="connsiteX56" fmla="*/ 5777209 w 8602980"/>
              <a:gd name="connsiteY56" fmla="*/ 1813075 h 5209100"/>
              <a:gd name="connsiteX57" fmla="*/ 6135189 w 8602980"/>
              <a:gd name="connsiteY57" fmla="*/ 1797889 h 5209100"/>
              <a:gd name="connsiteX58" fmla="*/ 6495178 w 8602980"/>
              <a:gd name="connsiteY58" fmla="*/ 1723480 h 5209100"/>
              <a:gd name="connsiteX59" fmla="*/ 6276065 w 8602980"/>
              <a:gd name="connsiteY59" fmla="*/ 1757296 h 5209100"/>
              <a:gd name="connsiteX60" fmla="*/ 6039341 w 8602980"/>
              <a:gd name="connsiteY60" fmla="*/ 1796185 h 5209100"/>
              <a:gd name="connsiteX61" fmla="*/ 5787017 w 8602980"/>
              <a:gd name="connsiteY61" fmla="*/ 1780927 h 5209100"/>
              <a:gd name="connsiteX62" fmla="*/ 5534690 w 8602980"/>
              <a:gd name="connsiteY62" fmla="*/ 1765668 h 5209100"/>
              <a:gd name="connsiteX63" fmla="*/ 4996826 w 8602980"/>
              <a:gd name="connsiteY63" fmla="*/ 1686078 h 5209100"/>
              <a:gd name="connsiteX64" fmla="*/ 4408141 w 8602980"/>
              <a:gd name="connsiteY64" fmla="*/ 1562486 h 5209100"/>
              <a:gd name="connsiteX65" fmla="*/ 4296689 w 8602980"/>
              <a:gd name="connsiteY65" fmla="*/ 1506634 h 5209100"/>
              <a:gd name="connsiteX66" fmla="*/ 4202848 w 8602980"/>
              <a:gd name="connsiteY66" fmla="*/ 1445708 h 5209100"/>
              <a:gd name="connsiteX67" fmla="*/ 3974152 w 8602980"/>
              <a:gd name="connsiteY67" fmla="*/ 1247708 h 5209100"/>
              <a:gd name="connsiteX68" fmla="*/ 3863703 w 8602980"/>
              <a:gd name="connsiteY68" fmla="*/ 1162246 h 5209100"/>
              <a:gd name="connsiteX69" fmla="*/ 3752253 w 8602980"/>
              <a:gd name="connsiteY69" fmla="*/ 1106393 h 5209100"/>
              <a:gd name="connsiteX70" fmla="*/ 3613384 w 8602980"/>
              <a:gd name="connsiteY70" fmla="*/ 1087765 h 5209100"/>
              <a:gd name="connsiteX71" fmla="*/ 3447098 w 8602980"/>
              <a:gd name="connsiteY71" fmla="*/ 1106359 h 5209100"/>
              <a:gd name="connsiteX72" fmla="*/ 4236060 w 8602980"/>
              <a:gd name="connsiteY72" fmla="*/ 1494782 h 5209100"/>
              <a:gd name="connsiteX73" fmla="*/ 4631043 w 8602980"/>
              <a:gd name="connsiteY73" fmla="*/ 1674188 h 5209100"/>
              <a:gd name="connsiteX74" fmla="*/ 5018224 w 8602980"/>
              <a:gd name="connsiteY74" fmla="*/ 1826522 h 5209100"/>
              <a:gd name="connsiteX75" fmla="*/ 5397603 w 8602980"/>
              <a:gd name="connsiteY75" fmla="*/ 1951780 h 5209100"/>
              <a:gd name="connsiteX76" fmla="*/ 5761380 w 8602980"/>
              <a:gd name="connsiteY76" fmla="*/ 2022891 h 5209100"/>
              <a:gd name="connsiteX77" fmla="*/ 6109554 w 8602980"/>
              <a:gd name="connsiteY77" fmla="*/ 2039852 h 5209100"/>
              <a:gd name="connsiteX78" fmla="*/ 6467536 w 8602980"/>
              <a:gd name="connsiteY78" fmla="*/ 2024666 h 5209100"/>
              <a:gd name="connsiteX79" fmla="*/ 6449927 w 8602980"/>
              <a:gd name="connsiteY79" fmla="*/ 2029739 h 5209100"/>
              <a:gd name="connsiteX80" fmla="*/ 6739478 w 8602980"/>
              <a:gd name="connsiteY80" fmla="*/ 1975628 h 5209100"/>
              <a:gd name="connsiteX81" fmla="*/ 7013426 w 8602980"/>
              <a:gd name="connsiteY81" fmla="*/ 1867367 h 5209100"/>
              <a:gd name="connsiteX82" fmla="*/ 7269766 w 8602980"/>
              <a:gd name="connsiteY82" fmla="*/ 1764181 h 5209100"/>
              <a:gd name="connsiteX83" fmla="*/ 7545720 w 8602980"/>
              <a:gd name="connsiteY83" fmla="*/ 1596699 h 5209100"/>
              <a:gd name="connsiteX84" fmla="*/ 7393030 w 8602980"/>
              <a:gd name="connsiteY84" fmla="*/ 1728662 h 5209100"/>
              <a:gd name="connsiteX85" fmla="*/ 7312786 w 8602980"/>
              <a:gd name="connsiteY85" fmla="*/ 1781107 h 5209100"/>
              <a:gd name="connsiteX86" fmla="*/ 7436051 w 8602980"/>
              <a:gd name="connsiteY86" fmla="*/ 1745588 h 5209100"/>
              <a:gd name="connsiteX87" fmla="*/ 7639562 w 8602980"/>
              <a:gd name="connsiteY87" fmla="*/ 1657624 h 5209100"/>
              <a:gd name="connsiteX88" fmla="*/ 7852881 w 8602980"/>
              <a:gd name="connsiteY88" fmla="*/ 1537513 h 5209100"/>
              <a:gd name="connsiteX89" fmla="*/ 8048590 w 8602980"/>
              <a:gd name="connsiteY89" fmla="*/ 1422476 h 5209100"/>
              <a:gd name="connsiteX90" fmla="*/ 8416126 w 8602980"/>
              <a:gd name="connsiteY90" fmla="*/ 1144515 h 5209100"/>
              <a:gd name="connsiteX91" fmla="*/ 8427720 w 8602980"/>
              <a:gd name="connsiteY91" fmla="*/ 1125513 h 5209100"/>
              <a:gd name="connsiteX92" fmla="*/ 8488680 w 8602980"/>
              <a:gd name="connsiteY92" fmla="*/ 1125513 h 5209100"/>
              <a:gd name="connsiteX93" fmla="*/ 8602980 w 8602980"/>
              <a:gd name="connsiteY93" fmla="*/ 881673 h 5209100"/>
              <a:gd name="connsiteX94" fmla="*/ 8442960 w 8602980"/>
              <a:gd name="connsiteY94" fmla="*/ 1308393 h 5209100"/>
              <a:gd name="connsiteX95" fmla="*/ 8330454 w 8602980"/>
              <a:gd name="connsiteY95" fmla="*/ 1412017 h 5209100"/>
              <a:gd name="connsiteX96" fmla="*/ 8083584 w 8602980"/>
              <a:gd name="connsiteY96" fmla="*/ 1676290 h 5209100"/>
              <a:gd name="connsiteX97" fmla="*/ 7805622 w 8602980"/>
              <a:gd name="connsiteY97" fmla="*/ 1902996 h 5209100"/>
              <a:gd name="connsiteX98" fmla="*/ 7515959 w 8602980"/>
              <a:gd name="connsiteY98" fmla="*/ 2089088 h 5209100"/>
              <a:gd name="connsiteX99" fmla="*/ 7222395 w 8602980"/>
              <a:gd name="connsiteY99" fmla="*/ 2261646 h 5209100"/>
              <a:gd name="connsiteX100" fmla="*/ 6913229 w 8602980"/>
              <a:gd name="connsiteY100" fmla="*/ 2380054 h 5209100"/>
              <a:gd name="connsiteX101" fmla="*/ 6588458 w 8602980"/>
              <a:gd name="connsiteY101" fmla="*/ 2444314 h 5209100"/>
              <a:gd name="connsiteX102" fmla="*/ 6255887 w 8602980"/>
              <a:gd name="connsiteY102" fmla="*/ 2481501 h 5209100"/>
              <a:gd name="connsiteX103" fmla="*/ 5915514 w 8602980"/>
              <a:gd name="connsiteY103" fmla="*/ 2491613 h 5209100"/>
              <a:gd name="connsiteX104" fmla="*/ 5780668 w 8602980"/>
              <a:gd name="connsiteY104" fmla="*/ 2479932 h 5209100"/>
              <a:gd name="connsiteX105" fmla="*/ 6263640 w 8602980"/>
              <a:gd name="connsiteY105" fmla="*/ 2801913 h 5209100"/>
              <a:gd name="connsiteX106" fmla="*/ 5562600 w 8602980"/>
              <a:gd name="connsiteY106" fmla="*/ 2870493 h 5209100"/>
              <a:gd name="connsiteX107" fmla="*/ 5275432 w 8602980"/>
              <a:gd name="connsiteY107" fmla="*/ 2630402 h 5209100"/>
              <a:gd name="connsiteX108" fmla="*/ 5222849 w 8602980"/>
              <a:gd name="connsiteY108" fmla="*/ 2624809 h 5209100"/>
              <a:gd name="connsiteX109" fmla="*/ 5364480 w 8602980"/>
              <a:gd name="connsiteY109" fmla="*/ 2786673 h 5209100"/>
              <a:gd name="connsiteX110" fmla="*/ 4442460 w 8602980"/>
              <a:gd name="connsiteY110" fmla="*/ 2542833 h 5209100"/>
              <a:gd name="connsiteX111" fmla="*/ 5737860 w 8602980"/>
              <a:gd name="connsiteY111" fmla="*/ 3030513 h 5209100"/>
              <a:gd name="connsiteX112" fmla="*/ 6614160 w 8602980"/>
              <a:gd name="connsiteY112" fmla="*/ 2840013 h 5209100"/>
              <a:gd name="connsiteX113" fmla="*/ 6006481 w 8602980"/>
              <a:gd name="connsiteY113" fmla="*/ 3121065 h 5209100"/>
              <a:gd name="connsiteX114" fmla="*/ 6329663 w 8602980"/>
              <a:gd name="connsiteY114" fmla="*/ 3134651 h 5209100"/>
              <a:gd name="connsiteX115" fmla="*/ 6758083 w 8602980"/>
              <a:gd name="connsiteY115" fmla="*/ 3099167 h 5209100"/>
              <a:gd name="connsiteX116" fmla="*/ 7178700 w 8602980"/>
              <a:gd name="connsiteY116" fmla="*/ 3036610 h 5209100"/>
              <a:gd name="connsiteX117" fmla="*/ 7583716 w 8602980"/>
              <a:gd name="connsiteY117" fmla="*/ 2919905 h 5209100"/>
              <a:gd name="connsiteX118" fmla="*/ 7456437 w 8602980"/>
              <a:gd name="connsiteY118" fmla="*/ 3073869 h 5209100"/>
              <a:gd name="connsiteX119" fmla="*/ 7336960 w 8602980"/>
              <a:gd name="connsiteY119" fmla="*/ 3254907 h 5209100"/>
              <a:gd name="connsiteX120" fmla="*/ 7220756 w 8602980"/>
              <a:gd name="connsiteY120" fmla="*/ 3395474 h 5209100"/>
              <a:gd name="connsiteX121" fmla="*/ 7573683 w 8602980"/>
              <a:gd name="connsiteY121" fmla="*/ 3216018 h 5209100"/>
              <a:gd name="connsiteX122" fmla="*/ 7644120 w 8602980"/>
              <a:gd name="connsiteY122" fmla="*/ 3195721 h 5209100"/>
              <a:gd name="connsiteX123" fmla="*/ 7413193 w 8602980"/>
              <a:gd name="connsiteY123" fmla="*/ 3320903 h 5209100"/>
              <a:gd name="connsiteX124" fmla="*/ 7215104 w 8602980"/>
              <a:gd name="connsiteY124" fmla="*/ 3402311 h 5209100"/>
              <a:gd name="connsiteX125" fmla="*/ 7209682 w 8602980"/>
              <a:gd name="connsiteY125" fmla="*/ 3408870 h 5209100"/>
              <a:gd name="connsiteX126" fmla="*/ 7125422 w 8602980"/>
              <a:gd name="connsiteY126" fmla="*/ 3579760 h 5209100"/>
              <a:gd name="connsiteX127" fmla="*/ 7150833 w 8602980"/>
              <a:gd name="connsiteY127" fmla="*/ 3601760 h 5209100"/>
              <a:gd name="connsiteX128" fmla="*/ 7193854 w 8602980"/>
              <a:gd name="connsiteY128" fmla="*/ 3618686 h 5209100"/>
              <a:gd name="connsiteX129" fmla="*/ 7332721 w 8602980"/>
              <a:gd name="connsiteY129" fmla="*/ 3637316 h 5209100"/>
              <a:gd name="connsiteX130" fmla="*/ 7393351 w 8602980"/>
              <a:gd name="connsiteY130" fmla="*/ 3649167 h 5209100"/>
              <a:gd name="connsiteX131" fmla="*/ 7401153 w 8602980"/>
              <a:gd name="connsiteY131" fmla="*/ 3676242 h 5209100"/>
              <a:gd name="connsiteX132" fmla="*/ 7330715 w 8602980"/>
              <a:gd name="connsiteY132" fmla="*/ 3696538 h 5209100"/>
              <a:gd name="connsiteX133" fmla="*/ 7054760 w 8602980"/>
              <a:gd name="connsiteY133" fmla="*/ 3864020 h 5209100"/>
              <a:gd name="connsiteX134" fmla="*/ 6790620 w 8602980"/>
              <a:gd name="connsiteY134" fmla="*/ 3940132 h 5209100"/>
              <a:gd name="connsiteX135" fmla="*/ 6526479 w 8602980"/>
              <a:gd name="connsiteY135" fmla="*/ 4016245 h 5209100"/>
              <a:gd name="connsiteX136" fmla="*/ 6281956 w 8602980"/>
              <a:gd name="connsiteY136" fmla="*/ 4028060 h 5209100"/>
              <a:gd name="connsiteX137" fmla="*/ 6062842 w 8602980"/>
              <a:gd name="connsiteY137" fmla="*/ 4061876 h 5209100"/>
              <a:gd name="connsiteX138" fmla="*/ 5869138 w 8602980"/>
              <a:gd name="connsiteY138" fmla="*/ 4117691 h 5209100"/>
              <a:gd name="connsiteX139" fmla="*/ 5700847 w 8602980"/>
              <a:gd name="connsiteY139" fmla="*/ 4195506 h 5209100"/>
              <a:gd name="connsiteX140" fmla="*/ 5646011 w 8602980"/>
              <a:gd name="connsiteY140" fmla="*/ 4269951 h 5209100"/>
              <a:gd name="connsiteX141" fmla="*/ 5573568 w 8602980"/>
              <a:gd name="connsiteY141" fmla="*/ 4349469 h 5209100"/>
              <a:gd name="connsiteX142" fmla="*/ 5563760 w 8602980"/>
              <a:gd name="connsiteY142" fmla="*/ 4381618 h 5209100"/>
              <a:gd name="connsiteX143" fmla="*/ 5596973 w 8602980"/>
              <a:gd name="connsiteY143" fmla="*/ 4430692 h 5209100"/>
              <a:gd name="connsiteX144" fmla="*/ 5706417 w 8602980"/>
              <a:gd name="connsiteY144" fmla="*/ 4545767 h 5209100"/>
              <a:gd name="connsiteX145" fmla="*/ 6028955 w 8602980"/>
              <a:gd name="connsiteY145" fmla="*/ 4804692 h 5209100"/>
              <a:gd name="connsiteX146" fmla="*/ 6199028 w 8602980"/>
              <a:gd name="connsiteY146" fmla="*/ 4931617 h 5209100"/>
              <a:gd name="connsiteX147" fmla="*/ 6326083 w 8602980"/>
              <a:gd name="connsiteY147" fmla="*/ 5041617 h 5209100"/>
              <a:gd name="connsiteX148" fmla="*/ 6359295 w 8602980"/>
              <a:gd name="connsiteY148" fmla="*/ 5090691 h 5209100"/>
              <a:gd name="connsiteX149" fmla="*/ 6374898 w 8602980"/>
              <a:gd name="connsiteY149" fmla="*/ 5144840 h 5209100"/>
              <a:gd name="connsiteX150" fmla="*/ 6365090 w 8602980"/>
              <a:gd name="connsiteY150" fmla="*/ 5176988 h 5209100"/>
              <a:gd name="connsiteX151" fmla="*/ 6312262 w 8602980"/>
              <a:gd name="connsiteY151" fmla="*/ 5192211 h 5209100"/>
              <a:gd name="connsiteX152" fmla="*/ 6050128 w 8602980"/>
              <a:gd name="connsiteY152" fmla="*/ 5209100 h 5209100"/>
              <a:gd name="connsiteX153" fmla="*/ 5719563 w 8602980"/>
              <a:gd name="connsiteY153" fmla="*/ 5187064 h 5209100"/>
              <a:gd name="connsiteX154" fmla="*/ 5328370 w 8602980"/>
              <a:gd name="connsiteY154" fmla="*/ 5153176 h 5209100"/>
              <a:gd name="connsiteX155" fmla="*/ 4938178 w 8602980"/>
              <a:gd name="connsiteY155" fmla="*/ 5089677 h 5209100"/>
              <a:gd name="connsiteX156" fmla="*/ 4429739 w 8602980"/>
              <a:gd name="connsiteY156" fmla="*/ 4913641 h 5209100"/>
              <a:gd name="connsiteX157" fmla="*/ 4386718 w 8602980"/>
              <a:gd name="connsiteY157" fmla="*/ 4896715 h 5209100"/>
              <a:gd name="connsiteX158" fmla="*/ 4341691 w 8602980"/>
              <a:gd name="connsiteY158" fmla="*/ 4939012 h 5209100"/>
              <a:gd name="connsiteX159" fmla="*/ 3901682 w 8602980"/>
              <a:gd name="connsiteY159" fmla="*/ 4801901 h 5209100"/>
              <a:gd name="connsiteX160" fmla="*/ 3514501 w 8602980"/>
              <a:gd name="connsiteY160" fmla="*/ 4649569 h 5209100"/>
              <a:gd name="connsiteX161" fmla="*/ 3187949 w 8602980"/>
              <a:gd name="connsiteY161" fmla="*/ 4509089 h 5209100"/>
              <a:gd name="connsiteX162" fmla="*/ 2922027 w 8602980"/>
              <a:gd name="connsiteY162" fmla="*/ 4380459 h 5209100"/>
              <a:gd name="connsiteX163" fmla="*/ 2605283 w 8602980"/>
              <a:gd name="connsiteY163" fmla="*/ 4207830 h 5209100"/>
              <a:gd name="connsiteX164" fmla="*/ 2529052 w 8602980"/>
              <a:gd name="connsiteY164" fmla="*/ 4141830 h 5209100"/>
              <a:gd name="connsiteX165" fmla="*/ 2480237 w 8602980"/>
              <a:gd name="connsiteY165" fmla="*/ 4038608 h 5209100"/>
              <a:gd name="connsiteX166" fmla="*/ 2270931 w 8602980"/>
              <a:gd name="connsiteY166" fmla="*/ 4040274 h 5209100"/>
              <a:gd name="connsiteX167" fmla="*/ 1477066 w 8602980"/>
              <a:gd name="connsiteY167" fmla="*/ 3667925 h 5209100"/>
              <a:gd name="connsiteX168" fmla="*/ 1263971 w 8602980"/>
              <a:gd name="connsiteY168" fmla="*/ 3524073 h 5209100"/>
              <a:gd name="connsiteX169" fmla="*/ 1050878 w 8602980"/>
              <a:gd name="connsiteY169" fmla="*/ 3380221 h 5209100"/>
              <a:gd name="connsiteX170" fmla="*/ 1066481 w 8602980"/>
              <a:gd name="connsiteY170" fmla="*/ 3434370 h 5209100"/>
              <a:gd name="connsiteX171" fmla="*/ 1056673 w 8602980"/>
              <a:gd name="connsiteY171" fmla="*/ 3466518 h 5209100"/>
              <a:gd name="connsiteX172" fmla="*/ 1064474 w 8602980"/>
              <a:gd name="connsiteY172" fmla="*/ 3493591 h 5209100"/>
              <a:gd name="connsiteX173" fmla="*/ 599054 w 8602980"/>
              <a:gd name="connsiteY173" fmla="*/ 3334482 h 5209100"/>
              <a:gd name="connsiteX174" fmla="*/ 47594 w 8602980"/>
              <a:gd name="connsiteY174" fmla="*/ 3141520 h 5209100"/>
              <a:gd name="connsiteX175" fmla="*/ 0 w 8602980"/>
              <a:gd name="connsiteY175" fmla="*/ 3109392 h 52091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</a:cxnLst>
            <a:rect l="l" t="t" r="r" b="b"/>
            <a:pathLst>
              <a:path w="8602980" h="5209100">
                <a:moveTo>
                  <a:pt x="5097780" y="2481873"/>
                </a:moveTo>
                <a:lnTo>
                  <a:pt x="5117377" y="2504269"/>
                </a:lnTo>
                <a:lnTo>
                  <a:pt x="5133122" y="2511421"/>
                </a:lnTo>
                <a:close/>
                <a:moveTo>
                  <a:pt x="8435975" y="1945835"/>
                </a:moveTo>
                <a:lnTo>
                  <a:pt x="8435975" y="2083888"/>
                </a:lnTo>
                <a:lnTo>
                  <a:pt x="8368791" y="2136571"/>
                </a:lnTo>
                <a:lnTo>
                  <a:pt x="8040009" y="2319276"/>
                </a:lnTo>
                <a:lnTo>
                  <a:pt x="7711226" y="2501981"/>
                </a:lnTo>
                <a:lnTo>
                  <a:pt x="7366842" y="2630538"/>
                </a:lnTo>
                <a:lnTo>
                  <a:pt x="7552743" y="2547648"/>
                </a:lnTo>
                <a:lnTo>
                  <a:pt x="7730842" y="2437685"/>
                </a:lnTo>
                <a:lnTo>
                  <a:pt x="8087042" y="2217758"/>
                </a:lnTo>
                <a:close/>
                <a:moveTo>
                  <a:pt x="0" y="0"/>
                </a:moveTo>
                <a:lnTo>
                  <a:pt x="58093" y="1032"/>
                </a:lnTo>
                <a:lnTo>
                  <a:pt x="537334" y="9548"/>
                </a:lnTo>
                <a:lnTo>
                  <a:pt x="1016575" y="18066"/>
                </a:lnTo>
                <a:lnTo>
                  <a:pt x="1259092" y="65473"/>
                </a:lnTo>
                <a:lnTo>
                  <a:pt x="1577843" y="178879"/>
                </a:lnTo>
                <a:lnTo>
                  <a:pt x="2264158" y="508915"/>
                </a:lnTo>
                <a:lnTo>
                  <a:pt x="2807816" y="674803"/>
                </a:lnTo>
                <a:lnTo>
                  <a:pt x="3326065" y="818691"/>
                </a:lnTo>
                <a:lnTo>
                  <a:pt x="3810097" y="943116"/>
                </a:lnTo>
                <a:lnTo>
                  <a:pt x="4304942" y="1005781"/>
                </a:lnTo>
                <a:lnTo>
                  <a:pt x="5257403" y="1200482"/>
                </a:lnTo>
                <a:lnTo>
                  <a:pt x="5674009" y="1256370"/>
                </a:lnTo>
                <a:lnTo>
                  <a:pt x="6057401" y="1263183"/>
                </a:lnTo>
                <a:lnTo>
                  <a:pt x="6450601" y="1237849"/>
                </a:lnTo>
                <a:lnTo>
                  <a:pt x="6626694" y="1187108"/>
                </a:lnTo>
                <a:lnTo>
                  <a:pt x="6820398" y="1131292"/>
                </a:lnTo>
                <a:lnTo>
                  <a:pt x="7014101" y="1075477"/>
                </a:lnTo>
                <a:lnTo>
                  <a:pt x="7192200" y="965513"/>
                </a:lnTo>
                <a:lnTo>
                  <a:pt x="7387911" y="850476"/>
                </a:lnTo>
                <a:lnTo>
                  <a:pt x="7593428" y="703290"/>
                </a:lnTo>
                <a:lnTo>
                  <a:pt x="7673674" y="650845"/>
                </a:lnTo>
                <a:lnTo>
                  <a:pt x="7761719" y="625474"/>
                </a:lnTo>
                <a:lnTo>
                  <a:pt x="7857568" y="627178"/>
                </a:lnTo>
                <a:lnTo>
                  <a:pt x="7933801" y="693178"/>
                </a:lnTo>
                <a:lnTo>
                  <a:pt x="7959211" y="715178"/>
                </a:lnTo>
                <a:lnTo>
                  <a:pt x="7992424" y="764252"/>
                </a:lnTo>
                <a:lnTo>
                  <a:pt x="7982616" y="796401"/>
                </a:lnTo>
                <a:lnTo>
                  <a:pt x="7980609" y="855621"/>
                </a:lnTo>
                <a:lnTo>
                  <a:pt x="7931569" y="1016364"/>
                </a:lnTo>
                <a:lnTo>
                  <a:pt x="7794483" y="1202476"/>
                </a:lnTo>
                <a:lnTo>
                  <a:pt x="7479296" y="1498551"/>
                </a:lnTo>
                <a:lnTo>
                  <a:pt x="7326606" y="1630515"/>
                </a:lnTo>
                <a:lnTo>
                  <a:pt x="7148506" y="1740478"/>
                </a:lnTo>
                <a:lnTo>
                  <a:pt x="6988016" y="1845369"/>
                </a:lnTo>
                <a:lnTo>
                  <a:pt x="6819722" y="1923183"/>
                </a:lnTo>
                <a:lnTo>
                  <a:pt x="6643630" y="1973925"/>
                </a:lnTo>
                <a:lnTo>
                  <a:pt x="6467536" y="2024666"/>
                </a:lnTo>
                <a:lnTo>
                  <a:pt x="6477344" y="1992517"/>
                </a:lnTo>
                <a:lnTo>
                  <a:pt x="6522370" y="1950221"/>
                </a:lnTo>
                <a:lnTo>
                  <a:pt x="6620225" y="1892703"/>
                </a:lnTo>
                <a:lnTo>
                  <a:pt x="6725882" y="1862258"/>
                </a:lnTo>
                <a:lnTo>
                  <a:pt x="6815935" y="1777665"/>
                </a:lnTo>
                <a:lnTo>
                  <a:pt x="6291667" y="1811444"/>
                </a:lnTo>
                <a:lnTo>
                  <a:pt x="5777209" y="1813075"/>
                </a:lnTo>
                <a:lnTo>
                  <a:pt x="6135189" y="1797889"/>
                </a:lnTo>
                <a:lnTo>
                  <a:pt x="6495178" y="1723480"/>
                </a:lnTo>
                <a:lnTo>
                  <a:pt x="6276065" y="1757296"/>
                </a:lnTo>
                <a:lnTo>
                  <a:pt x="6039341" y="1796185"/>
                </a:lnTo>
                <a:lnTo>
                  <a:pt x="5787017" y="1780927"/>
                </a:lnTo>
                <a:lnTo>
                  <a:pt x="5534690" y="1765668"/>
                </a:lnTo>
                <a:lnTo>
                  <a:pt x="4996826" y="1686078"/>
                </a:lnTo>
                <a:lnTo>
                  <a:pt x="4408141" y="1562486"/>
                </a:lnTo>
                <a:lnTo>
                  <a:pt x="4296689" y="1506634"/>
                </a:lnTo>
                <a:lnTo>
                  <a:pt x="4202848" y="1445708"/>
                </a:lnTo>
                <a:lnTo>
                  <a:pt x="3974152" y="1247708"/>
                </a:lnTo>
                <a:lnTo>
                  <a:pt x="3863703" y="1162246"/>
                </a:lnTo>
                <a:lnTo>
                  <a:pt x="3752253" y="1106393"/>
                </a:lnTo>
                <a:lnTo>
                  <a:pt x="3613384" y="1087765"/>
                </a:lnTo>
                <a:lnTo>
                  <a:pt x="3447098" y="1106359"/>
                </a:lnTo>
                <a:lnTo>
                  <a:pt x="4236060" y="1494782"/>
                </a:lnTo>
                <a:lnTo>
                  <a:pt x="4631043" y="1674188"/>
                </a:lnTo>
                <a:lnTo>
                  <a:pt x="5018224" y="1826522"/>
                </a:lnTo>
                <a:lnTo>
                  <a:pt x="5397603" y="1951780"/>
                </a:lnTo>
                <a:lnTo>
                  <a:pt x="5761380" y="2022891"/>
                </a:lnTo>
                <a:lnTo>
                  <a:pt x="6109554" y="2039852"/>
                </a:lnTo>
                <a:lnTo>
                  <a:pt x="6467536" y="2024666"/>
                </a:lnTo>
                <a:lnTo>
                  <a:pt x="6449927" y="2029739"/>
                </a:lnTo>
                <a:lnTo>
                  <a:pt x="6739478" y="1975628"/>
                </a:lnTo>
                <a:lnTo>
                  <a:pt x="7013426" y="1867367"/>
                </a:lnTo>
                <a:lnTo>
                  <a:pt x="7269766" y="1764181"/>
                </a:lnTo>
                <a:lnTo>
                  <a:pt x="7545720" y="1596699"/>
                </a:lnTo>
                <a:lnTo>
                  <a:pt x="7393030" y="1728662"/>
                </a:lnTo>
                <a:lnTo>
                  <a:pt x="7312786" y="1781107"/>
                </a:lnTo>
                <a:lnTo>
                  <a:pt x="7436051" y="1745588"/>
                </a:lnTo>
                <a:lnTo>
                  <a:pt x="7639562" y="1657624"/>
                </a:lnTo>
                <a:lnTo>
                  <a:pt x="7852881" y="1537513"/>
                </a:lnTo>
                <a:lnTo>
                  <a:pt x="8048590" y="1422476"/>
                </a:lnTo>
                <a:lnTo>
                  <a:pt x="8416126" y="1144515"/>
                </a:lnTo>
                <a:lnTo>
                  <a:pt x="8427720" y="1125513"/>
                </a:lnTo>
                <a:lnTo>
                  <a:pt x="8488680" y="1125513"/>
                </a:lnTo>
                <a:lnTo>
                  <a:pt x="8602980" y="881673"/>
                </a:lnTo>
                <a:lnTo>
                  <a:pt x="8442960" y="1308393"/>
                </a:lnTo>
                <a:lnTo>
                  <a:pt x="8330454" y="1412017"/>
                </a:lnTo>
                <a:lnTo>
                  <a:pt x="8083584" y="1676290"/>
                </a:lnTo>
                <a:lnTo>
                  <a:pt x="7805622" y="1902996"/>
                </a:lnTo>
                <a:lnTo>
                  <a:pt x="7515959" y="2089088"/>
                </a:lnTo>
                <a:lnTo>
                  <a:pt x="7222395" y="2261646"/>
                </a:lnTo>
                <a:lnTo>
                  <a:pt x="6913229" y="2380054"/>
                </a:lnTo>
                <a:lnTo>
                  <a:pt x="6588458" y="2444314"/>
                </a:lnTo>
                <a:lnTo>
                  <a:pt x="6255887" y="2481501"/>
                </a:lnTo>
                <a:lnTo>
                  <a:pt x="5915514" y="2491613"/>
                </a:lnTo>
                <a:lnTo>
                  <a:pt x="5780668" y="2479932"/>
                </a:lnTo>
                <a:lnTo>
                  <a:pt x="6263640" y="2801913"/>
                </a:lnTo>
                <a:lnTo>
                  <a:pt x="5562600" y="2870493"/>
                </a:lnTo>
                <a:lnTo>
                  <a:pt x="5275432" y="2630402"/>
                </a:lnTo>
                <a:lnTo>
                  <a:pt x="5222849" y="2624809"/>
                </a:lnTo>
                <a:lnTo>
                  <a:pt x="5364480" y="2786673"/>
                </a:lnTo>
                <a:lnTo>
                  <a:pt x="4442460" y="2542833"/>
                </a:lnTo>
                <a:lnTo>
                  <a:pt x="5737860" y="3030513"/>
                </a:lnTo>
                <a:lnTo>
                  <a:pt x="6614160" y="2840013"/>
                </a:lnTo>
                <a:lnTo>
                  <a:pt x="6006481" y="3121065"/>
                </a:lnTo>
                <a:lnTo>
                  <a:pt x="6329663" y="3134651"/>
                </a:lnTo>
                <a:lnTo>
                  <a:pt x="6758083" y="3099167"/>
                </a:lnTo>
                <a:lnTo>
                  <a:pt x="7178700" y="3036610"/>
                </a:lnTo>
                <a:lnTo>
                  <a:pt x="7583716" y="2919905"/>
                </a:lnTo>
                <a:lnTo>
                  <a:pt x="7456437" y="3073869"/>
                </a:lnTo>
                <a:lnTo>
                  <a:pt x="7336960" y="3254907"/>
                </a:lnTo>
                <a:lnTo>
                  <a:pt x="7220756" y="3395474"/>
                </a:lnTo>
                <a:lnTo>
                  <a:pt x="7573683" y="3216018"/>
                </a:lnTo>
                <a:lnTo>
                  <a:pt x="7644120" y="3195721"/>
                </a:lnTo>
                <a:lnTo>
                  <a:pt x="7413193" y="3320903"/>
                </a:lnTo>
                <a:lnTo>
                  <a:pt x="7215104" y="3402311"/>
                </a:lnTo>
                <a:lnTo>
                  <a:pt x="7209682" y="3408870"/>
                </a:lnTo>
                <a:lnTo>
                  <a:pt x="7125422" y="3579760"/>
                </a:lnTo>
                <a:lnTo>
                  <a:pt x="7150833" y="3601760"/>
                </a:lnTo>
                <a:lnTo>
                  <a:pt x="7193854" y="3618686"/>
                </a:lnTo>
                <a:lnTo>
                  <a:pt x="7332721" y="3637316"/>
                </a:lnTo>
                <a:lnTo>
                  <a:pt x="7393351" y="3649167"/>
                </a:lnTo>
                <a:lnTo>
                  <a:pt x="7401153" y="3676242"/>
                </a:lnTo>
                <a:lnTo>
                  <a:pt x="7330715" y="3696538"/>
                </a:lnTo>
                <a:lnTo>
                  <a:pt x="7054760" y="3864020"/>
                </a:lnTo>
                <a:lnTo>
                  <a:pt x="6790620" y="3940132"/>
                </a:lnTo>
                <a:lnTo>
                  <a:pt x="6526479" y="4016245"/>
                </a:lnTo>
                <a:lnTo>
                  <a:pt x="6281956" y="4028060"/>
                </a:lnTo>
                <a:lnTo>
                  <a:pt x="6062842" y="4061876"/>
                </a:lnTo>
                <a:lnTo>
                  <a:pt x="5869138" y="4117691"/>
                </a:lnTo>
                <a:lnTo>
                  <a:pt x="5700847" y="4195506"/>
                </a:lnTo>
                <a:lnTo>
                  <a:pt x="5646011" y="4269951"/>
                </a:lnTo>
                <a:lnTo>
                  <a:pt x="5573568" y="4349469"/>
                </a:lnTo>
                <a:lnTo>
                  <a:pt x="5563760" y="4381618"/>
                </a:lnTo>
                <a:lnTo>
                  <a:pt x="5596973" y="4430692"/>
                </a:lnTo>
                <a:lnTo>
                  <a:pt x="5706417" y="4545767"/>
                </a:lnTo>
                <a:lnTo>
                  <a:pt x="6028955" y="4804692"/>
                </a:lnTo>
                <a:lnTo>
                  <a:pt x="6199028" y="4931617"/>
                </a:lnTo>
                <a:lnTo>
                  <a:pt x="6326083" y="5041617"/>
                </a:lnTo>
                <a:lnTo>
                  <a:pt x="6359295" y="5090691"/>
                </a:lnTo>
                <a:lnTo>
                  <a:pt x="6374898" y="5144840"/>
                </a:lnTo>
                <a:lnTo>
                  <a:pt x="6365090" y="5176988"/>
                </a:lnTo>
                <a:lnTo>
                  <a:pt x="6312262" y="5192211"/>
                </a:lnTo>
                <a:lnTo>
                  <a:pt x="6050128" y="5209100"/>
                </a:lnTo>
                <a:lnTo>
                  <a:pt x="5719563" y="5187064"/>
                </a:lnTo>
                <a:lnTo>
                  <a:pt x="5328370" y="5153176"/>
                </a:lnTo>
                <a:lnTo>
                  <a:pt x="4938178" y="5089677"/>
                </a:lnTo>
                <a:lnTo>
                  <a:pt x="4429739" y="4913641"/>
                </a:lnTo>
                <a:lnTo>
                  <a:pt x="4386718" y="4896715"/>
                </a:lnTo>
                <a:lnTo>
                  <a:pt x="4341691" y="4939012"/>
                </a:lnTo>
                <a:lnTo>
                  <a:pt x="3901682" y="4801901"/>
                </a:lnTo>
                <a:lnTo>
                  <a:pt x="3514501" y="4649569"/>
                </a:lnTo>
                <a:lnTo>
                  <a:pt x="3187949" y="4509089"/>
                </a:lnTo>
                <a:lnTo>
                  <a:pt x="2922027" y="4380459"/>
                </a:lnTo>
                <a:lnTo>
                  <a:pt x="2605283" y="4207830"/>
                </a:lnTo>
                <a:lnTo>
                  <a:pt x="2529052" y="4141830"/>
                </a:lnTo>
                <a:lnTo>
                  <a:pt x="2480237" y="4038608"/>
                </a:lnTo>
                <a:lnTo>
                  <a:pt x="2270931" y="4040274"/>
                </a:lnTo>
                <a:lnTo>
                  <a:pt x="1477066" y="3667925"/>
                </a:lnTo>
                <a:lnTo>
                  <a:pt x="1263971" y="3524073"/>
                </a:lnTo>
                <a:lnTo>
                  <a:pt x="1050878" y="3380221"/>
                </a:lnTo>
                <a:lnTo>
                  <a:pt x="1066481" y="3434370"/>
                </a:lnTo>
                <a:lnTo>
                  <a:pt x="1056673" y="3466518"/>
                </a:lnTo>
                <a:lnTo>
                  <a:pt x="1064474" y="3493591"/>
                </a:lnTo>
                <a:lnTo>
                  <a:pt x="599054" y="3334482"/>
                </a:lnTo>
                <a:lnTo>
                  <a:pt x="47594" y="3141520"/>
                </a:lnTo>
                <a:lnTo>
                  <a:pt x="0" y="310939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800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58773687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D2DF5DED-C1DC-4B47-970F-2D62DECF9EB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82464" y="0"/>
            <a:ext cx="3686255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90009075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EF5C92A7-4D3D-4868-9DC3-9AF4F771D14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31343" y="2138516"/>
            <a:ext cx="8460658" cy="471948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41614633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4">
            <a:extLst>
              <a:ext uri="{FF2B5EF4-FFF2-40B4-BE49-F238E27FC236}">
                <a16:creationId xmlns:a16="http://schemas.microsoft.com/office/drawing/2014/main" id="{4C72E6AC-B860-4F3C-9C11-BE23775766B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460812" y="0"/>
            <a:ext cx="3585027" cy="4699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0372987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>
            <a:extLst>
              <a:ext uri="{FF2B5EF4-FFF2-40B4-BE49-F238E27FC236}">
                <a16:creationId xmlns:a16="http://schemas.microsoft.com/office/drawing/2014/main" id="{1412F020-F980-4695-AECD-5883DA6956C0}"/>
              </a:ext>
            </a:extLst>
          </p:cNvPr>
          <p:cNvSpPr/>
          <p:nvPr userDrawn="1"/>
        </p:nvSpPr>
        <p:spPr>
          <a:xfrm>
            <a:off x="0" y="-25566"/>
            <a:ext cx="12236477" cy="6437653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latin typeface="+mn-lt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96B308-E5D1-49FF-9D8A-C77F6070DD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028" y="522400"/>
            <a:ext cx="11141551" cy="589420"/>
          </a:xfrm>
        </p:spPr>
        <p:txBody>
          <a:bodyPr/>
          <a:lstStyle>
            <a:lvl1pPr>
              <a:defRPr>
                <a:solidFill>
                  <a:srgbClr val="ED1267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81A783F-C0C7-477B-A78C-F1E5CB637B7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2A05F7-D89E-488C-A1E3-C8C94A42E3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D71B394F-8036-4BBF-B15D-8E52E59235A0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  <p:sp>
        <p:nvSpPr>
          <p:cNvPr id="8" name="Text Placeholder 30">
            <a:extLst>
              <a:ext uri="{FF2B5EF4-FFF2-40B4-BE49-F238E27FC236}">
                <a16:creationId xmlns:a16="http://schemas.microsoft.com/office/drawing/2014/main" id="{C847ED35-9C4A-4D1C-A8C6-E7BD3E628DFD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528061" y="1750320"/>
            <a:ext cx="2523167" cy="806026"/>
          </a:xfrm>
        </p:spPr>
        <p:txBody>
          <a:bodyPr anchor="ctr"/>
          <a:lstStyle>
            <a:lvl1pPr>
              <a:defRPr sz="160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9" name="Text Placeholder 30">
            <a:extLst>
              <a:ext uri="{FF2B5EF4-FFF2-40B4-BE49-F238E27FC236}">
                <a16:creationId xmlns:a16="http://schemas.microsoft.com/office/drawing/2014/main" id="{659B03DD-D84D-4F97-BAAF-32C833C38C46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528062" y="2633282"/>
            <a:ext cx="2523167" cy="898906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0" name="Text Placeholder 30">
            <a:extLst>
              <a:ext uri="{FF2B5EF4-FFF2-40B4-BE49-F238E27FC236}">
                <a16:creationId xmlns:a16="http://schemas.microsoft.com/office/drawing/2014/main" id="{852A76E8-10F3-4233-AC6C-B8595F930E4C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28061" y="3543960"/>
            <a:ext cx="2523167" cy="86551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1" name="Text Placeholder 30">
            <a:extLst>
              <a:ext uri="{FF2B5EF4-FFF2-40B4-BE49-F238E27FC236}">
                <a16:creationId xmlns:a16="http://schemas.microsoft.com/office/drawing/2014/main" id="{ECBC8734-2F7F-4412-8F7F-01EA627785F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28061" y="4413760"/>
            <a:ext cx="2523167" cy="86375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2" name="Text Placeholder 30">
            <a:extLst>
              <a:ext uri="{FF2B5EF4-FFF2-40B4-BE49-F238E27FC236}">
                <a16:creationId xmlns:a16="http://schemas.microsoft.com/office/drawing/2014/main" id="{BBDD6E85-1359-4D6F-85BB-BEE80BF39EF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52555" y="1750320"/>
            <a:ext cx="2523167" cy="806026"/>
          </a:xfrm>
        </p:spPr>
        <p:txBody>
          <a:bodyPr anchor="ctr"/>
          <a:lstStyle>
            <a:lvl1pPr>
              <a:defRPr sz="160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3" name="Text Placeholder 30">
            <a:extLst>
              <a:ext uri="{FF2B5EF4-FFF2-40B4-BE49-F238E27FC236}">
                <a16:creationId xmlns:a16="http://schemas.microsoft.com/office/drawing/2014/main" id="{3A8011FB-842F-4D6B-851D-929FCCBC42D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152555" y="2633282"/>
            <a:ext cx="2523167" cy="898906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4" name="Text Placeholder 30">
            <a:extLst>
              <a:ext uri="{FF2B5EF4-FFF2-40B4-BE49-F238E27FC236}">
                <a16:creationId xmlns:a16="http://schemas.microsoft.com/office/drawing/2014/main" id="{C3FE71E4-A33E-4BEA-8BD3-630FA9D41022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52555" y="3543960"/>
            <a:ext cx="2523167" cy="86551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5" name="Text Placeholder 30">
            <a:extLst>
              <a:ext uri="{FF2B5EF4-FFF2-40B4-BE49-F238E27FC236}">
                <a16:creationId xmlns:a16="http://schemas.microsoft.com/office/drawing/2014/main" id="{F157307B-D405-4AFC-9E72-0ACDE3AA99BE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152555" y="4413760"/>
            <a:ext cx="2523167" cy="86375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6" name="Text Placeholder 30">
            <a:extLst>
              <a:ext uri="{FF2B5EF4-FFF2-40B4-BE49-F238E27FC236}">
                <a16:creationId xmlns:a16="http://schemas.microsoft.com/office/drawing/2014/main" id="{A811333A-1150-431D-9BB1-23B6EE1746B4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340308" y="1750320"/>
            <a:ext cx="2523167" cy="806026"/>
          </a:xfrm>
        </p:spPr>
        <p:txBody>
          <a:bodyPr anchor="ctr"/>
          <a:lstStyle>
            <a:lvl1pPr>
              <a:defRPr sz="160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7" name="Text Placeholder 30">
            <a:extLst>
              <a:ext uri="{FF2B5EF4-FFF2-40B4-BE49-F238E27FC236}">
                <a16:creationId xmlns:a16="http://schemas.microsoft.com/office/drawing/2014/main" id="{E1D4CE39-2EBD-4083-8DCC-8E2471CCFA8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3340308" y="2633282"/>
            <a:ext cx="2523167" cy="898906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8" name="Text Placeholder 30">
            <a:extLst>
              <a:ext uri="{FF2B5EF4-FFF2-40B4-BE49-F238E27FC236}">
                <a16:creationId xmlns:a16="http://schemas.microsoft.com/office/drawing/2014/main" id="{1110AEA2-772A-44B4-8B8B-D1F998CF13CF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3340308" y="3543960"/>
            <a:ext cx="2523167" cy="86551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19" name="Text Placeholder 30">
            <a:extLst>
              <a:ext uri="{FF2B5EF4-FFF2-40B4-BE49-F238E27FC236}">
                <a16:creationId xmlns:a16="http://schemas.microsoft.com/office/drawing/2014/main" id="{848B45A4-B1A7-4CEA-B22C-36508455FA5C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3340308" y="4413760"/>
            <a:ext cx="2523167" cy="86375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2" name="Text Placeholder 30">
            <a:extLst>
              <a:ext uri="{FF2B5EF4-FFF2-40B4-BE49-F238E27FC236}">
                <a16:creationId xmlns:a16="http://schemas.microsoft.com/office/drawing/2014/main" id="{1D0D0359-96F4-4C7B-A46B-C6B601FEBBD8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8964801" y="1750320"/>
            <a:ext cx="2523167" cy="806026"/>
          </a:xfrm>
        </p:spPr>
        <p:txBody>
          <a:bodyPr anchor="ctr"/>
          <a:lstStyle>
            <a:lvl1pPr>
              <a:defRPr sz="160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3" name="Text Placeholder 30">
            <a:extLst>
              <a:ext uri="{FF2B5EF4-FFF2-40B4-BE49-F238E27FC236}">
                <a16:creationId xmlns:a16="http://schemas.microsoft.com/office/drawing/2014/main" id="{C52875AB-E83A-445C-AC68-A4BA38471773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8964802" y="2633282"/>
            <a:ext cx="2523167" cy="898906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4" name="Text Placeholder 30">
            <a:extLst>
              <a:ext uri="{FF2B5EF4-FFF2-40B4-BE49-F238E27FC236}">
                <a16:creationId xmlns:a16="http://schemas.microsoft.com/office/drawing/2014/main" id="{F08CCE04-D740-4B4E-95E2-2B1E499832E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8964801" y="3543960"/>
            <a:ext cx="2523167" cy="86551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35" name="Text Placeholder 30">
            <a:extLst>
              <a:ext uri="{FF2B5EF4-FFF2-40B4-BE49-F238E27FC236}">
                <a16:creationId xmlns:a16="http://schemas.microsoft.com/office/drawing/2014/main" id="{860CF5A0-7DB4-4D4A-975D-7E9923B4599A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8964801" y="4413760"/>
            <a:ext cx="2523167" cy="863754"/>
          </a:xfrm>
        </p:spPr>
        <p:txBody>
          <a:bodyPr anchor="ctr"/>
          <a:lstStyle>
            <a:lvl1pPr>
              <a:defRPr sz="1100" baseline="0">
                <a:solidFill>
                  <a:srgbClr val="5E5E5E"/>
                </a:solidFill>
                <a:latin typeface="+mn-lt"/>
              </a:defRPr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396255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CA9E56C-BFD9-44AA-84BE-D4CF4E20DDB3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410718" y="458412"/>
            <a:ext cx="6568621" cy="5567952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98889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Picture Placeholder 3">
            <a:extLst>
              <a:ext uri="{FF2B5EF4-FFF2-40B4-BE49-F238E27FC236}">
                <a16:creationId xmlns:a16="http://schemas.microsoft.com/office/drawing/2014/main" id="{E8206DB0-AA5E-4856-8B94-91C2DF6CEC9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29097" y="227648"/>
            <a:ext cx="11733806" cy="6402704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88558356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DDC6895F-4DF0-4855-BFA1-C2D9C0837F3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09172" y="1132115"/>
            <a:ext cx="10486572" cy="2960914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53667368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F74797F6-6F7E-4DDD-822C-5C79194BC491}"/>
              </a:ext>
            </a:extLst>
          </p:cNvPr>
          <p:cNvSpPr/>
          <p:nvPr userDrawn="1"/>
        </p:nvSpPr>
        <p:spPr>
          <a:xfrm>
            <a:off x="0" y="0"/>
            <a:ext cx="12193905" cy="6370820"/>
          </a:xfrm>
          <a:custGeom>
            <a:avLst/>
            <a:gdLst>
              <a:gd name="connsiteX0" fmla="*/ 0 w 12192000"/>
              <a:gd name="connsiteY0" fmla="*/ 0 h 5914103"/>
              <a:gd name="connsiteX1" fmla="*/ 12192000 w 12192000"/>
              <a:gd name="connsiteY1" fmla="*/ 0 h 5914103"/>
              <a:gd name="connsiteX2" fmla="*/ 12192000 w 12192000"/>
              <a:gd name="connsiteY2" fmla="*/ 5914103 h 5914103"/>
              <a:gd name="connsiteX3" fmla="*/ 0 w 12192000"/>
              <a:gd name="connsiteY3" fmla="*/ 5914103 h 5914103"/>
              <a:gd name="connsiteX4" fmla="*/ 0 w 12192000"/>
              <a:gd name="connsiteY4" fmla="*/ 0 h 5914103"/>
              <a:gd name="connsiteX0" fmla="*/ 0 w 12192000"/>
              <a:gd name="connsiteY0" fmla="*/ 0 h 5914103"/>
              <a:gd name="connsiteX1" fmla="*/ 12192000 w 12192000"/>
              <a:gd name="connsiteY1" fmla="*/ 0 h 5914103"/>
              <a:gd name="connsiteX2" fmla="*/ 12176760 w 12192000"/>
              <a:gd name="connsiteY2" fmla="*/ 3308063 h 5914103"/>
              <a:gd name="connsiteX3" fmla="*/ 0 w 12192000"/>
              <a:gd name="connsiteY3" fmla="*/ 5914103 h 5914103"/>
              <a:gd name="connsiteX4" fmla="*/ 0 w 12192000"/>
              <a:gd name="connsiteY4" fmla="*/ 0 h 5914103"/>
              <a:gd name="connsiteX0" fmla="*/ 0 w 12192000"/>
              <a:gd name="connsiteY0" fmla="*/ 0 h 5914103"/>
              <a:gd name="connsiteX1" fmla="*/ 12192000 w 12192000"/>
              <a:gd name="connsiteY1" fmla="*/ 0 h 5914103"/>
              <a:gd name="connsiteX2" fmla="*/ 12186285 w 12192000"/>
              <a:gd name="connsiteY2" fmla="*/ 3298538 h 5914103"/>
              <a:gd name="connsiteX3" fmla="*/ 0 w 12192000"/>
              <a:gd name="connsiteY3" fmla="*/ 5914103 h 5914103"/>
              <a:gd name="connsiteX4" fmla="*/ 0 w 12192000"/>
              <a:gd name="connsiteY4" fmla="*/ 0 h 5914103"/>
              <a:gd name="connsiteX0" fmla="*/ 0 w 12193905"/>
              <a:gd name="connsiteY0" fmla="*/ 0 h 5914103"/>
              <a:gd name="connsiteX1" fmla="*/ 12192000 w 12193905"/>
              <a:gd name="connsiteY1" fmla="*/ 0 h 5914103"/>
              <a:gd name="connsiteX2" fmla="*/ 12193905 w 12193905"/>
              <a:gd name="connsiteY2" fmla="*/ 3283298 h 5914103"/>
              <a:gd name="connsiteX3" fmla="*/ 0 w 12193905"/>
              <a:gd name="connsiteY3" fmla="*/ 5914103 h 5914103"/>
              <a:gd name="connsiteX4" fmla="*/ 0 w 12193905"/>
              <a:gd name="connsiteY4" fmla="*/ 0 h 59141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3905" h="5914103">
                <a:moveTo>
                  <a:pt x="0" y="0"/>
                </a:moveTo>
                <a:lnTo>
                  <a:pt x="12192000" y="0"/>
                </a:lnTo>
                <a:lnTo>
                  <a:pt x="12193905" y="3283298"/>
                </a:lnTo>
                <a:lnTo>
                  <a:pt x="0" y="5914103"/>
                </a:lnTo>
                <a:lnTo>
                  <a:pt x="0" y="0"/>
                </a:lnTo>
                <a:close/>
              </a:path>
            </a:pathLst>
          </a:custGeom>
          <a:solidFill>
            <a:schemeClr val="tx1">
              <a:lumMod val="85000"/>
              <a:lumOff val="1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AB66947A-F687-49E4-A8E0-0AF47285AC6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988056" y="928453"/>
            <a:ext cx="2459630" cy="2459630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EAC516F6-21E4-4C7A-B3FB-28D8A5D0932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538578" y="928453"/>
            <a:ext cx="2459630" cy="2459630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9" name="Picture Placeholder 3">
            <a:extLst>
              <a:ext uri="{FF2B5EF4-FFF2-40B4-BE49-F238E27FC236}">
                <a16:creationId xmlns:a16="http://schemas.microsoft.com/office/drawing/2014/main" id="{9B6E5BA9-B601-4E71-BE8D-C5D77D13148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988056" y="3469917"/>
            <a:ext cx="2459630" cy="2459630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ABD79C32-A623-4D3A-9DBB-96F9D9718A3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538578" y="3469917"/>
            <a:ext cx="2459630" cy="2459630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effectLst>
            <a:outerShdw blurRad="1270000" sx="90000" sy="9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6982418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9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3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6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1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8" grpId="0" animBg="1"/>
      <p:bldP spid="9" grpId="0" animBg="1"/>
      <p:bldP spid="10" grpId="0" animBg="1"/>
    </p:bld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3">
            <a:extLst>
              <a:ext uri="{FF2B5EF4-FFF2-40B4-BE49-F238E27FC236}">
                <a16:creationId xmlns:a16="http://schemas.microsoft.com/office/drawing/2014/main" id="{607FB738-D813-41AB-9321-C8EC4CED98B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032386"/>
            <a:ext cx="9601200" cy="3982063"/>
          </a:xfrm>
          <a:custGeom>
            <a:avLst/>
            <a:gdLst>
              <a:gd name="connsiteX0" fmla="*/ 0 w 6568621"/>
              <a:gd name="connsiteY0" fmla="*/ 0 h 5710464"/>
              <a:gd name="connsiteX1" fmla="*/ 6568621 w 6568621"/>
              <a:gd name="connsiteY1" fmla="*/ 0 h 5710464"/>
              <a:gd name="connsiteX2" fmla="*/ 6568621 w 6568621"/>
              <a:gd name="connsiteY2" fmla="*/ 5710464 h 5710464"/>
              <a:gd name="connsiteX3" fmla="*/ 0 w 6568621"/>
              <a:gd name="connsiteY3" fmla="*/ 5710464 h 57104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68621" h="5710464">
                <a:moveTo>
                  <a:pt x="0" y="0"/>
                </a:moveTo>
                <a:lnTo>
                  <a:pt x="6568621" y="0"/>
                </a:lnTo>
                <a:lnTo>
                  <a:pt x="6568621" y="5710464"/>
                </a:lnTo>
                <a:lnTo>
                  <a:pt x="0" y="57104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 algn="ctr"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780330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4886779" y="1"/>
            <a:ext cx="2418443" cy="487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id-ID"/>
              <a:t>Pict</a:t>
            </a:r>
          </a:p>
        </p:txBody>
      </p:sp>
      <p:sp>
        <p:nvSpPr>
          <p:cNvPr id="10" name="Picture Placeholder 7"/>
          <p:cNvSpPr>
            <a:spLocks noGrp="1"/>
          </p:cNvSpPr>
          <p:nvPr>
            <p:ph type="pic" sz="quarter" idx="11" hasCustomPrompt="1"/>
          </p:nvPr>
        </p:nvSpPr>
        <p:spPr>
          <a:xfrm>
            <a:off x="2468337" y="1"/>
            <a:ext cx="2418443" cy="487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id-ID"/>
              <a:t>Pict</a:t>
            </a:r>
          </a:p>
        </p:txBody>
      </p:sp>
      <p:sp>
        <p:nvSpPr>
          <p:cNvPr id="11" name="Picture Placeholder 7"/>
          <p:cNvSpPr>
            <a:spLocks noGrp="1"/>
          </p:cNvSpPr>
          <p:nvPr>
            <p:ph type="pic" sz="quarter" idx="12" hasCustomPrompt="1"/>
          </p:nvPr>
        </p:nvSpPr>
        <p:spPr>
          <a:xfrm>
            <a:off x="1" y="1"/>
            <a:ext cx="2468337" cy="487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id-ID"/>
              <a:t>Pict</a:t>
            </a:r>
          </a:p>
        </p:txBody>
      </p:sp>
      <p:sp>
        <p:nvSpPr>
          <p:cNvPr id="12" name="Picture Placeholder 7"/>
          <p:cNvSpPr>
            <a:spLocks noGrp="1"/>
          </p:cNvSpPr>
          <p:nvPr>
            <p:ph type="pic" sz="quarter" idx="13" hasCustomPrompt="1"/>
          </p:nvPr>
        </p:nvSpPr>
        <p:spPr>
          <a:xfrm>
            <a:off x="9773557" y="1"/>
            <a:ext cx="2418443" cy="487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id-ID"/>
              <a:t>Pict</a:t>
            </a:r>
          </a:p>
        </p:txBody>
      </p:sp>
      <p:sp>
        <p:nvSpPr>
          <p:cNvPr id="13" name="Picture Placeholder 7"/>
          <p:cNvSpPr>
            <a:spLocks noGrp="1"/>
          </p:cNvSpPr>
          <p:nvPr>
            <p:ph type="pic" sz="quarter" idx="14" hasCustomPrompt="1"/>
          </p:nvPr>
        </p:nvSpPr>
        <p:spPr>
          <a:xfrm>
            <a:off x="7305222" y="1"/>
            <a:ext cx="2468337" cy="48768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r>
              <a:rPr lang="id-ID"/>
              <a:t>Pict</a:t>
            </a:r>
          </a:p>
        </p:txBody>
      </p:sp>
    </p:spTree>
    <p:extLst>
      <p:ext uri="{BB962C8B-B14F-4D97-AF65-F5344CB8AC3E}">
        <p14:creationId xmlns:p14="http://schemas.microsoft.com/office/powerpoint/2010/main" val="4181310399"/>
      </p:ext>
    </p:extLst>
  </p:cSld>
  <p:clrMapOvr>
    <a:masterClrMapping/>
  </p:clrMapOvr>
  <p:transition spd="slow">
    <p:push/>
  </p:transition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/>
          <p:cNvSpPr>
            <a:spLocks noGrp="1"/>
          </p:cNvSpPr>
          <p:nvPr>
            <p:ph type="pic" sz="quarter" idx="17"/>
          </p:nvPr>
        </p:nvSpPr>
        <p:spPr>
          <a:xfrm>
            <a:off x="0" y="-1"/>
            <a:ext cx="12192000" cy="4804229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5440870"/>
      </p:ext>
    </p:extLst>
  </p:cSld>
  <p:clrMapOvr>
    <a:masterClrMapping/>
  </p:clrMapOvr>
  <p:transition spd="slow">
    <p:push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</p:bld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5FA0A782-B96F-4E5F-B91D-3809507E1F3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1104901"/>
            <a:ext cx="4838700" cy="57531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04837C67-6E50-4B07-9CA8-4677BAF96458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82100" y="1104901"/>
            <a:ext cx="3009900" cy="5753100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616135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AEB2EB6-7CD7-4E65-A65D-79AE83B4944D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-1" y="0"/>
            <a:ext cx="609600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94241A2C-72B6-4F78-B9B2-FD9FE216C25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095999" y="0"/>
            <a:ext cx="609600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8146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/>
          <p:cNvSpPr>
            <a:spLocks noGrp="1"/>
          </p:cNvSpPr>
          <p:nvPr>
            <p:ph type="pic" sz="quarter" idx="10"/>
          </p:nvPr>
        </p:nvSpPr>
        <p:spPr>
          <a:xfrm>
            <a:off x="5929312" y="0"/>
            <a:ext cx="6262687" cy="3616324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  <p:sp>
        <p:nvSpPr>
          <p:cNvPr id="3" name="Rectangle 2"/>
          <p:cNvSpPr/>
          <p:nvPr userDrawn="1"/>
        </p:nvSpPr>
        <p:spPr>
          <a:xfrm>
            <a:off x="0" y="0"/>
            <a:ext cx="5929313" cy="6858000"/>
          </a:xfrm>
          <a:prstGeom prst="rect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94837619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543C942-A230-489B-9C8D-6E2876D417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C684F2A-C2D4-4578-9D44-F6DBE633F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2A842950-F618-4899-8345-3E7557CD978D}"/>
              </a:ext>
            </a:extLst>
          </p:cNvPr>
          <p:cNvSpPr/>
          <p:nvPr userDrawn="1"/>
        </p:nvSpPr>
        <p:spPr>
          <a:xfrm>
            <a:off x="-1" y="6426353"/>
            <a:ext cx="12236477" cy="431651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D8C7EAD0-9203-4D7B-B203-ACBFCA81CE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7" name="Slide Number Placeholder 5">
            <a:extLst>
              <a:ext uri="{FF2B5EF4-FFF2-40B4-BE49-F238E27FC236}">
                <a16:creationId xmlns:a16="http://schemas.microsoft.com/office/drawing/2014/main" id="{49AD3B0D-DA69-416F-8C4B-2142C22D476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8" name="Picture 27">
            <a:extLst>
              <a:ext uri="{FF2B5EF4-FFF2-40B4-BE49-F238E27FC236}">
                <a16:creationId xmlns:a16="http://schemas.microsoft.com/office/drawing/2014/main" id="{9DEB19C6-F7BC-4DA0-8C8B-28FFE133F26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251881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116B46E4-D535-4A59-956E-1FAF85DDECB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18422" y="1014729"/>
            <a:ext cx="11430678" cy="2940051"/>
          </a:xfrm>
          <a:custGeom>
            <a:avLst/>
            <a:gdLst>
              <a:gd name="connsiteX0" fmla="*/ 1428221 w 11725275"/>
              <a:gd name="connsiteY0" fmla="*/ 707231 h 2405063"/>
              <a:gd name="connsiteX1" fmla="*/ 1430338 w 11725275"/>
              <a:gd name="connsiteY1" fmla="*/ 707231 h 2405063"/>
              <a:gd name="connsiteX2" fmla="*/ 1427012 w 11725275"/>
              <a:gd name="connsiteY2" fmla="*/ 707685 h 2405063"/>
              <a:gd name="connsiteX3" fmla="*/ 8131704 w 11725275"/>
              <a:gd name="connsiteY3" fmla="*/ 446088 h 2405063"/>
              <a:gd name="connsiteX4" fmla="*/ 8131704 w 11725275"/>
              <a:gd name="connsiteY4" fmla="*/ 447675 h 2405063"/>
              <a:gd name="connsiteX5" fmla="*/ 8126941 w 11725275"/>
              <a:gd name="connsiteY5" fmla="*/ 450850 h 2405063"/>
              <a:gd name="connsiteX6" fmla="*/ 8124524 w 11725275"/>
              <a:gd name="connsiteY6" fmla="*/ 451858 h 2405063"/>
              <a:gd name="connsiteX7" fmla="*/ 8124296 w 11725275"/>
              <a:gd name="connsiteY7" fmla="*/ 451644 h 2405063"/>
              <a:gd name="connsiteX8" fmla="*/ 8094133 w 11725275"/>
              <a:gd name="connsiteY8" fmla="*/ 457200 h 2405063"/>
              <a:gd name="connsiteX9" fmla="*/ 8086196 w 11725275"/>
              <a:gd name="connsiteY9" fmla="*/ 457200 h 2405063"/>
              <a:gd name="connsiteX10" fmla="*/ 8093604 w 11725275"/>
              <a:gd name="connsiteY10" fmla="*/ 454819 h 2405063"/>
              <a:gd name="connsiteX11" fmla="*/ 8107363 w 11725275"/>
              <a:gd name="connsiteY11" fmla="*/ 450850 h 2405063"/>
              <a:gd name="connsiteX12" fmla="*/ 8122709 w 11725275"/>
              <a:gd name="connsiteY12" fmla="*/ 446882 h 2405063"/>
              <a:gd name="connsiteX13" fmla="*/ 5708650 w 11725275"/>
              <a:gd name="connsiteY13" fmla="*/ 0 h 2405063"/>
              <a:gd name="connsiteX14" fmla="*/ 5746221 w 11725275"/>
              <a:gd name="connsiteY14" fmla="*/ 0 h 2405063"/>
              <a:gd name="connsiteX15" fmla="*/ 5771092 w 11725275"/>
              <a:gd name="connsiteY15" fmla="*/ 1588 h 2405063"/>
              <a:gd name="connsiteX16" fmla="*/ 5779029 w 11725275"/>
              <a:gd name="connsiteY16" fmla="*/ 3175 h 2405063"/>
              <a:gd name="connsiteX17" fmla="*/ 5786438 w 11725275"/>
              <a:gd name="connsiteY17" fmla="*/ 4763 h 2405063"/>
              <a:gd name="connsiteX18" fmla="*/ 5791729 w 11725275"/>
              <a:gd name="connsiteY18" fmla="*/ 6350 h 2405063"/>
              <a:gd name="connsiteX19" fmla="*/ 5795963 w 11725275"/>
              <a:gd name="connsiteY19" fmla="*/ 9525 h 2405063"/>
              <a:gd name="connsiteX20" fmla="*/ 5803371 w 11725275"/>
              <a:gd name="connsiteY20" fmla="*/ 17463 h 2405063"/>
              <a:gd name="connsiteX21" fmla="*/ 5811309 w 11725275"/>
              <a:gd name="connsiteY21" fmla="*/ 28575 h 2405063"/>
              <a:gd name="connsiteX22" fmla="*/ 5815542 w 11725275"/>
              <a:gd name="connsiteY22" fmla="*/ 38100 h 2405063"/>
              <a:gd name="connsiteX23" fmla="*/ 5852584 w 11725275"/>
              <a:gd name="connsiteY23" fmla="*/ 38100 h 2405063"/>
              <a:gd name="connsiteX24" fmla="*/ 5877454 w 11725275"/>
              <a:gd name="connsiteY24" fmla="*/ 38100 h 2405063"/>
              <a:gd name="connsiteX25" fmla="*/ 5894388 w 11725275"/>
              <a:gd name="connsiteY25" fmla="*/ 36513 h 2405063"/>
              <a:gd name="connsiteX26" fmla="*/ 5904971 w 11725275"/>
              <a:gd name="connsiteY26" fmla="*/ 35719 h 2405063"/>
              <a:gd name="connsiteX27" fmla="*/ 5913967 w 11725275"/>
              <a:gd name="connsiteY27" fmla="*/ 33338 h 2405063"/>
              <a:gd name="connsiteX28" fmla="*/ 5924021 w 11725275"/>
              <a:gd name="connsiteY28" fmla="*/ 31750 h 2405063"/>
              <a:gd name="connsiteX29" fmla="*/ 5937250 w 11725275"/>
              <a:gd name="connsiteY29" fmla="*/ 30956 h 2405063"/>
              <a:gd name="connsiteX30" fmla="*/ 5958417 w 11725275"/>
              <a:gd name="connsiteY30" fmla="*/ 30163 h 2405063"/>
              <a:gd name="connsiteX31" fmla="*/ 6230409 w 11725275"/>
              <a:gd name="connsiteY31" fmla="*/ 53181 h 2405063"/>
              <a:gd name="connsiteX32" fmla="*/ 6251575 w 11725275"/>
              <a:gd name="connsiteY32" fmla="*/ 53181 h 2405063"/>
              <a:gd name="connsiteX33" fmla="*/ 6267979 w 11725275"/>
              <a:gd name="connsiteY33" fmla="*/ 52388 h 2405063"/>
              <a:gd name="connsiteX34" fmla="*/ 6281738 w 11725275"/>
              <a:gd name="connsiteY34" fmla="*/ 50006 h 2405063"/>
              <a:gd name="connsiteX35" fmla="*/ 6294438 w 11725275"/>
              <a:gd name="connsiteY35" fmla="*/ 46831 h 2405063"/>
              <a:gd name="connsiteX36" fmla="*/ 6308725 w 11725275"/>
              <a:gd name="connsiteY36" fmla="*/ 42863 h 2405063"/>
              <a:gd name="connsiteX37" fmla="*/ 6326717 w 11725275"/>
              <a:gd name="connsiteY37" fmla="*/ 38100 h 2405063"/>
              <a:gd name="connsiteX38" fmla="*/ 6349471 w 11725275"/>
              <a:gd name="connsiteY38" fmla="*/ 33338 h 2405063"/>
              <a:gd name="connsiteX39" fmla="*/ 6379104 w 11725275"/>
              <a:gd name="connsiteY39" fmla="*/ 28575 h 2405063"/>
              <a:gd name="connsiteX40" fmla="*/ 6381221 w 11725275"/>
              <a:gd name="connsiteY40" fmla="*/ 31750 h 2405063"/>
              <a:gd name="connsiteX41" fmla="*/ 6382279 w 11725275"/>
              <a:gd name="connsiteY41" fmla="*/ 34131 h 2405063"/>
              <a:gd name="connsiteX42" fmla="*/ 6382279 w 11725275"/>
              <a:gd name="connsiteY42" fmla="*/ 36513 h 2405063"/>
              <a:gd name="connsiteX43" fmla="*/ 6381221 w 11725275"/>
              <a:gd name="connsiteY43" fmla="*/ 38100 h 2405063"/>
              <a:gd name="connsiteX44" fmla="*/ 6380163 w 11725275"/>
              <a:gd name="connsiteY44" fmla="*/ 39688 h 2405063"/>
              <a:gd name="connsiteX45" fmla="*/ 6378046 w 11725275"/>
              <a:gd name="connsiteY45" fmla="*/ 41275 h 2405063"/>
              <a:gd name="connsiteX46" fmla="*/ 6378575 w 11725275"/>
              <a:gd name="connsiteY46" fmla="*/ 42069 h 2405063"/>
              <a:gd name="connsiteX47" fmla="*/ 6382279 w 11725275"/>
              <a:gd name="connsiteY47" fmla="*/ 42863 h 2405063"/>
              <a:gd name="connsiteX48" fmla="*/ 6392334 w 11725275"/>
              <a:gd name="connsiteY48" fmla="*/ 43656 h 2405063"/>
              <a:gd name="connsiteX49" fmla="*/ 6409267 w 11725275"/>
              <a:gd name="connsiteY49" fmla="*/ 44450 h 2405063"/>
              <a:gd name="connsiteX50" fmla="*/ 6430434 w 11725275"/>
              <a:gd name="connsiteY50" fmla="*/ 47625 h 2405063"/>
              <a:gd name="connsiteX51" fmla="*/ 6442075 w 11725275"/>
              <a:gd name="connsiteY51" fmla="*/ 49213 h 2405063"/>
              <a:gd name="connsiteX52" fmla="*/ 6448425 w 11725275"/>
              <a:gd name="connsiteY52" fmla="*/ 51594 h 2405063"/>
              <a:gd name="connsiteX53" fmla="*/ 6451071 w 11725275"/>
              <a:gd name="connsiteY53" fmla="*/ 53181 h 2405063"/>
              <a:gd name="connsiteX54" fmla="*/ 6455304 w 11725275"/>
              <a:gd name="connsiteY54" fmla="*/ 55563 h 2405063"/>
              <a:gd name="connsiteX55" fmla="*/ 6463771 w 11725275"/>
              <a:gd name="connsiteY55" fmla="*/ 57944 h 2405063"/>
              <a:gd name="connsiteX56" fmla="*/ 6479646 w 11725275"/>
              <a:gd name="connsiteY56" fmla="*/ 61119 h 2405063"/>
              <a:gd name="connsiteX57" fmla="*/ 6507692 w 11725275"/>
              <a:gd name="connsiteY57" fmla="*/ 65881 h 2405063"/>
              <a:gd name="connsiteX58" fmla="*/ 6501871 w 11725275"/>
              <a:gd name="connsiteY58" fmla="*/ 57944 h 2405063"/>
              <a:gd name="connsiteX59" fmla="*/ 6497109 w 11725275"/>
              <a:gd name="connsiteY59" fmla="*/ 51594 h 2405063"/>
              <a:gd name="connsiteX60" fmla="*/ 6494463 w 11725275"/>
              <a:gd name="connsiteY60" fmla="*/ 47625 h 2405063"/>
              <a:gd name="connsiteX61" fmla="*/ 6490759 w 11725275"/>
              <a:gd name="connsiteY61" fmla="*/ 44450 h 2405063"/>
              <a:gd name="connsiteX62" fmla="*/ 6481234 w 11725275"/>
              <a:gd name="connsiteY62" fmla="*/ 38894 h 2405063"/>
              <a:gd name="connsiteX63" fmla="*/ 6462713 w 11725275"/>
              <a:gd name="connsiteY63" fmla="*/ 27781 h 2405063"/>
              <a:gd name="connsiteX64" fmla="*/ 6492346 w 11725275"/>
              <a:gd name="connsiteY64" fmla="*/ 30163 h 2405063"/>
              <a:gd name="connsiteX65" fmla="*/ 6517746 w 11725275"/>
              <a:gd name="connsiteY65" fmla="*/ 31750 h 2405063"/>
              <a:gd name="connsiteX66" fmla="*/ 6539971 w 11725275"/>
              <a:gd name="connsiteY66" fmla="*/ 31750 h 2405063"/>
              <a:gd name="connsiteX67" fmla="*/ 6559021 w 11725275"/>
              <a:gd name="connsiteY67" fmla="*/ 30956 h 2405063"/>
              <a:gd name="connsiteX68" fmla="*/ 6576484 w 11725275"/>
              <a:gd name="connsiteY68" fmla="*/ 30163 h 2405063"/>
              <a:gd name="connsiteX69" fmla="*/ 6591829 w 11725275"/>
              <a:gd name="connsiteY69" fmla="*/ 27781 h 2405063"/>
              <a:gd name="connsiteX70" fmla="*/ 6605588 w 11725275"/>
              <a:gd name="connsiteY70" fmla="*/ 26194 h 2405063"/>
              <a:gd name="connsiteX71" fmla="*/ 6619875 w 11725275"/>
              <a:gd name="connsiteY71" fmla="*/ 23019 h 2405063"/>
              <a:gd name="connsiteX72" fmla="*/ 6633634 w 11725275"/>
              <a:gd name="connsiteY72" fmla="*/ 21431 h 2405063"/>
              <a:gd name="connsiteX73" fmla="*/ 6648450 w 11725275"/>
              <a:gd name="connsiteY73" fmla="*/ 19844 h 2405063"/>
              <a:gd name="connsiteX74" fmla="*/ 6663796 w 11725275"/>
              <a:gd name="connsiteY74" fmla="*/ 17463 h 2405063"/>
              <a:gd name="connsiteX75" fmla="*/ 6680729 w 11725275"/>
              <a:gd name="connsiteY75" fmla="*/ 16669 h 2405063"/>
              <a:gd name="connsiteX76" fmla="*/ 6700309 w 11725275"/>
              <a:gd name="connsiteY76" fmla="*/ 15875 h 2405063"/>
              <a:gd name="connsiteX77" fmla="*/ 6722004 w 11725275"/>
              <a:gd name="connsiteY77" fmla="*/ 16669 h 2405063"/>
              <a:gd name="connsiteX78" fmla="*/ 6747934 w 11725275"/>
              <a:gd name="connsiteY78" fmla="*/ 18256 h 2405063"/>
              <a:gd name="connsiteX79" fmla="*/ 6777038 w 11725275"/>
              <a:gd name="connsiteY79" fmla="*/ 21431 h 2405063"/>
              <a:gd name="connsiteX80" fmla="*/ 6835775 w 11725275"/>
              <a:gd name="connsiteY80" fmla="*/ 26988 h 2405063"/>
              <a:gd name="connsiteX81" fmla="*/ 6899804 w 11725275"/>
              <a:gd name="connsiteY81" fmla="*/ 32544 h 2405063"/>
              <a:gd name="connsiteX82" fmla="*/ 6967009 w 11725275"/>
              <a:gd name="connsiteY82" fmla="*/ 37306 h 2405063"/>
              <a:gd name="connsiteX83" fmla="*/ 7035271 w 11725275"/>
              <a:gd name="connsiteY83" fmla="*/ 39688 h 2405063"/>
              <a:gd name="connsiteX84" fmla="*/ 7101946 w 11725275"/>
              <a:gd name="connsiteY84" fmla="*/ 42069 h 2405063"/>
              <a:gd name="connsiteX85" fmla="*/ 7166504 w 11725275"/>
              <a:gd name="connsiteY85" fmla="*/ 42069 h 2405063"/>
              <a:gd name="connsiteX86" fmla="*/ 7197196 w 11725275"/>
              <a:gd name="connsiteY86" fmla="*/ 41275 h 2405063"/>
              <a:gd name="connsiteX87" fmla="*/ 7226300 w 11725275"/>
              <a:gd name="connsiteY87" fmla="*/ 38894 h 2405063"/>
              <a:gd name="connsiteX88" fmla="*/ 7253288 w 11725275"/>
              <a:gd name="connsiteY88" fmla="*/ 37306 h 2405063"/>
              <a:gd name="connsiteX89" fmla="*/ 7278688 w 11725275"/>
              <a:gd name="connsiteY89" fmla="*/ 34131 h 2405063"/>
              <a:gd name="connsiteX90" fmla="*/ 7315200 w 11725275"/>
              <a:gd name="connsiteY90" fmla="*/ 30956 h 2405063"/>
              <a:gd name="connsiteX91" fmla="*/ 7344304 w 11725275"/>
              <a:gd name="connsiteY91" fmla="*/ 28575 h 2405063"/>
              <a:gd name="connsiteX92" fmla="*/ 7368646 w 11725275"/>
              <a:gd name="connsiteY92" fmla="*/ 27781 h 2405063"/>
              <a:gd name="connsiteX93" fmla="*/ 7391929 w 11725275"/>
              <a:gd name="connsiteY93" fmla="*/ 28575 h 2405063"/>
              <a:gd name="connsiteX94" fmla="*/ 7416800 w 11725275"/>
              <a:gd name="connsiteY94" fmla="*/ 30163 h 2405063"/>
              <a:gd name="connsiteX95" fmla="*/ 7445375 w 11725275"/>
              <a:gd name="connsiteY95" fmla="*/ 30956 h 2405063"/>
              <a:gd name="connsiteX96" fmla="*/ 7482417 w 11725275"/>
              <a:gd name="connsiteY96" fmla="*/ 30956 h 2405063"/>
              <a:gd name="connsiteX97" fmla="*/ 7530042 w 11725275"/>
              <a:gd name="connsiteY97" fmla="*/ 30956 h 2405063"/>
              <a:gd name="connsiteX98" fmla="*/ 7531100 w 11725275"/>
              <a:gd name="connsiteY98" fmla="*/ 32544 h 2405063"/>
              <a:gd name="connsiteX99" fmla="*/ 7532688 w 11725275"/>
              <a:gd name="connsiteY99" fmla="*/ 34131 h 2405063"/>
              <a:gd name="connsiteX100" fmla="*/ 7595129 w 11725275"/>
              <a:gd name="connsiteY100" fmla="*/ 69056 h 2405063"/>
              <a:gd name="connsiteX101" fmla="*/ 7743825 w 11725275"/>
              <a:gd name="connsiteY101" fmla="*/ 64294 h 2405063"/>
              <a:gd name="connsiteX102" fmla="*/ 7785629 w 11725275"/>
              <a:gd name="connsiteY102" fmla="*/ 68263 h 2405063"/>
              <a:gd name="connsiteX103" fmla="*/ 7821613 w 11725275"/>
              <a:gd name="connsiteY103" fmla="*/ 70644 h 2405063"/>
              <a:gd name="connsiteX104" fmla="*/ 7852834 w 11725275"/>
              <a:gd name="connsiteY104" fmla="*/ 73025 h 2405063"/>
              <a:gd name="connsiteX105" fmla="*/ 7880350 w 11725275"/>
              <a:gd name="connsiteY105" fmla="*/ 73025 h 2405063"/>
              <a:gd name="connsiteX106" fmla="*/ 7903634 w 11725275"/>
              <a:gd name="connsiteY106" fmla="*/ 73025 h 2405063"/>
              <a:gd name="connsiteX107" fmla="*/ 7923213 w 11725275"/>
              <a:gd name="connsiteY107" fmla="*/ 70644 h 2405063"/>
              <a:gd name="connsiteX108" fmla="*/ 7941204 w 11725275"/>
              <a:gd name="connsiteY108" fmla="*/ 69056 h 2405063"/>
              <a:gd name="connsiteX109" fmla="*/ 7956550 w 11725275"/>
              <a:gd name="connsiteY109" fmla="*/ 66675 h 2405063"/>
              <a:gd name="connsiteX110" fmla="*/ 7982479 w 11725275"/>
              <a:gd name="connsiteY110" fmla="*/ 62706 h 2405063"/>
              <a:gd name="connsiteX111" fmla="*/ 8007879 w 11725275"/>
              <a:gd name="connsiteY111" fmla="*/ 58738 h 2405063"/>
              <a:gd name="connsiteX112" fmla="*/ 8020050 w 11725275"/>
              <a:gd name="connsiteY112" fmla="*/ 57150 h 2405063"/>
              <a:gd name="connsiteX113" fmla="*/ 8033809 w 11725275"/>
              <a:gd name="connsiteY113" fmla="*/ 55563 h 2405063"/>
              <a:gd name="connsiteX114" fmla="*/ 8049154 w 11725275"/>
              <a:gd name="connsiteY114" fmla="*/ 55563 h 2405063"/>
              <a:gd name="connsiteX115" fmla="*/ 8067675 w 11725275"/>
              <a:gd name="connsiteY115" fmla="*/ 55563 h 2405063"/>
              <a:gd name="connsiteX116" fmla="*/ 8093604 w 11725275"/>
              <a:gd name="connsiteY116" fmla="*/ 57944 h 2405063"/>
              <a:gd name="connsiteX117" fmla="*/ 8102071 w 11725275"/>
              <a:gd name="connsiteY117" fmla="*/ 59531 h 2405063"/>
              <a:gd name="connsiteX118" fmla="*/ 8100483 w 11725275"/>
              <a:gd name="connsiteY118" fmla="*/ 60325 h 2405063"/>
              <a:gd name="connsiteX119" fmla="*/ 8094663 w 11725275"/>
              <a:gd name="connsiteY119" fmla="*/ 62706 h 2405063"/>
              <a:gd name="connsiteX120" fmla="*/ 8092017 w 11725275"/>
              <a:gd name="connsiteY120" fmla="*/ 62706 h 2405063"/>
              <a:gd name="connsiteX121" fmla="*/ 8090429 w 11725275"/>
              <a:gd name="connsiteY121" fmla="*/ 63500 h 2405063"/>
              <a:gd name="connsiteX122" fmla="*/ 8092017 w 11725275"/>
              <a:gd name="connsiteY122" fmla="*/ 63500 h 2405063"/>
              <a:gd name="connsiteX123" fmla="*/ 8095721 w 11725275"/>
              <a:gd name="connsiteY123" fmla="*/ 64294 h 2405063"/>
              <a:gd name="connsiteX124" fmla="*/ 8114771 w 11725275"/>
              <a:gd name="connsiteY124" fmla="*/ 65088 h 2405063"/>
              <a:gd name="connsiteX125" fmla="*/ 8154459 w 11725275"/>
              <a:gd name="connsiteY125" fmla="*/ 65881 h 2405063"/>
              <a:gd name="connsiteX126" fmla="*/ 8168217 w 11725275"/>
              <a:gd name="connsiteY126" fmla="*/ 65881 h 2405063"/>
              <a:gd name="connsiteX127" fmla="*/ 8176683 w 11725275"/>
              <a:gd name="connsiteY127" fmla="*/ 65088 h 2405063"/>
              <a:gd name="connsiteX128" fmla="*/ 8181446 w 11725275"/>
              <a:gd name="connsiteY128" fmla="*/ 65088 h 2405063"/>
              <a:gd name="connsiteX129" fmla="*/ 8185679 w 11725275"/>
              <a:gd name="connsiteY129" fmla="*/ 64294 h 2405063"/>
              <a:gd name="connsiteX130" fmla="*/ 8192559 w 11725275"/>
              <a:gd name="connsiteY130" fmla="*/ 64294 h 2405063"/>
              <a:gd name="connsiteX131" fmla="*/ 8202613 w 11725275"/>
              <a:gd name="connsiteY131" fmla="*/ 64294 h 2405063"/>
              <a:gd name="connsiteX132" fmla="*/ 8219546 w 11725275"/>
              <a:gd name="connsiteY132" fmla="*/ 65088 h 2405063"/>
              <a:gd name="connsiteX133" fmla="*/ 8244946 w 11725275"/>
              <a:gd name="connsiteY133" fmla="*/ 66675 h 2405063"/>
              <a:gd name="connsiteX134" fmla="*/ 8546042 w 11725275"/>
              <a:gd name="connsiteY134" fmla="*/ 76994 h 2405063"/>
              <a:gd name="connsiteX135" fmla="*/ 8577792 w 11725275"/>
              <a:gd name="connsiteY135" fmla="*/ 75406 h 2405063"/>
              <a:gd name="connsiteX136" fmla="*/ 8606896 w 11725275"/>
              <a:gd name="connsiteY136" fmla="*/ 73819 h 2405063"/>
              <a:gd name="connsiteX137" fmla="*/ 8634412 w 11725275"/>
              <a:gd name="connsiteY137" fmla="*/ 73025 h 2405063"/>
              <a:gd name="connsiteX138" fmla="*/ 8661400 w 11725275"/>
              <a:gd name="connsiteY138" fmla="*/ 71438 h 2405063"/>
              <a:gd name="connsiteX139" fmla="*/ 8688917 w 11725275"/>
              <a:gd name="connsiteY139" fmla="*/ 70644 h 2405063"/>
              <a:gd name="connsiteX140" fmla="*/ 8716962 w 11725275"/>
              <a:gd name="connsiteY140" fmla="*/ 70644 h 2405063"/>
              <a:gd name="connsiteX141" fmla="*/ 8747125 w 11725275"/>
              <a:gd name="connsiteY141" fmla="*/ 71438 h 2405063"/>
              <a:gd name="connsiteX142" fmla="*/ 8779404 w 11725275"/>
              <a:gd name="connsiteY142" fmla="*/ 73819 h 2405063"/>
              <a:gd name="connsiteX143" fmla="*/ 8969904 w 11725275"/>
              <a:gd name="connsiteY143" fmla="*/ 84138 h 2405063"/>
              <a:gd name="connsiteX144" fmla="*/ 8994246 w 11725275"/>
              <a:gd name="connsiteY144" fmla="*/ 85725 h 2405063"/>
              <a:gd name="connsiteX145" fmla="*/ 9015942 w 11725275"/>
              <a:gd name="connsiteY145" fmla="*/ 85725 h 2405063"/>
              <a:gd name="connsiteX146" fmla="*/ 9034462 w 11725275"/>
              <a:gd name="connsiteY146" fmla="*/ 85725 h 2405063"/>
              <a:gd name="connsiteX147" fmla="*/ 9051396 w 11725275"/>
              <a:gd name="connsiteY147" fmla="*/ 84931 h 2405063"/>
              <a:gd name="connsiteX148" fmla="*/ 9078912 w 11725275"/>
              <a:gd name="connsiteY148" fmla="*/ 81756 h 2405063"/>
              <a:gd name="connsiteX149" fmla="*/ 9104842 w 11725275"/>
              <a:gd name="connsiteY149" fmla="*/ 76994 h 2405063"/>
              <a:gd name="connsiteX150" fmla="*/ 9118071 w 11725275"/>
              <a:gd name="connsiteY150" fmla="*/ 75406 h 2405063"/>
              <a:gd name="connsiteX151" fmla="*/ 9131300 w 11725275"/>
              <a:gd name="connsiteY151" fmla="*/ 73819 h 2405063"/>
              <a:gd name="connsiteX152" fmla="*/ 9145588 w 11725275"/>
              <a:gd name="connsiteY152" fmla="*/ 73025 h 2405063"/>
              <a:gd name="connsiteX153" fmla="*/ 9161992 w 11725275"/>
              <a:gd name="connsiteY153" fmla="*/ 73025 h 2405063"/>
              <a:gd name="connsiteX154" fmla="*/ 9181042 w 11725275"/>
              <a:gd name="connsiteY154" fmla="*/ 73819 h 2405063"/>
              <a:gd name="connsiteX155" fmla="*/ 9202208 w 11725275"/>
              <a:gd name="connsiteY155" fmla="*/ 74613 h 2405063"/>
              <a:gd name="connsiteX156" fmla="*/ 9226550 w 11725275"/>
              <a:gd name="connsiteY156" fmla="*/ 76994 h 2405063"/>
              <a:gd name="connsiteX157" fmla="*/ 9255125 w 11725275"/>
              <a:gd name="connsiteY157" fmla="*/ 81756 h 2405063"/>
              <a:gd name="connsiteX158" fmla="*/ 9279996 w 11725275"/>
              <a:gd name="connsiteY158" fmla="*/ 87313 h 2405063"/>
              <a:gd name="connsiteX159" fmla="*/ 9316508 w 11725275"/>
              <a:gd name="connsiteY159" fmla="*/ 92869 h 2405063"/>
              <a:gd name="connsiteX160" fmla="*/ 9339792 w 11725275"/>
              <a:gd name="connsiteY160" fmla="*/ 96838 h 2405063"/>
              <a:gd name="connsiteX161" fmla="*/ 9353021 w 11725275"/>
              <a:gd name="connsiteY161" fmla="*/ 98425 h 2405063"/>
              <a:gd name="connsiteX162" fmla="*/ 9360429 w 11725275"/>
              <a:gd name="connsiteY162" fmla="*/ 97631 h 2405063"/>
              <a:gd name="connsiteX163" fmla="*/ 9365721 w 11725275"/>
              <a:gd name="connsiteY163" fmla="*/ 96838 h 2405063"/>
              <a:gd name="connsiteX164" fmla="*/ 9373129 w 11725275"/>
              <a:gd name="connsiteY164" fmla="*/ 94456 h 2405063"/>
              <a:gd name="connsiteX165" fmla="*/ 9385829 w 11725275"/>
              <a:gd name="connsiteY165" fmla="*/ 90488 h 2405063"/>
              <a:gd name="connsiteX166" fmla="*/ 9408583 w 11725275"/>
              <a:gd name="connsiteY166" fmla="*/ 87313 h 2405063"/>
              <a:gd name="connsiteX167" fmla="*/ 9432925 w 11725275"/>
              <a:gd name="connsiteY167" fmla="*/ 84931 h 2405063"/>
              <a:gd name="connsiteX168" fmla="*/ 9451446 w 11725275"/>
              <a:gd name="connsiteY168" fmla="*/ 84138 h 2405063"/>
              <a:gd name="connsiteX169" fmla="*/ 9465204 w 11725275"/>
              <a:gd name="connsiteY169" fmla="*/ 84931 h 2405063"/>
              <a:gd name="connsiteX170" fmla="*/ 9477904 w 11725275"/>
              <a:gd name="connsiteY170" fmla="*/ 85725 h 2405063"/>
              <a:gd name="connsiteX171" fmla="*/ 9490075 w 11725275"/>
              <a:gd name="connsiteY171" fmla="*/ 87313 h 2405063"/>
              <a:gd name="connsiteX172" fmla="*/ 9503833 w 11725275"/>
              <a:gd name="connsiteY172" fmla="*/ 90488 h 2405063"/>
              <a:gd name="connsiteX173" fmla="*/ 9522354 w 11725275"/>
              <a:gd name="connsiteY173" fmla="*/ 92075 h 2405063"/>
              <a:gd name="connsiteX174" fmla="*/ 9545638 w 11725275"/>
              <a:gd name="connsiteY174" fmla="*/ 94456 h 2405063"/>
              <a:gd name="connsiteX175" fmla="*/ 9565746 w 11725275"/>
              <a:gd name="connsiteY175" fmla="*/ 95250 h 2405063"/>
              <a:gd name="connsiteX176" fmla="*/ 9586383 w 11725275"/>
              <a:gd name="connsiteY176" fmla="*/ 96044 h 2405063"/>
              <a:gd name="connsiteX177" fmla="*/ 9605962 w 11725275"/>
              <a:gd name="connsiteY177" fmla="*/ 96044 h 2405063"/>
              <a:gd name="connsiteX178" fmla="*/ 9626600 w 11725275"/>
              <a:gd name="connsiteY178" fmla="*/ 96044 h 2405063"/>
              <a:gd name="connsiteX179" fmla="*/ 9646708 w 11725275"/>
              <a:gd name="connsiteY179" fmla="*/ 95250 h 2405063"/>
              <a:gd name="connsiteX180" fmla="*/ 9667346 w 11725275"/>
              <a:gd name="connsiteY180" fmla="*/ 95250 h 2405063"/>
              <a:gd name="connsiteX181" fmla="*/ 9687983 w 11725275"/>
              <a:gd name="connsiteY181" fmla="*/ 94456 h 2405063"/>
              <a:gd name="connsiteX182" fmla="*/ 9708621 w 11725275"/>
              <a:gd name="connsiteY182" fmla="*/ 94456 h 2405063"/>
              <a:gd name="connsiteX183" fmla="*/ 9710208 w 11725275"/>
              <a:gd name="connsiteY183" fmla="*/ 96838 h 2405063"/>
              <a:gd name="connsiteX184" fmla="*/ 9710738 w 11725275"/>
              <a:gd name="connsiteY184" fmla="*/ 100013 h 2405063"/>
              <a:gd name="connsiteX185" fmla="*/ 9709150 w 11725275"/>
              <a:gd name="connsiteY185" fmla="*/ 101600 h 2405063"/>
              <a:gd name="connsiteX186" fmla="*/ 9707033 w 11725275"/>
              <a:gd name="connsiteY186" fmla="*/ 102394 h 2405063"/>
              <a:gd name="connsiteX187" fmla="*/ 9700683 w 11725275"/>
              <a:gd name="connsiteY187" fmla="*/ 105569 h 2405063"/>
              <a:gd name="connsiteX188" fmla="*/ 9693804 w 11725275"/>
              <a:gd name="connsiteY188" fmla="*/ 107156 h 2405063"/>
              <a:gd name="connsiteX189" fmla="*/ 9688512 w 11725275"/>
              <a:gd name="connsiteY189" fmla="*/ 107950 h 2405063"/>
              <a:gd name="connsiteX190" fmla="*/ 9687983 w 11725275"/>
              <a:gd name="connsiteY190" fmla="*/ 107950 h 2405063"/>
              <a:gd name="connsiteX191" fmla="*/ 9694862 w 11725275"/>
              <a:gd name="connsiteY191" fmla="*/ 108744 h 2405063"/>
              <a:gd name="connsiteX192" fmla="*/ 9709150 w 11725275"/>
              <a:gd name="connsiteY192" fmla="*/ 109538 h 2405063"/>
              <a:gd name="connsiteX193" fmla="*/ 9710208 w 11725275"/>
              <a:gd name="connsiteY193" fmla="*/ 111919 h 2405063"/>
              <a:gd name="connsiteX194" fmla="*/ 9710208 w 11725275"/>
              <a:gd name="connsiteY194" fmla="*/ 113506 h 2405063"/>
              <a:gd name="connsiteX195" fmla="*/ 9739842 w 11725275"/>
              <a:gd name="connsiteY195" fmla="*/ 111919 h 2405063"/>
              <a:gd name="connsiteX196" fmla="*/ 9769475 w 11725275"/>
              <a:gd name="connsiteY196" fmla="*/ 108744 h 2405063"/>
              <a:gd name="connsiteX197" fmla="*/ 9798050 w 11725275"/>
              <a:gd name="connsiteY197" fmla="*/ 105569 h 2405063"/>
              <a:gd name="connsiteX198" fmla="*/ 9826625 w 11725275"/>
              <a:gd name="connsiteY198" fmla="*/ 101600 h 2405063"/>
              <a:gd name="connsiteX199" fmla="*/ 9855729 w 11725275"/>
              <a:gd name="connsiteY199" fmla="*/ 97631 h 2405063"/>
              <a:gd name="connsiteX200" fmla="*/ 9885892 w 11725275"/>
              <a:gd name="connsiteY200" fmla="*/ 92869 h 2405063"/>
              <a:gd name="connsiteX201" fmla="*/ 9916583 w 11725275"/>
              <a:gd name="connsiteY201" fmla="*/ 89694 h 2405063"/>
              <a:gd name="connsiteX202" fmla="*/ 9950450 w 11725275"/>
              <a:gd name="connsiteY202" fmla="*/ 85725 h 2405063"/>
              <a:gd name="connsiteX203" fmla="*/ 9986962 w 11725275"/>
              <a:gd name="connsiteY203" fmla="*/ 82550 h 2405063"/>
              <a:gd name="connsiteX204" fmla="*/ 10016067 w 11725275"/>
              <a:gd name="connsiteY204" fmla="*/ 81756 h 2405063"/>
              <a:gd name="connsiteX205" fmla="*/ 10041467 w 11725275"/>
              <a:gd name="connsiteY205" fmla="*/ 82550 h 2405063"/>
              <a:gd name="connsiteX206" fmla="*/ 10063692 w 11725275"/>
              <a:gd name="connsiteY206" fmla="*/ 84931 h 2405063"/>
              <a:gd name="connsiteX207" fmla="*/ 10087504 w 11725275"/>
              <a:gd name="connsiteY207" fmla="*/ 88106 h 2405063"/>
              <a:gd name="connsiteX208" fmla="*/ 10113962 w 11725275"/>
              <a:gd name="connsiteY208" fmla="*/ 91281 h 2405063"/>
              <a:gd name="connsiteX209" fmla="*/ 10147300 w 11725275"/>
              <a:gd name="connsiteY209" fmla="*/ 94456 h 2405063"/>
              <a:gd name="connsiteX210" fmla="*/ 10190162 w 11725275"/>
              <a:gd name="connsiteY210" fmla="*/ 96838 h 2405063"/>
              <a:gd name="connsiteX211" fmla="*/ 10229321 w 11725275"/>
              <a:gd name="connsiteY211" fmla="*/ 97631 h 2405063"/>
              <a:gd name="connsiteX212" fmla="*/ 10261600 w 11725275"/>
              <a:gd name="connsiteY212" fmla="*/ 100806 h 2405063"/>
              <a:gd name="connsiteX213" fmla="*/ 10288058 w 11725275"/>
              <a:gd name="connsiteY213" fmla="*/ 103188 h 2405063"/>
              <a:gd name="connsiteX214" fmla="*/ 10310812 w 11725275"/>
              <a:gd name="connsiteY214" fmla="*/ 105569 h 2405063"/>
              <a:gd name="connsiteX215" fmla="*/ 10333038 w 11725275"/>
              <a:gd name="connsiteY215" fmla="*/ 106363 h 2405063"/>
              <a:gd name="connsiteX216" fmla="*/ 10356321 w 11725275"/>
              <a:gd name="connsiteY216" fmla="*/ 106363 h 2405063"/>
              <a:gd name="connsiteX217" fmla="*/ 10382250 w 11725275"/>
              <a:gd name="connsiteY217" fmla="*/ 103981 h 2405063"/>
              <a:gd name="connsiteX218" fmla="*/ 10413471 w 11725275"/>
              <a:gd name="connsiteY218" fmla="*/ 100806 h 2405063"/>
              <a:gd name="connsiteX219" fmla="*/ 10438342 w 11725275"/>
              <a:gd name="connsiteY219" fmla="*/ 97631 h 2405063"/>
              <a:gd name="connsiteX220" fmla="*/ 10464271 w 11725275"/>
              <a:gd name="connsiteY220" fmla="*/ 96044 h 2405063"/>
              <a:gd name="connsiteX221" fmla="*/ 10491258 w 11725275"/>
              <a:gd name="connsiteY221" fmla="*/ 95250 h 2405063"/>
              <a:gd name="connsiteX222" fmla="*/ 10518775 w 11725275"/>
              <a:gd name="connsiteY222" fmla="*/ 94456 h 2405063"/>
              <a:gd name="connsiteX223" fmla="*/ 10576983 w 11725275"/>
              <a:gd name="connsiteY223" fmla="*/ 96044 h 2405063"/>
              <a:gd name="connsiteX224" fmla="*/ 10637838 w 11725275"/>
              <a:gd name="connsiteY224" fmla="*/ 98425 h 2405063"/>
              <a:gd name="connsiteX225" fmla="*/ 10700279 w 11725275"/>
              <a:gd name="connsiteY225" fmla="*/ 101600 h 2405063"/>
              <a:gd name="connsiteX226" fmla="*/ 10763250 w 11725275"/>
              <a:gd name="connsiteY226" fmla="*/ 103188 h 2405063"/>
              <a:gd name="connsiteX227" fmla="*/ 10793942 w 11725275"/>
              <a:gd name="connsiteY227" fmla="*/ 103188 h 2405063"/>
              <a:gd name="connsiteX228" fmla="*/ 10824633 w 11725275"/>
              <a:gd name="connsiteY228" fmla="*/ 102394 h 2405063"/>
              <a:gd name="connsiteX229" fmla="*/ 10855325 w 11725275"/>
              <a:gd name="connsiteY229" fmla="*/ 101600 h 2405063"/>
              <a:gd name="connsiteX230" fmla="*/ 10884958 w 11725275"/>
              <a:gd name="connsiteY230" fmla="*/ 98425 h 2405063"/>
              <a:gd name="connsiteX231" fmla="*/ 11070696 w 11725275"/>
              <a:gd name="connsiteY231" fmla="*/ 90488 h 2405063"/>
              <a:gd name="connsiteX232" fmla="*/ 11095038 w 11725275"/>
              <a:gd name="connsiteY232" fmla="*/ 92869 h 2405063"/>
              <a:gd name="connsiteX233" fmla="*/ 11119379 w 11725275"/>
              <a:gd name="connsiteY233" fmla="*/ 94456 h 2405063"/>
              <a:gd name="connsiteX234" fmla="*/ 11144250 w 11725275"/>
              <a:gd name="connsiteY234" fmla="*/ 94456 h 2405063"/>
              <a:gd name="connsiteX235" fmla="*/ 11170708 w 11725275"/>
              <a:gd name="connsiteY235" fmla="*/ 94456 h 2405063"/>
              <a:gd name="connsiteX236" fmla="*/ 11223096 w 11725275"/>
              <a:gd name="connsiteY236" fmla="*/ 92075 h 2405063"/>
              <a:gd name="connsiteX237" fmla="*/ 11276542 w 11725275"/>
              <a:gd name="connsiteY237" fmla="*/ 88106 h 2405063"/>
              <a:gd name="connsiteX238" fmla="*/ 11330517 w 11725275"/>
              <a:gd name="connsiteY238" fmla="*/ 85725 h 2405063"/>
              <a:gd name="connsiteX239" fmla="*/ 11382375 w 11725275"/>
              <a:gd name="connsiteY239" fmla="*/ 84138 h 2405063"/>
              <a:gd name="connsiteX240" fmla="*/ 11407246 w 11725275"/>
              <a:gd name="connsiteY240" fmla="*/ 84138 h 2405063"/>
              <a:gd name="connsiteX241" fmla="*/ 11431588 w 11725275"/>
              <a:gd name="connsiteY241" fmla="*/ 84931 h 2405063"/>
              <a:gd name="connsiteX242" fmla="*/ 11455400 w 11725275"/>
              <a:gd name="connsiteY242" fmla="*/ 86519 h 2405063"/>
              <a:gd name="connsiteX243" fmla="*/ 11478154 w 11725275"/>
              <a:gd name="connsiteY243" fmla="*/ 89694 h 2405063"/>
              <a:gd name="connsiteX244" fmla="*/ 11499321 w 11725275"/>
              <a:gd name="connsiteY244" fmla="*/ 92869 h 2405063"/>
              <a:gd name="connsiteX245" fmla="*/ 11512550 w 11725275"/>
              <a:gd name="connsiteY245" fmla="*/ 95250 h 2405063"/>
              <a:gd name="connsiteX246" fmla="*/ 11519429 w 11725275"/>
              <a:gd name="connsiteY246" fmla="*/ 96838 h 2405063"/>
              <a:gd name="connsiteX247" fmla="*/ 11523133 w 11725275"/>
              <a:gd name="connsiteY247" fmla="*/ 98425 h 2405063"/>
              <a:gd name="connsiteX248" fmla="*/ 11524721 w 11725275"/>
              <a:gd name="connsiteY248" fmla="*/ 101600 h 2405063"/>
              <a:gd name="connsiteX249" fmla="*/ 11526838 w 11725275"/>
              <a:gd name="connsiteY249" fmla="*/ 105569 h 2405063"/>
              <a:gd name="connsiteX250" fmla="*/ 11531071 w 11725275"/>
              <a:gd name="connsiteY250" fmla="*/ 111125 h 2405063"/>
              <a:gd name="connsiteX251" fmla="*/ 11540067 w 11725275"/>
              <a:gd name="connsiteY251" fmla="*/ 119063 h 2405063"/>
              <a:gd name="connsiteX252" fmla="*/ 11688762 w 11725275"/>
              <a:gd name="connsiteY252" fmla="*/ 257969 h 2405063"/>
              <a:gd name="connsiteX253" fmla="*/ 11701992 w 11725275"/>
              <a:gd name="connsiteY253" fmla="*/ 280194 h 2405063"/>
              <a:gd name="connsiteX254" fmla="*/ 11712046 w 11725275"/>
              <a:gd name="connsiteY254" fmla="*/ 301625 h 2405063"/>
              <a:gd name="connsiteX255" fmla="*/ 11716279 w 11725275"/>
              <a:gd name="connsiteY255" fmla="*/ 311944 h 2405063"/>
              <a:gd name="connsiteX256" fmla="*/ 11719454 w 11725275"/>
              <a:gd name="connsiteY256" fmla="*/ 321469 h 2405063"/>
              <a:gd name="connsiteX257" fmla="*/ 11722100 w 11725275"/>
              <a:gd name="connsiteY257" fmla="*/ 330994 h 2405063"/>
              <a:gd name="connsiteX258" fmla="*/ 11723688 w 11725275"/>
              <a:gd name="connsiteY258" fmla="*/ 338931 h 2405063"/>
              <a:gd name="connsiteX259" fmla="*/ 11725275 w 11725275"/>
              <a:gd name="connsiteY259" fmla="*/ 347663 h 2405063"/>
              <a:gd name="connsiteX260" fmla="*/ 11725275 w 11725275"/>
              <a:gd name="connsiteY260" fmla="*/ 354806 h 2405063"/>
              <a:gd name="connsiteX261" fmla="*/ 11724746 w 11725275"/>
              <a:gd name="connsiteY261" fmla="*/ 361950 h 2405063"/>
              <a:gd name="connsiteX262" fmla="*/ 11722100 w 11725275"/>
              <a:gd name="connsiteY262" fmla="*/ 369094 h 2405063"/>
              <a:gd name="connsiteX263" fmla="*/ 11719454 w 11725275"/>
              <a:gd name="connsiteY263" fmla="*/ 375444 h 2405063"/>
              <a:gd name="connsiteX264" fmla="*/ 11715750 w 11725275"/>
              <a:gd name="connsiteY264" fmla="*/ 381794 h 2405063"/>
              <a:gd name="connsiteX265" fmla="*/ 11710458 w 11725275"/>
              <a:gd name="connsiteY265" fmla="*/ 387350 h 2405063"/>
              <a:gd name="connsiteX266" fmla="*/ 11704638 w 11725275"/>
              <a:gd name="connsiteY266" fmla="*/ 392113 h 2405063"/>
              <a:gd name="connsiteX267" fmla="*/ 11697229 w 11725275"/>
              <a:gd name="connsiteY267" fmla="*/ 396875 h 2405063"/>
              <a:gd name="connsiteX268" fmla="*/ 11689292 w 11725275"/>
              <a:gd name="connsiteY268" fmla="*/ 401638 h 2405063"/>
              <a:gd name="connsiteX269" fmla="*/ 11679767 w 11725275"/>
              <a:gd name="connsiteY269" fmla="*/ 404813 h 2405063"/>
              <a:gd name="connsiteX270" fmla="*/ 11668654 w 11725275"/>
              <a:gd name="connsiteY270" fmla="*/ 408782 h 2405063"/>
              <a:gd name="connsiteX271" fmla="*/ 11656483 w 11725275"/>
              <a:gd name="connsiteY271" fmla="*/ 411956 h 2405063"/>
              <a:gd name="connsiteX272" fmla="*/ 11643254 w 11725275"/>
              <a:gd name="connsiteY272" fmla="*/ 414338 h 2405063"/>
              <a:gd name="connsiteX273" fmla="*/ 11627908 w 11725275"/>
              <a:gd name="connsiteY273" fmla="*/ 416719 h 2405063"/>
              <a:gd name="connsiteX274" fmla="*/ 11611504 w 11725275"/>
              <a:gd name="connsiteY274" fmla="*/ 418307 h 2405063"/>
              <a:gd name="connsiteX275" fmla="*/ 11594042 w 11725275"/>
              <a:gd name="connsiteY275" fmla="*/ 419894 h 2405063"/>
              <a:gd name="connsiteX276" fmla="*/ 11574992 w 11725275"/>
              <a:gd name="connsiteY276" fmla="*/ 420688 h 2405063"/>
              <a:gd name="connsiteX277" fmla="*/ 11554354 w 11725275"/>
              <a:gd name="connsiteY277" fmla="*/ 422275 h 2405063"/>
              <a:gd name="connsiteX278" fmla="*/ 11531600 w 11725275"/>
              <a:gd name="connsiteY278" fmla="*/ 422275 h 2405063"/>
              <a:gd name="connsiteX279" fmla="*/ 11482917 w 11725275"/>
              <a:gd name="connsiteY279" fmla="*/ 420688 h 2405063"/>
              <a:gd name="connsiteX280" fmla="*/ 11426825 w 11725275"/>
              <a:gd name="connsiteY280" fmla="*/ 419100 h 2405063"/>
              <a:gd name="connsiteX281" fmla="*/ 11368617 w 11725275"/>
              <a:gd name="connsiteY281" fmla="*/ 416719 h 2405063"/>
              <a:gd name="connsiteX282" fmla="*/ 11308292 w 11725275"/>
              <a:gd name="connsiteY282" fmla="*/ 413544 h 2405063"/>
              <a:gd name="connsiteX283" fmla="*/ 11246908 w 11725275"/>
              <a:gd name="connsiteY283" fmla="*/ 411956 h 2405063"/>
              <a:gd name="connsiteX284" fmla="*/ 11184467 w 11725275"/>
              <a:gd name="connsiteY284" fmla="*/ 409575 h 2405063"/>
              <a:gd name="connsiteX285" fmla="*/ 11121496 w 11725275"/>
              <a:gd name="connsiteY285" fmla="*/ 408782 h 2405063"/>
              <a:gd name="connsiteX286" fmla="*/ 11057467 w 11725275"/>
              <a:gd name="connsiteY286" fmla="*/ 407988 h 2405063"/>
              <a:gd name="connsiteX287" fmla="*/ 10993967 w 11725275"/>
              <a:gd name="connsiteY287" fmla="*/ 407194 h 2405063"/>
              <a:gd name="connsiteX288" fmla="*/ 10929408 w 11725275"/>
              <a:gd name="connsiteY288" fmla="*/ 407194 h 2405063"/>
              <a:gd name="connsiteX289" fmla="*/ 10864321 w 11725275"/>
              <a:gd name="connsiteY289" fmla="*/ 406400 h 2405063"/>
              <a:gd name="connsiteX290" fmla="*/ 10799762 w 11725275"/>
              <a:gd name="connsiteY290" fmla="*/ 406400 h 2405063"/>
              <a:gd name="connsiteX291" fmla="*/ 10735204 w 11725275"/>
              <a:gd name="connsiteY291" fmla="*/ 406400 h 2405063"/>
              <a:gd name="connsiteX292" fmla="*/ 10670646 w 11725275"/>
              <a:gd name="connsiteY292" fmla="*/ 406400 h 2405063"/>
              <a:gd name="connsiteX293" fmla="*/ 10607146 w 11725275"/>
              <a:gd name="connsiteY293" fmla="*/ 406400 h 2405063"/>
              <a:gd name="connsiteX294" fmla="*/ 10544175 w 11725275"/>
              <a:gd name="connsiteY294" fmla="*/ 406400 h 2405063"/>
              <a:gd name="connsiteX295" fmla="*/ 10482262 w 11725275"/>
              <a:gd name="connsiteY295" fmla="*/ 406400 h 2405063"/>
              <a:gd name="connsiteX296" fmla="*/ 10420879 w 11725275"/>
              <a:gd name="connsiteY296" fmla="*/ 406400 h 2405063"/>
              <a:gd name="connsiteX297" fmla="*/ 9417579 w 11725275"/>
              <a:gd name="connsiteY297" fmla="*/ 411956 h 2405063"/>
              <a:gd name="connsiteX298" fmla="*/ 9337675 w 11725275"/>
              <a:gd name="connsiteY298" fmla="*/ 412750 h 2405063"/>
              <a:gd name="connsiteX299" fmla="*/ 9282642 w 11725275"/>
              <a:gd name="connsiteY299" fmla="*/ 411163 h 2405063"/>
              <a:gd name="connsiteX300" fmla="*/ 9246129 w 11725275"/>
              <a:gd name="connsiteY300" fmla="*/ 408782 h 2405063"/>
              <a:gd name="connsiteX301" fmla="*/ 9223375 w 11725275"/>
              <a:gd name="connsiteY301" fmla="*/ 406400 h 2405063"/>
              <a:gd name="connsiteX302" fmla="*/ 9207500 w 11725275"/>
              <a:gd name="connsiteY302" fmla="*/ 402432 h 2405063"/>
              <a:gd name="connsiteX303" fmla="*/ 9193212 w 11725275"/>
              <a:gd name="connsiteY303" fmla="*/ 400844 h 2405063"/>
              <a:gd name="connsiteX304" fmla="*/ 9185275 w 11725275"/>
              <a:gd name="connsiteY304" fmla="*/ 398463 h 2405063"/>
              <a:gd name="connsiteX305" fmla="*/ 9175750 w 11725275"/>
              <a:gd name="connsiteY305" fmla="*/ 398463 h 2405063"/>
              <a:gd name="connsiteX306" fmla="*/ 9163050 w 11725275"/>
              <a:gd name="connsiteY306" fmla="*/ 397669 h 2405063"/>
              <a:gd name="connsiteX307" fmla="*/ 9147704 w 11725275"/>
              <a:gd name="connsiteY307" fmla="*/ 397669 h 2405063"/>
              <a:gd name="connsiteX308" fmla="*/ 9130242 w 11725275"/>
              <a:gd name="connsiteY308" fmla="*/ 398463 h 2405063"/>
              <a:gd name="connsiteX309" fmla="*/ 9114896 w 11725275"/>
              <a:gd name="connsiteY309" fmla="*/ 399256 h 2405063"/>
              <a:gd name="connsiteX310" fmla="*/ 9101138 w 11725275"/>
              <a:gd name="connsiteY310" fmla="*/ 401638 h 2405063"/>
              <a:gd name="connsiteX311" fmla="*/ 9086850 w 11725275"/>
              <a:gd name="connsiteY311" fmla="*/ 403225 h 2405063"/>
              <a:gd name="connsiteX312" fmla="*/ 9070975 w 11725275"/>
              <a:gd name="connsiteY312" fmla="*/ 404813 h 2405063"/>
              <a:gd name="connsiteX313" fmla="*/ 9051925 w 11725275"/>
              <a:gd name="connsiteY313" fmla="*/ 406400 h 2405063"/>
              <a:gd name="connsiteX314" fmla="*/ 9028642 w 11725275"/>
              <a:gd name="connsiteY314" fmla="*/ 407988 h 2405063"/>
              <a:gd name="connsiteX315" fmla="*/ 8999008 w 11725275"/>
              <a:gd name="connsiteY315" fmla="*/ 408782 h 2405063"/>
              <a:gd name="connsiteX316" fmla="*/ 8617479 w 11725275"/>
              <a:gd name="connsiteY316" fmla="*/ 407194 h 2405063"/>
              <a:gd name="connsiteX317" fmla="*/ 8569854 w 11725275"/>
              <a:gd name="connsiteY317" fmla="*/ 406400 h 2405063"/>
              <a:gd name="connsiteX318" fmla="*/ 8528050 w 11725275"/>
              <a:gd name="connsiteY318" fmla="*/ 406400 h 2405063"/>
              <a:gd name="connsiteX319" fmla="*/ 8489950 w 11725275"/>
              <a:gd name="connsiteY319" fmla="*/ 407988 h 2405063"/>
              <a:gd name="connsiteX320" fmla="*/ 8453967 w 11725275"/>
              <a:gd name="connsiteY320" fmla="*/ 409575 h 2405063"/>
              <a:gd name="connsiteX321" fmla="*/ 8417454 w 11725275"/>
              <a:gd name="connsiteY321" fmla="*/ 413544 h 2405063"/>
              <a:gd name="connsiteX322" fmla="*/ 8379354 w 11725275"/>
              <a:gd name="connsiteY322" fmla="*/ 416719 h 2405063"/>
              <a:gd name="connsiteX323" fmla="*/ 8337550 w 11725275"/>
              <a:gd name="connsiteY323" fmla="*/ 418307 h 2405063"/>
              <a:gd name="connsiteX324" fmla="*/ 8289925 w 11725275"/>
              <a:gd name="connsiteY324" fmla="*/ 419894 h 2405063"/>
              <a:gd name="connsiteX325" fmla="*/ 7835371 w 11725275"/>
              <a:gd name="connsiteY325" fmla="*/ 430213 h 2405063"/>
              <a:gd name="connsiteX326" fmla="*/ 7823200 w 11725275"/>
              <a:gd name="connsiteY326" fmla="*/ 431007 h 2405063"/>
              <a:gd name="connsiteX327" fmla="*/ 7815792 w 11725275"/>
              <a:gd name="connsiteY327" fmla="*/ 432594 h 2405063"/>
              <a:gd name="connsiteX328" fmla="*/ 7812088 w 11725275"/>
              <a:gd name="connsiteY328" fmla="*/ 432594 h 2405063"/>
              <a:gd name="connsiteX329" fmla="*/ 7809971 w 11725275"/>
              <a:gd name="connsiteY329" fmla="*/ 433388 h 2405063"/>
              <a:gd name="connsiteX330" fmla="*/ 7806796 w 11725275"/>
              <a:gd name="connsiteY330" fmla="*/ 433388 h 2405063"/>
              <a:gd name="connsiteX331" fmla="*/ 7801504 w 11725275"/>
              <a:gd name="connsiteY331" fmla="*/ 434975 h 2405063"/>
              <a:gd name="connsiteX332" fmla="*/ 7793038 w 11725275"/>
              <a:gd name="connsiteY332" fmla="*/ 438150 h 2405063"/>
              <a:gd name="connsiteX333" fmla="*/ 7778221 w 11725275"/>
              <a:gd name="connsiteY333" fmla="*/ 441325 h 2405063"/>
              <a:gd name="connsiteX334" fmla="*/ 7772400 w 11725275"/>
              <a:gd name="connsiteY334" fmla="*/ 443706 h 2405063"/>
              <a:gd name="connsiteX335" fmla="*/ 7764463 w 11725275"/>
              <a:gd name="connsiteY335" fmla="*/ 446088 h 2405063"/>
              <a:gd name="connsiteX336" fmla="*/ 7757054 w 11725275"/>
              <a:gd name="connsiteY336" fmla="*/ 447675 h 2405063"/>
              <a:gd name="connsiteX337" fmla="*/ 7752821 w 11725275"/>
              <a:gd name="connsiteY337" fmla="*/ 450056 h 2405063"/>
              <a:gd name="connsiteX338" fmla="*/ 7727950 w 11725275"/>
              <a:gd name="connsiteY338" fmla="*/ 457994 h 2405063"/>
              <a:gd name="connsiteX339" fmla="*/ 7734829 w 11725275"/>
              <a:gd name="connsiteY339" fmla="*/ 460375 h 2405063"/>
              <a:gd name="connsiteX340" fmla="*/ 7741709 w 11725275"/>
              <a:gd name="connsiteY340" fmla="*/ 461169 h 2405063"/>
              <a:gd name="connsiteX341" fmla="*/ 7748059 w 11725275"/>
              <a:gd name="connsiteY341" fmla="*/ 462757 h 2405063"/>
              <a:gd name="connsiteX342" fmla="*/ 7755467 w 11725275"/>
              <a:gd name="connsiteY342" fmla="*/ 463550 h 2405063"/>
              <a:gd name="connsiteX343" fmla="*/ 7762346 w 11725275"/>
              <a:gd name="connsiteY343" fmla="*/ 465931 h 2405063"/>
              <a:gd name="connsiteX344" fmla="*/ 7769225 w 11725275"/>
              <a:gd name="connsiteY344" fmla="*/ 467519 h 2405063"/>
              <a:gd name="connsiteX345" fmla="*/ 7890934 w 11725275"/>
              <a:gd name="connsiteY345" fmla="*/ 477044 h 2405063"/>
              <a:gd name="connsiteX346" fmla="*/ 7886171 w 11725275"/>
              <a:gd name="connsiteY346" fmla="*/ 476250 h 2405063"/>
              <a:gd name="connsiteX347" fmla="*/ 7875059 w 11725275"/>
              <a:gd name="connsiteY347" fmla="*/ 472281 h 2405063"/>
              <a:gd name="connsiteX348" fmla="*/ 7868179 w 11725275"/>
              <a:gd name="connsiteY348" fmla="*/ 468313 h 2405063"/>
              <a:gd name="connsiteX349" fmla="*/ 7861829 w 11725275"/>
              <a:gd name="connsiteY349" fmla="*/ 462757 h 2405063"/>
              <a:gd name="connsiteX350" fmla="*/ 7858654 w 11725275"/>
              <a:gd name="connsiteY350" fmla="*/ 459581 h 2405063"/>
              <a:gd name="connsiteX351" fmla="*/ 7856009 w 11725275"/>
              <a:gd name="connsiteY351" fmla="*/ 455613 h 2405063"/>
              <a:gd name="connsiteX352" fmla="*/ 7853892 w 11725275"/>
              <a:gd name="connsiteY352" fmla="*/ 450850 h 2405063"/>
              <a:gd name="connsiteX353" fmla="*/ 7852304 w 11725275"/>
              <a:gd name="connsiteY353" fmla="*/ 446088 h 2405063"/>
              <a:gd name="connsiteX354" fmla="*/ 7868179 w 11725275"/>
              <a:gd name="connsiteY354" fmla="*/ 449263 h 2405063"/>
              <a:gd name="connsiteX355" fmla="*/ 7886171 w 11725275"/>
              <a:gd name="connsiteY355" fmla="*/ 451644 h 2405063"/>
              <a:gd name="connsiteX356" fmla="*/ 7904163 w 11725275"/>
              <a:gd name="connsiteY356" fmla="*/ 454819 h 2405063"/>
              <a:gd name="connsiteX357" fmla="*/ 7922684 w 11725275"/>
              <a:gd name="connsiteY357" fmla="*/ 456406 h 2405063"/>
              <a:gd name="connsiteX358" fmla="*/ 7942263 w 11725275"/>
              <a:gd name="connsiteY358" fmla="*/ 457994 h 2405063"/>
              <a:gd name="connsiteX359" fmla="*/ 7961313 w 11725275"/>
              <a:gd name="connsiteY359" fmla="*/ 460375 h 2405063"/>
              <a:gd name="connsiteX360" fmla="*/ 7980363 w 11725275"/>
              <a:gd name="connsiteY360" fmla="*/ 461963 h 2405063"/>
              <a:gd name="connsiteX361" fmla="*/ 7999413 w 11725275"/>
              <a:gd name="connsiteY361" fmla="*/ 463550 h 2405063"/>
              <a:gd name="connsiteX362" fmla="*/ 8001529 w 11725275"/>
              <a:gd name="connsiteY362" fmla="*/ 466725 h 2405063"/>
              <a:gd name="connsiteX363" fmla="*/ 8002588 w 11725275"/>
              <a:gd name="connsiteY363" fmla="*/ 469107 h 2405063"/>
              <a:gd name="connsiteX364" fmla="*/ 8002588 w 11725275"/>
              <a:gd name="connsiteY364" fmla="*/ 471488 h 2405063"/>
              <a:gd name="connsiteX365" fmla="*/ 8001000 w 11725275"/>
              <a:gd name="connsiteY365" fmla="*/ 473075 h 2405063"/>
              <a:gd name="connsiteX366" fmla="*/ 7996767 w 11725275"/>
              <a:gd name="connsiteY366" fmla="*/ 473869 h 2405063"/>
              <a:gd name="connsiteX367" fmla="*/ 7989888 w 11725275"/>
              <a:gd name="connsiteY367" fmla="*/ 473869 h 2405063"/>
              <a:gd name="connsiteX368" fmla="*/ 7983538 w 11725275"/>
              <a:gd name="connsiteY368" fmla="*/ 473869 h 2405063"/>
              <a:gd name="connsiteX369" fmla="*/ 7979304 w 11725275"/>
              <a:gd name="connsiteY369" fmla="*/ 474663 h 2405063"/>
              <a:gd name="connsiteX370" fmla="*/ 7977717 w 11725275"/>
              <a:gd name="connsiteY370" fmla="*/ 476250 h 2405063"/>
              <a:gd name="connsiteX371" fmla="*/ 7976659 w 11725275"/>
              <a:gd name="connsiteY371" fmla="*/ 477838 h 2405063"/>
              <a:gd name="connsiteX372" fmla="*/ 7978246 w 11725275"/>
              <a:gd name="connsiteY372" fmla="*/ 479425 h 2405063"/>
              <a:gd name="connsiteX373" fmla="*/ 7980363 w 11725275"/>
              <a:gd name="connsiteY373" fmla="*/ 483394 h 2405063"/>
              <a:gd name="connsiteX374" fmla="*/ 8004704 w 11725275"/>
              <a:gd name="connsiteY374" fmla="*/ 482600 h 2405063"/>
              <a:gd name="connsiteX375" fmla="*/ 8023225 w 11725275"/>
              <a:gd name="connsiteY375" fmla="*/ 482600 h 2405063"/>
              <a:gd name="connsiteX376" fmla="*/ 8037513 w 11725275"/>
              <a:gd name="connsiteY376" fmla="*/ 481013 h 2405063"/>
              <a:gd name="connsiteX377" fmla="*/ 8050213 w 11725275"/>
              <a:gd name="connsiteY377" fmla="*/ 478631 h 2405063"/>
              <a:gd name="connsiteX378" fmla="*/ 8061325 w 11725275"/>
              <a:gd name="connsiteY378" fmla="*/ 476250 h 2405063"/>
              <a:gd name="connsiteX379" fmla="*/ 8071909 w 11725275"/>
              <a:gd name="connsiteY379" fmla="*/ 472281 h 2405063"/>
              <a:gd name="connsiteX380" fmla="*/ 8085137 w 11725275"/>
              <a:gd name="connsiteY380" fmla="*/ 467519 h 2405063"/>
              <a:gd name="connsiteX381" fmla="*/ 8102071 w 11725275"/>
              <a:gd name="connsiteY381" fmla="*/ 461169 h 2405063"/>
              <a:gd name="connsiteX382" fmla="*/ 8117417 w 11725275"/>
              <a:gd name="connsiteY382" fmla="*/ 454819 h 2405063"/>
              <a:gd name="connsiteX383" fmla="*/ 8124524 w 11725275"/>
              <a:gd name="connsiteY383" fmla="*/ 451858 h 2405063"/>
              <a:gd name="connsiteX384" fmla="*/ 8128529 w 11725275"/>
              <a:gd name="connsiteY384" fmla="*/ 455613 h 2405063"/>
              <a:gd name="connsiteX385" fmla="*/ 8130646 w 11725275"/>
              <a:gd name="connsiteY385" fmla="*/ 457994 h 2405063"/>
              <a:gd name="connsiteX386" fmla="*/ 8130646 w 11725275"/>
              <a:gd name="connsiteY386" fmla="*/ 459581 h 2405063"/>
              <a:gd name="connsiteX387" fmla="*/ 8130117 w 11725275"/>
              <a:gd name="connsiteY387" fmla="*/ 461169 h 2405063"/>
              <a:gd name="connsiteX388" fmla="*/ 8128000 w 11725275"/>
              <a:gd name="connsiteY388" fmla="*/ 461963 h 2405063"/>
              <a:gd name="connsiteX389" fmla="*/ 8124825 w 11725275"/>
              <a:gd name="connsiteY389" fmla="*/ 465138 h 2405063"/>
              <a:gd name="connsiteX390" fmla="*/ 8122709 w 11725275"/>
              <a:gd name="connsiteY390" fmla="*/ 468313 h 2405063"/>
              <a:gd name="connsiteX391" fmla="*/ 8119533 w 11725275"/>
              <a:gd name="connsiteY391" fmla="*/ 474663 h 2405063"/>
              <a:gd name="connsiteX392" fmla="*/ 8115829 w 11725275"/>
              <a:gd name="connsiteY392" fmla="*/ 484981 h 2405063"/>
              <a:gd name="connsiteX393" fmla="*/ 8112654 w 11725275"/>
              <a:gd name="connsiteY393" fmla="*/ 493713 h 2405063"/>
              <a:gd name="connsiteX394" fmla="*/ 8111067 w 11725275"/>
              <a:gd name="connsiteY394" fmla="*/ 497682 h 2405063"/>
              <a:gd name="connsiteX395" fmla="*/ 8110009 w 11725275"/>
              <a:gd name="connsiteY395" fmla="*/ 500063 h 2405063"/>
              <a:gd name="connsiteX396" fmla="*/ 8111067 w 11725275"/>
              <a:gd name="connsiteY396" fmla="*/ 502444 h 2405063"/>
              <a:gd name="connsiteX397" fmla="*/ 8112654 w 11725275"/>
              <a:gd name="connsiteY397" fmla="*/ 504032 h 2405063"/>
              <a:gd name="connsiteX398" fmla="*/ 8115300 w 11725275"/>
              <a:gd name="connsiteY398" fmla="*/ 505619 h 2405063"/>
              <a:gd name="connsiteX399" fmla="*/ 8119533 w 11725275"/>
              <a:gd name="connsiteY399" fmla="*/ 506413 h 2405063"/>
              <a:gd name="connsiteX400" fmla="*/ 8125354 w 11725275"/>
              <a:gd name="connsiteY400" fmla="*/ 508000 h 2405063"/>
              <a:gd name="connsiteX401" fmla="*/ 8134350 w 11725275"/>
              <a:gd name="connsiteY401" fmla="*/ 508794 h 2405063"/>
              <a:gd name="connsiteX402" fmla="*/ 8157104 w 11725275"/>
              <a:gd name="connsiteY402" fmla="*/ 509588 h 2405063"/>
              <a:gd name="connsiteX403" fmla="*/ 8190971 w 11725275"/>
              <a:gd name="connsiteY403" fmla="*/ 509588 h 2405063"/>
              <a:gd name="connsiteX404" fmla="*/ 8195733 w 11725275"/>
              <a:gd name="connsiteY404" fmla="*/ 500856 h 2405063"/>
              <a:gd name="connsiteX405" fmla="*/ 8198909 w 11725275"/>
              <a:gd name="connsiteY405" fmla="*/ 493713 h 2405063"/>
              <a:gd name="connsiteX406" fmla="*/ 8201025 w 11725275"/>
              <a:gd name="connsiteY406" fmla="*/ 490538 h 2405063"/>
              <a:gd name="connsiteX407" fmla="*/ 8204200 w 11725275"/>
              <a:gd name="connsiteY407" fmla="*/ 488950 h 2405063"/>
              <a:gd name="connsiteX408" fmla="*/ 8207904 w 11725275"/>
              <a:gd name="connsiteY408" fmla="*/ 487363 h 2405063"/>
              <a:gd name="connsiteX409" fmla="*/ 8213725 w 11725275"/>
              <a:gd name="connsiteY409" fmla="*/ 486569 h 2405063"/>
              <a:gd name="connsiteX410" fmla="*/ 8221663 w 11725275"/>
              <a:gd name="connsiteY410" fmla="*/ 484981 h 2405063"/>
              <a:gd name="connsiteX411" fmla="*/ 8232775 w 11725275"/>
              <a:gd name="connsiteY411" fmla="*/ 484981 h 2405063"/>
              <a:gd name="connsiteX412" fmla="*/ 8246533 w 11725275"/>
              <a:gd name="connsiteY412" fmla="*/ 484981 h 2405063"/>
              <a:gd name="connsiteX413" fmla="*/ 8263467 w 11725275"/>
              <a:gd name="connsiteY413" fmla="*/ 487363 h 2405063"/>
              <a:gd name="connsiteX414" fmla="*/ 8311091 w 11725275"/>
              <a:gd name="connsiteY414" fmla="*/ 490538 h 2405063"/>
              <a:gd name="connsiteX415" fmla="*/ 8378296 w 11725275"/>
              <a:gd name="connsiteY415" fmla="*/ 496094 h 2405063"/>
              <a:gd name="connsiteX416" fmla="*/ 8374063 w 11725275"/>
              <a:gd name="connsiteY416" fmla="*/ 492919 h 2405063"/>
              <a:gd name="connsiteX417" fmla="*/ 8369829 w 11725275"/>
              <a:gd name="connsiteY417" fmla="*/ 488950 h 2405063"/>
              <a:gd name="connsiteX418" fmla="*/ 8365067 w 11725275"/>
              <a:gd name="connsiteY418" fmla="*/ 486569 h 2405063"/>
              <a:gd name="connsiteX419" fmla="*/ 8360304 w 11725275"/>
              <a:gd name="connsiteY419" fmla="*/ 483394 h 2405063"/>
              <a:gd name="connsiteX420" fmla="*/ 8349191 w 11725275"/>
              <a:gd name="connsiteY420" fmla="*/ 478631 h 2405063"/>
              <a:gd name="connsiteX421" fmla="*/ 8337550 w 11725275"/>
              <a:gd name="connsiteY421" fmla="*/ 476250 h 2405063"/>
              <a:gd name="connsiteX422" fmla="*/ 8307917 w 11725275"/>
              <a:gd name="connsiteY422" fmla="*/ 472281 h 2405063"/>
              <a:gd name="connsiteX423" fmla="*/ 8271933 w 11725275"/>
              <a:gd name="connsiteY423" fmla="*/ 469107 h 2405063"/>
              <a:gd name="connsiteX424" fmla="*/ 8280929 w 11725275"/>
              <a:gd name="connsiteY424" fmla="*/ 466725 h 2405063"/>
              <a:gd name="connsiteX425" fmla="*/ 8290983 w 11725275"/>
              <a:gd name="connsiteY425" fmla="*/ 465138 h 2405063"/>
              <a:gd name="connsiteX426" fmla="*/ 8303683 w 11725275"/>
              <a:gd name="connsiteY426" fmla="*/ 463550 h 2405063"/>
              <a:gd name="connsiteX427" fmla="*/ 8316913 w 11725275"/>
              <a:gd name="connsiteY427" fmla="*/ 463550 h 2405063"/>
              <a:gd name="connsiteX428" fmla="*/ 8347604 w 11725275"/>
              <a:gd name="connsiteY428" fmla="*/ 463550 h 2405063"/>
              <a:gd name="connsiteX429" fmla="*/ 8380413 w 11725275"/>
              <a:gd name="connsiteY429" fmla="*/ 465931 h 2405063"/>
              <a:gd name="connsiteX430" fmla="*/ 8414279 w 11725275"/>
              <a:gd name="connsiteY430" fmla="*/ 469107 h 2405063"/>
              <a:gd name="connsiteX431" fmla="*/ 8447088 w 11725275"/>
              <a:gd name="connsiteY431" fmla="*/ 473075 h 2405063"/>
              <a:gd name="connsiteX432" fmla="*/ 8478308 w 11725275"/>
              <a:gd name="connsiteY432" fmla="*/ 478631 h 2405063"/>
              <a:gd name="connsiteX433" fmla="*/ 8503179 w 11725275"/>
              <a:gd name="connsiteY433" fmla="*/ 484981 h 2405063"/>
              <a:gd name="connsiteX434" fmla="*/ 8460317 w 11725275"/>
              <a:gd name="connsiteY434" fmla="*/ 492125 h 2405063"/>
              <a:gd name="connsiteX435" fmla="*/ 8456612 w 11725275"/>
              <a:gd name="connsiteY435" fmla="*/ 493713 h 2405063"/>
              <a:gd name="connsiteX436" fmla="*/ 8454496 w 11725275"/>
              <a:gd name="connsiteY436" fmla="*/ 495300 h 2405063"/>
              <a:gd name="connsiteX437" fmla="*/ 8453438 w 11725275"/>
              <a:gd name="connsiteY437" fmla="*/ 497682 h 2405063"/>
              <a:gd name="connsiteX438" fmla="*/ 8451850 w 11725275"/>
              <a:gd name="connsiteY438" fmla="*/ 499269 h 2405063"/>
              <a:gd name="connsiteX439" fmla="*/ 8448675 w 11725275"/>
              <a:gd name="connsiteY439" fmla="*/ 504825 h 2405063"/>
              <a:gd name="connsiteX440" fmla="*/ 8443912 w 11725275"/>
              <a:gd name="connsiteY440" fmla="*/ 514350 h 2405063"/>
              <a:gd name="connsiteX441" fmla="*/ 8559271 w 11725275"/>
              <a:gd name="connsiteY441" fmla="*/ 500063 h 2405063"/>
              <a:gd name="connsiteX442" fmla="*/ 8593138 w 11725275"/>
              <a:gd name="connsiteY442" fmla="*/ 490538 h 2405063"/>
              <a:gd name="connsiteX443" fmla="*/ 8620125 w 11725275"/>
              <a:gd name="connsiteY443" fmla="*/ 483394 h 2405063"/>
              <a:gd name="connsiteX444" fmla="*/ 8641292 w 11725275"/>
              <a:gd name="connsiteY444" fmla="*/ 478631 h 2405063"/>
              <a:gd name="connsiteX445" fmla="*/ 8658225 w 11725275"/>
              <a:gd name="connsiteY445" fmla="*/ 474663 h 2405063"/>
              <a:gd name="connsiteX446" fmla="*/ 8670925 w 11725275"/>
              <a:gd name="connsiteY446" fmla="*/ 473869 h 2405063"/>
              <a:gd name="connsiteX447" fmla="*/ 8680979 w 11725275"/>
              <a:gd name="connsiteY447" fmla="*/ 473075 h 2405063"/>
              <a:gd name="connsiteX448" fmla="*/ 8688917 w 11725275"/>
              <a:gd name="connsiteY448" fmla="*/ 473869 h 2405063"/>
              <a:gd name="connsiteX449" fmla="*/ 8695796 w 11725275"/>
              <a:gd name="connsiteY449" fmla="*/ 476250 h 2405063"/>
              <a:gd name="connsiteX450" fmla="*/ 8709554 w 11725275"/>
              <a:gd name="connsiteY450" fmla="*/ 482600 h 2405063"/>
              <a:gd name="connsiteX451" fmla="*/ 8729662 w 11725275"/>
              <a:gd name="connsiteY451" fmla="*/ 488950 h 2405063"/>
              <a:gd name="connsiteX452" fmla="*/ 8743950 w 11725275"/>
              <a:gd name="connsiteY452" fmla="*/ 492919 h 2405063"/>
              <a:gd name="connsiteX453" fmla="*/ 8763000 w 11725275"/>
              <a:gd name="connsiteY453" fmla="*/ 495300 h 2405063"/>
              <a:gd name="connsiteX454" fmla="*/ 8787342 w 11725275"/>
              <a:gd name="connsiteY454" fmla="*/ 498475 h 2405063"/>
              <a:gd name="connsiteX455" fmla="*/ 8817504 w 11725275"/>
              <a:gd name="connsiteY455" fmla="*/ 499269 h 2405063"/>
              <a:gd name="connsiteX456" fmla="*/ 8841846 w 11725275"/>
              <a:gd name="connsiteY456" fmla="*/ 499269 h 2405063"/>
              <a:gd name="connsiteX457" fmla="*/ 8871479 w 11725275"/>
              <a:gd name="connsiteY457" fmla="*/ 498475 h 2405063"/>
              <a:gd name="connsiteX458" fmla="*/ 8905875 w 11725275"/>
              <a:gd name="connsiteY458" fmla="*/ 497682 h 2405063"/>
              <a:gd name="connsiteX459" fmla="*/ 8941858 w 11725275"/>
              <a:gd name="connsiteY459" fmla="*/ 496094 h 2405063"/>
              <a:gd name="connsiteX460" fmla="*/ 8977312 w 11725275"/>
              <a:gd name="connsiteY460" fmla="*/ 495300 h 2405063"/>
              <a:gd name="connsiteX461" fmla="*/ 9009592 w 11725275"/>
              <a:gd name="connsiteY461" fmla="*/ 496094 h 2405063"/>
              <a:gd name="connsiteX462" fmla="*/ 9023879 w 11725275"/>
              <a:gd name="connsiteY462" fmla="*/ 497682 h 2405063"/>
              <a:gd name="connsiteX463" fmla="*/ 9037108 w 11725275"/>
              <a:gd name="connsiteY463" fmla="*/ 499269 h 2405063"/>
              <a:gd name="connsiteX464" fmla="*/ 9048221 w 11725275"/>
              <a:gd name="connsiteY464" fmla="*/ 500856 h 2405063"/>
              <a:gd name="connsiteX465" fmla="*/ 9057217 w 11725275"/>
              <a:gd name="connsiteY465" fmla="*/ 504032 h 2405063"/>
              <a:gd name="connsiteX466" fmla="*/ 9069388 w 11725275"/>
              <a:gd name="connsiteY466" fmla="*/ 515144 h 2405063"/>
              <a:gd name="connsiteX467" fmla="*/ 9082088 w 11725275"/>
              <a:gd name="connsiteY467" fmla="*/ 509588 h 2405063"/>
              <a:gd name="connsiteX468" fmla="*/ 9095317 w 11725275"/>
              <a:gd name="connsiteY468" fmla="*/ 504825 h 2405063"/>
              <a:gd name="connsiteX469" fmla="*/ 9109075 w 11725275"/>
              <a:gd name="connsiteY469" fmla="*/ 500856 h 2405063"/>
              <a:gd name="connsiteX470" fmla="*/ 9123892 w 11725275"/>
              <a:gd name="connsiteY470" fmla="*/ 498475 h 2405063"/>
              <a:gd name="connsiteX471" fmla="*/ 9138179 w 11725275"/>
              <a:gd name="connsiteY471" fmla="*/ 496094 h 2405063"/>
              <a:gd name="connsiteX472" fmla="*/ 9153525 w 11725275"/>
              <a:gd name="connsiteY472" fmla="*/ 494506 h 2405063"/>
              <a:gd name="connsiteX473" fmla="*/ 9169929 w 11725275"/>
              <a:gd name="connsiteY473" fmla="*/ 494506 h 2405063"/>
              <a:gd name="connsiteX474" fmla="*/ 9186862 w 11725275"/>
              <a:gd name="connsiteY474" fmla="*/ 494506 h 2405063"/>
              <a:gd name="connsiteX475" fmla="*/ 9221788 w 11725275"/>
              <a:gd name="connsiteY475" fmla="*/ 495300 h 2405063"/>
              <a:gd name="connsiteX476" fmla="*/ 9259358 w 11725275"/>
              <a:gd name="connsiteY476" fmla="*/ 497682 h 2405063"/>
              <a:gd name="connsiteX477" fmla="*/ 9299046 w 11725275"/>
              <a:gd name="connsiteY477" fmla="*/ 499269 h 2405063"/>
              <a:gd name="connsiteX478" fmla="*/ 9340850 w 11725275"/>
              <a:gd name="connsiteY478" fmla="*/ 500856 h 2405063"/>
              <a:gd name="connsiteX479" fmla="*/ 9338204 w 11725275"/>
              <a:gd name="connsiteY479" fmla="*/ 471488 h 2405063"/>
              <a:gd name="connsiteX480" fmla="*/ 9463088 w 11725275"/>
              <a:gd name="connsiteY480" fmla="*/ 469107 h 2405063"/>
              <a:gd name="connsiteX481" fmla="*/ 9454092 w 11725275"/>
              <a:gd name="connsiteY481" fmla="*/ 483394 h 2405063"/>
              <a:gd name="connsiteX482" fmla="*/ 9449329 w 11725275"/>
              <a:gd name="connsiteY482" fmla="*/ 489744 h 2405063"/>
              <a:gd name="connsiteX483" fmla="*/ 9447742 w 11725275"/>
              <a:gd name="connsiteY483" fmla="*/ 490538 h 2405063"/>
              <a:gd name="connsiteX484" fmla="*/ 9446154 w 11725275"/>
              <a:gd name="connsiteY484" fmla="*/ 490538 h 2405063"/>
              <a:gd name="connsiteX485" fmla="*/ 9445625 w 11725275"/>
              <a:gd name="connsiteY485" fmla="*/ 489744 h 2405063"/>
              <a:gd name="connsiteX486" fmla="*/ 9444567 w 11725275"/>
              <a:gd name="connsiteY486" fmla="*/ 488950 h 2405063"/>
              <a:gd name="connsiteX487" fmla="*/ 9444038 w 11725275"/>
              <a:gd name="connsiteY487" fmla="*/ 488950 h 2405063"/>
              <a:gd name="connsiteX488" fmla="*/ 9442450 w 11725275"/>
              <a:gd name="connsiteY488" fmla="*/ 488950 h 2405063"/>
              <a:gd name="connsiteX489" fmla="*/ 9440862 w 11725275"/>
              <a:gd name="connsiteY489" fmla="*/ 489744 h 2405063"/>
              <a:gd name="connsiteX490" fmla="*/ 9435042 w 11725275"/>
              <a:gd name="connsiteY490" fmla="*/ 496094 h 2405063"/>
              <a:gd name="connsiteX491" fmla="*/ 9424988 w 11725275"/>
              <a:gd name="connsiteY491" fmla="*/ 509588 h 2405063"/>
              <a:gd name="connsiteX492" fmla="*/ 9463617 w 11725275"/>
              <a:gd name="connsiteY492" fmla="*/ 509588 h 2405063"/>
              <a:gd name="connsiteX493" fmla="*/ 9488488 w 11725275"/>
              <a:gd name="connsiteY493" fmla="*/ 509588 h 2405063"/>
              <a:gd name="connsiteX494" fmla="*/ 9497483 w 11725275"/>
              <a:gd name="connsiteY494" fmla="*/ 509588 h 2405063"/>
              <a:gd name="connsiteX495" fmla="*/ 9503833 w 11725275"/>
              <a:gd name="connsiteY495" fmla="*/ 510381 h 2405063"/>
              <a:gd name="connsiteX496" fmla="*/ 9508596 w 11725275"/>
              <a:gd name="connsiteY496" fmla="*/ 511969 h 2405063"/>
              <a:gd name="connsiteX497" fmla="*/ 9512300 w 11725275"/>
              <a:gd name="connsiteY497" fmla="*/ 513557 h 2405063"/>
              <a:gd name="connsiteX498" fmla="*/ 9514417 w 11725275"/>
              <a:gd name="connsiteY498" fmla="*/ 515144 h 2405063"/>
              <a:gd name="connsiteX499" fmla="*/ 9516004 w 11725275"/>
              <a:gd name="connsiteY499" fmla="*/ 516731 h 2405063"/>
              <a:gd name="connsiteX500" fmla="*/ 9516533 w 11725275"/>
              <a:gd name="connsiteY500" fmla="*/ 519907 h 2405063"/>
              <a:gd name="connsiteX501" fmla="*/ 9518121 w 11725275"/>
              <a:gd name="connsiteY501" fmla="*/ 521494 h 2405063"/>
              <a:gd name="connsiteX502" fmla="*/ 9519708 w 11725275"/>
              <a:gd name="connsiteY502" fmla="*/ 525463 h 2405063"/>
              <a:gd name="connsiteX503" fmla="*/ 9522354 w 11725275"/>
              <a:gd name="connsiteY503" fmla="*/ 529431 h 2405063"/>
              <a:gd name="connsiteX504" fmla="*/ 9526058 w 11725275"/>
              <a:gd name="connsiteY504" fmla="*/ 532606 h 2405063"/>
              <a:gd name="connsiteX505" fmla="*/ 9531350 w 11725275"/>
              <a:gd name="connsiteY505" fmla="*/ 536575 h 2405063"/>
              <a:gd name="connsiteX506" fmla="*/ 9644062 w 11725275"/>
              <a:gd name="connsiteY506" fmla="*/ 521494 h 2405063"/>
              <a:gd name="connsiteX507" fmla="*/ 9685338 w 11725275"/>
              <a:gd name="connsiteY507" fmla="*/ 520700 h 2405063"/>
              <a:gd name="connsiteX508" fmla="*/ 9707562 w 11725275"/>
              <a:gd name="connsiteY508" fmla="*/ 519907 h 2405063"/>
              <a:gd name="connsiteX509" fmla="*/ 9716558 w 11725275"/>
              <a:gd name="connsiteY509" fmla="*/ 519907 h 2405063"/>
              <a:gd name="connsiteX510" fmla="*/ 9717088 w 11725275"/>
              <a:gd name="connsiteY510" fmla="*/ 519113 h 2405063"/>
              <a:gd name="connsiteX511" fmla="*/ 9716029 w 11725275"/>
              <a:gd name="connsiteY511" fmla="*/ 519113 h 2405063"/>
              <a:gd name="connsiteX512" fmla="*/ 9714971 w 11725275"/>
              <a:gd name="connsiteY512" fmla="*/ 517525 h 2405063"/>
              <a:gd name="connsiteX513" fmla="*/ 9713912 w 11725275"/>
              <a:gd name="connsiteY513" fmla="*/ 516731 h 2405063"/>
              <a:gd name="connsiteX514" fmla="*/ 9714442 w 11725275"/>
              <a:gd name="connsiteY514" fmla="*/ 515938 h 2405063"/>
              <a:gd name="connsiteX515" fmla="*/ 9716558 w 11725275"/>
              <a:gd name="connsiteY515" fmla="*/ 514350 h 2405063"/>
              <a:gd name="connsiteX516" fmla="*/ 9720792 w 11725275"/>
              <a:gd name="connsiteY516" fmla="*/ 511175 h 2405063"/>
              <a:gd name="connsiteX517" fmla="*/ 9728200 w 11725275"/>
              <a:gd name="connsiteY517" fmla="*/ 508794 h 2405063"/>
              <a:gd name="connsiteX518" fmla="*/ 9739842 w 11725275"/>
              <a:gd name="connsiteY518" fmla="*/ 505619 h 2405063"/>
              <a:gd name="connsiteX519" fmla="*/ 9756775 w 11725275"/>
              <a:gd name="connsiteY519" fmla="*/ 500856 h 2405063"/>
              <a:gd name="connsiteX520" fmla="*/ 9775825 w 11725275"/>
              <a:gd name="connsiteY520" fmla="*/ 497682 h 2405063"/>
              <a:gd name="connsiteX521" fmla="*/ 9794875 w 11725275"/>
              <a:gd name="connsiteY521" fmla="*/ 494506 h 2405063"/>
              <a:gd name="connsiteX522" fmla="*/ 9815512 w 11725275"/>
              <a:gd name="connsiteY522" fmla="*/ 492125 h 2405063"/>
              <a:gd name="connsiteX523" fmla="*/ 9857846 w 11725275"/>
              <a:gd name="connsiteY523" fmla="*/ 488156 h 2405063"/>
              <a:gd name="connsiteX524" fmla="*/ 9902825 w 11725275"/>
              <a:gd name="connsiteY524" fmla="*/ 486569 h 2405063"/>
              <a:gd name="connsiteX525" fmla="*/ 9948333 w 11725275"/>
              <a:gd name="connsiteY525" fmla="*/ 486569 h 2405063"/>
              <a:gd name="connsiteX526" fmla="*/ 9993842 w 11725275"/>
              <a:gd name="connsiteY526" fmla="*/ 486569 h 2405063"/>
              <a:gd name="connsiteX527" fmla="*/ 10038292 w 11725275"/>
              <a:gd name="connsiteY527" fmla="*/ 487363 h 2405063"/>
              <a:gd name="connsiteX528" fmla="*/ 10080096 w 11725275"/>
              <a:gd name="connsiteY528" fmla="*/ 487363 h 2405063"/>
              <a:gd name="connsiteX529" fmla="*/ 10095971 w 11725275"/>
              <a:gd name="connsiteY529" fmla="*/ 487363 h 2405063"/>
              <a:gd name="connsiteX530" fmla="*/ 10110258 w 11725275"/>
              <a:gd name="connsiteY530" fmla="*/ 488156 h 2405063"/>
              <a:gd name="connsiteX531" fmla="*/ 10121900 w 11725275"/>
              <a:gd name="connsiteY531" fmla="*/ 488950 h 2405063"/>
              <a:gd name="connsiteX532" fmla="*/ 10131954 w 11725275"/>
              <a:gd name="connsiteY532" fmla="*/ 490538 h 2405063"/>
              <a:gd name="connsiteX533" fmla="*/ 10148888 w 11725275"/>
              <a:gd name="connsiteY533" fmla="*/ 493713 h 2405063"/>
              <a:gd name="connsiteX534" fmla="*/ 10165821 w 11725275"/>
              <a:gd name="connsiteY534" fmla="*/ 495300 h 2405063"/>
              <a:gd name="connsiteX535" fmla="*/ 10174817 w 11725275"/>
              <a:gd name="connsiteY535" fmla="*/ 496094 h 2405063"/>
              <a:gd name="connsiteX536" fmla="*/ 10184871 w 11725275"/>
              <a:gd name="connsiteY536" fmla="*/ 497682 h 2405063"/>
              <a:gd name="connsiteX537" fmla="*/ 10196512 w 11725275"/>
              <a:gd name="connsiteY537" fmla="*/ 496094 h 2405063"/>
              <a:gd name="connsiteX538" fmla="*/ 10210271 w 11725275"/>
              <a:gd name="connsiteY538" fmla="*/ 496094 h 2405063"/>
              <a:gd name="connsiteX539" fmla="*/ 10227204 w 11725275"/>
              <a:gd name="connsiteY539" fmla="*/ 494506 h 2405063"/>
              <a:gd name="connsiteX540" fmla="*/ 10247842 w 11725275"/>
              <a:gd name="connsiteY540" fmla="*/ 492125 h 2405063"/>
              <a:gd name="connsiteX541" fmla="*/ 10271125 w 11725275"/>
              <a:gd name="connsiteY541" fmla="*/ 488156 h 2405063"/>
              <a:gd name="connsiteX542" fmla="*/ 10299171 w 11725275"/>
              <a:gd name="connsiteY542" fmla="*/ 483394 h 2405063"/>
              <a:gd name="connsiteX543" fmla="*/ 10321925 w 11725275"/>
              <a:gd name="connsiteY543" fmla="*/ 481013 h 2405063"/>
              <a:gd name="connsiteX544" fmla="*/ 10342562 w 11725275"/>
              <a:gd name="connsiteY544" fmla="*/ 477838 h 2405063"/>
              <a:gd name="connsiteX545" fmla="*/ 10361612 w 11725275"/>
              <a:gd name="connsiteY545" fmla="*/ 477044 h 2405063"/>
              <a:gd name="connsiteX546" fmla="*/ 10377488 w 11725275"/>
              <a:gd name="connsiteY546" fmla="*/ 477044 h 2405063"/>
              <a:gd name="connsiteX547" fmla="*/ 10392304 w 11725275"/>
              <a:gd name="connsiteY547" fmla="*/ 478631 h 2405063"/>
              <a:gd name="connsiteX548" fmla="*/ 10406062 w 11725275"/>
              <a:gd name="connsiteY548" fmla="*/ 481013 h 2405063"/>
              <a:gd name="connsiteX549" fmla="*/ 10417704 w 11725275"/>
              <a:gd name="connsiteY549" fmla="*/ 483394 h 2405063"/>
              <a:gd name="connsiteX550" fmla="*/ 10428817 w 11725275"/>
              <a:gd name="connsiteY550" fmla="*/ 488156 h 2405063"/>
              <a:gd name="connsiteX551" fmla="*/ 10438342 w 11725275"/>
              <a:gd name="connsiteY551" fmla="*/ 492919 h 2405063"/>
              <a:gd name="connsiteX552" fmla="*/ 10447338 w 11725275"/>
              <a:gd name="connsiteY552" fmla="*/ 498475 h 2405063"/>
              <a:gd name="connsiteX553" fmla="*/ 10455804 w 11725275"/>
              <a:gd name="connsiteY553" fmla="*/ 504825 h 2405063"/>
              <a:gd name="connsiteX554" fmla="*/ 10464271 w 11725275"/>
              <a:gd name="connsiteY554" fmla="*/ 511969 h 2405063"/>
              <a:gd name="connsiteX555" fmla="*/ 10480146 w 11725275"/>
              <a:gd name="connsiteY555" fmla="*/ 527844 h 2405063"/>
              <a:gd name="connsiteX556" fmla="*/ 10497079 w 11725275"/>
              <a:gd name="connsiteY556" fmla="*/ 546894 h 2405063"/>
              <a:gd name="connsiteX557" fmla="*/ 10606088 w 11725275"/>
              <a:gd name="connsiteY557" fmla="*/ 656431 h 2405063"/>
              <a:gd name="connsiteX558" fmla="*/ 10634662 w 11725275"/>
              <a:gd name="connsiteY558" fmla="*/ 656431 h 2405063"/>
              <a:gd name="connsiteX559" fmla="*/ 10662708 w 11725275"/>
              <a:gd name="connsiteY559" fmla="*/ 655638 h 2405063"/>
              <a:gd name="connsiteX560" fmla="*/ 10690754 w 11725275"/>
              <a:gd name="connsiteY560" fmla="*/ 654050 h 2405063"/>
              <a:gd name="connsiteX561" fmla="*/ 10716683 w 11725275"/>
              <a:gd name="connsiteY561" fmla="*/ 653257 h 2405063"/>
              <a:gd name="connsiteX562" fmla="*/ 10741554 w 11725275"/>
              <a:gd name="connsiteY562" fmla="*/ 650875 h 2405063"/>
              <a:gd name="connsiteX563" fmla="*/ 10763250 w 11725275"/>
              <a:gd name="connsiteY563" fmla="*/ 650081 h 2405063"/>
              <a:gd name="connsiteX564" fmla="*/ 10782300 w 11725275"/>
              <a:gd name="connsiteY564" fmla="*/ 649288 h 2405063"/>
              <a:gd name="connsiteX565" fmla="*/ 10796058 w 11725275"/>
              <a:gd name="connsiteY565" fmla="*/ 648494 h 2405063"/>
              <a:gd name="connsiteX566" fmla="*/ 10813521 w 11725275"/>
              <a:gd name="connsiteY566" fmla="*/ 648494 h 2405063"/>
              <a:gd name="connsiteX567" fmla="*/ 10832571 w 11725275"/>
              <a:gd name="connsiteY567" fmla="*/ 648494 h 2405063"/>
              <a:gd name="connsiteX568" fmla="*/ 10853208 w 11725275"/>
              <a:gd name="connsiteY568" fmla="*/ 649288 h 2405063"/>
              <a:gd name="connsiteX569" fmla="*/ 10875962 w 11725275"/>
              <a:gd name="connsiteY569" fmla="*/ 650081 h 2405063"/>
              <a:gd name="connsiteX570" fmla="*/ 10900833 w 11725275"/>
              <a:gd name="connsiteY570" fmla="*/ 650081 h 2405063"/>
              <a:gd name="connsiteX571" fmla="*/ 10926233 w 11725275"/>
              <a:gd name="connsiteY571" fmla="*/ 650875 h 2405063"/>
              <a:gd name="connsiteX572" fmla="*/ 10953750 w 11725275"/>
              <a:gd name="connsiteY572" fmla="*/ 650875 h 2405063"/>
              <a:gd name="connsiteX573" fmla="*/ 10982325 w 11725275"/>
              <a:gd name="connsiteY573" fmla="*/ 650875 h 2405063"/>
              <a:gd name="connsiteX574" fmla="*/ 11010900 w 11725275"/>
              <a:gd name="connsiteY574" fmla="*/ 650081 h 2405063"/>
              <a:gd name="connsiteX575" fmla="*/ 11037888 w 11725275"/>
              <a:gd name="connsiteY575" fmla="*/ 650081 h 2405063"/>
              <a:gd name="connsiteX576" fmla="*/ 11064346 w 11725275"/>
              <a:gd name="connsiteY576" fmla="*/ 649288 h 2405063"/>
              <a:gd name="connsiteX577" fmla="*/ 11089746 w 11725275"/>
              <a:gd name="connsiteY577" fmla="*/ 650081 h 2405063"/>
              <a:gd name="connsiteX578" fmla="*/ 11114088 w 11725275"/>
              <a:gd name="connsiteY578" fmla="*/ 650875 h 2405063"/>
              <a:gd name="connsiteX579" fmla="*/ 11136842 w 11725275"/>
              <a:gd name="connsiteY579" fmla="*/ 654050 h 2405063"/>
              <a:gd name="connsiteX580" fmla="*/ 11147954 w 11725275"/>
              <a:gd name="connsiteY580" fmla="*/ 655638 h 2405063"/>
              <a:gd name="connsiteX581" fmla="*/ 11158538 w 11725275"/>
              <a:gd name="connsiteY581" fmla="*/ 657225 h 2405063"/>
              <a:gd name="connsiteX582" fmla="*/ 11169650 w 11725275"/>
              <a:gd name="connsiteY582" fmla="*/ 660400 h 2405063"/>
              <a:gd name="connsiteX583" fmla="*/ 11180233 w 11725275"/>
              <a:gd name="connsiteY583" fmla="*/ 664369 h 2405063"/>
              <a:gd name="connsiteX584" fmla="*/ 11194521 w 11725275"/>
              <a:gd name="connsiteY584" fmla="*/ 669925 h 2405063"/>
              <a:gd name="connsiteX585" fmla="*/ 11205104 w 11725275"/>
              <a:gd name="connsiteY585" fmla="*/ 674688 h 2405063"/>
              <a:gd name="connsiteX586" fmla="*/ 11211454 w 11725275"/>
              <a:gd name="connsiteY586" fmla="*/ 677863 h 2405063"/>
              <a:gd name="connsiteX587" fmla="*/ 11216217 w 11725275"/>
              <a:gd name="connsiteY587" fmla="*/ 681832 h 2405063"/>
              <a:gd name="connsiteX588" fmla="*/ 11220979 w 11725275"/>
              <a:gd name="connsiteY588" fmla="*/ 688975 h 2405063"/>
              <a:gd name="connsiteX589" fmla="*/ 11224154 w 11725275"/>
              <a:gd name="connsiteY589" fmla="*/ 696913 h 2405063"/>
              <a:gd name="connsiteX590" fmla="*/ 11228917 w 11725275"/>
              <a:gd name="connsiteY590" fmla="*/ 706438 h 2405063"/>
              <a:gd name="connsiteX591" fmla="*/ 11229975 w 11725275"/>
              <a:gd name="connsiteY591" fmla="*/ 709613 h 2405063"/>
              <a:gd name="connsiteX592" fmla="*/ 11228388 w 11725275"/>
              <a:gd name="connsiteY592" fmla="*/ 708819 h 2405063"/>
              <a:gd name="connsiteX593" fmla="*/ 11224683 w 11725275"/>
              <a:gd name="connsiteY593" fmla="*/ 707231 h 2405063"/>
              <a:gd name="connsiteX594" fmla="*/ 11222567 w 11725275"/>
              <a:gd name="connsiteY594" fmla="*/ 704057 h 2405063"/>
              <a:gd name="connsiteX595" fmla="*/ 11222038 w 11725275"/>
              <a:gd name="connsiteY595" fmla="*/ 704850 h 2405063"/>
              <a:gd name="connsiteX596" fmla="*/ 11224683 w 11725275"/>
              <a:gd name="connsiteY596" fmla="*/ 709613 h 2405063"/>
              <a:gd name="connsiteX597" fmla="*/ 11233679 w 11725275"/>
              <a:gd name="connsiteY597" fmla="*/ 720725 h 2405063"/>
              <a:gd name="connsiteX598" fmla="*/ 11242146 w 11725275"/>
              <a:gd name="connsiteY598" fmla="*/ 733425 h 2405063"/>
              <a:gd name="connsiteX599" fmla="*/ 11243204 w 11725275"/>
              <a:gd name="connsiteY599" fmla="*/ 733425 h 2405063"/>
              <a:gd name="connsiteX600" fmla="*/ 11242146 w 11725275"/>
              <a:gd name="connsiteY600" fmla="*/ 731838 h 2405063"/>
              <a:gd name="connsiteX601" fmla="*/ 11243204 w 11725275"/>
              <a:gd name="connsiteY601" fmla="*/ 731044 h 2405063"/>
              <a:gd name="connsiteX602" fmla="*/ 11245850 w 11725275"/>
              <a:gd name="connsiteY602" fmla="*/ 733425 h 2405063"/>
              <a:gd name="connsiteX603" fmla="*/ 11252729 w 11725275"/>
              <a:gd name="connsiteY603" fmla="*/ 737394 h 2405063"/>
              <a:gd name="connsiteX604" fmla="*/ 11296650 w 11725275"/>
              <a:gd name="connsiteY604" fmla="*/ 777875 h 2405063"/>
              <a:gd name="connsiteX605" fmla="*/ 11314642 w 11725275"/>
              <a:gd name="connsiteY605" fmla="*/ 791369 h 2405063"/>
              <a:gd name="connsiteX606" fmla="*/ 11329458 w 11725275"/>
              <a:gd name="connsiteY606" fmla="*/ 800894 h 2405063"/>
              <a:gd name="connsiteX607" fmla="*/ 11340571 w 11725275"/>
              <a:gd name="connsiteY607" fmla="*/ 807244 h 2405063"/>
              <a:gd name="connsiteX608" fmla="*/ 11349567 w 11725275"/>
              <a:gd name="connsiteY608" fmla="*/ 812007 h 2405063"/>
              <a:gd name="connsiteX609" fmla="*/ 11352742 w 11725275"/>
              <a:gd name="connsiteY609" fmla="*/ 815975 h 2405063"/>
              <a:gd name="connsiteX610" fmla="*/ 11356446 w 11725275"/>
              <a:gd name="connsiteY610" fmla="*/ 819944 h 2405063"/>
              <a:gd name="connsiteX611" fmla="*/ 11360150 w 11725275"/>
              <a:gd name="connsiteY611" fmla="*/ 823119 h 2405063"/>
              <a:gd name="connsiteX612" fmla="*/ 11363854 w 11725275"/>
              <a:gd name="connsiteY612" fmla="*/ 828675 h 2405063"/>
              <a:gd name="connsiteX613" fmla="*/ 11368617 w 11725275"/>
              <a:gd name="connsiteY613" fmla="*/ 836613 h 2405063"/>
              <a:gd name="connsiteX614" fmla="*/ 11371792 w 11725275"/>
              <a:gd name="connsiteY614" fmla="*/ 844550 h 2405063"/>
              <a:gd name="connsiteX615" fmla="*/ 11376554 w 11725275"/>
              <a:gd name="connsiteY615" fmla="*/ 854869 h 2405063"/>
              <a:gd name="connsiteX616" fmla="*/ 11381317 w 11725275"/>
              <a:gd name="connsiteY616" fmla="*/ 867569 h 2405063"/>
              <a:gd name="connsiteX617" fmla="*/ 11384492 w 11725275"/>
              <a:gd name="connsiteY617" fmla="*/ 876300 h 2405063"/>
              <a:gd name="connsiteX618" fmla="*/ 11387667 w 11725275"/>
              <a:gd name="connsiteY618" fmla="*/ 889000 h 2405063"/>
              <a:gd name="connsiteX619" fmla="*/ 11388725 w 11725275"/>
              <a:gd name="connsiteY619" fmla="*/ 895350 h 2405063"/>
              <a:gd name="connsiteX620" fmla="*/ 11389783 w 11725275"/>
              <a:gd name="connsiteY620" fmla="*/ 902494 h 2405063"/>
              <a:gd name="connsiteX621" fmla="*/ 11389783 w 11725275"/>
              <a:gd name="connsiteY621" fmla="*/ 910432 h 2405063"/>
              <a:gd name="connsiteX622" fmla="*/ 11389783 w 11725275"/>
              <a:gd name="connsiteY622" fmla="*/ 917575 h 2405063"/>
              <a:gd name="connsiteX623" fmla="*/ 11388725 w 11725275"/>
              <a:gd name="connsiteY623" fmla="*/ 925513 h 2405063"/>
              <a:gd name="connsiteX624" fmla="*/ 11387667 w 11725275"/>
              <a:gd name="connsiteY624" fmla="*/ 933450 h 2405063"/>
              <a:gd name="connsiteX625" fmla="*/ 11386079 w 11725275"/>
              <a:gd name="connsiteY625" fmla="*/ 939800 h 2405063"/>
              <a:gd name="connsiteX626" fmla="*/ 11382375 w 11725275"/>
              <a:gd name="connsiteY626" fmla="*/ 946944 h 2405063"/>
              <a:gd name="connsiteX627" fmla="*/ 11378671 w 11725275"/>
              <a:gd name="connsiteY627" fmla="*/ 954088 h 2405063"/>
              <a:gd name="connsiteX628" fmla="*/ 11373379 w 11725275"/>
              <a:gd name="connsiteY628" fmla="*/ 959644 h 2405063"/>
              <a:gd name="connsiteX629" fmla="*/ 11367558 w 11725275"/>
              <a:gd name="connsiteY629" fmla="*/ 964407 h 2405063"/>
              <a:gd name="connsiteX630" fmla="*/ 11360150 w 11725275"/>
              <a:gd name="connsiteY630" fmla="*/ 967582 h 2405063"/>
              <a:gd name="connsiteX631" fmla="*/ 11349567 w 11725275"/>
              <a:gd name="connsiteY631" fmla="*/ 971550 h 2405063"/>
              <a:gd name="connsiteX632" fmla="*/ 11333162 w 11725275"/>
              <a:gd name="connsiteY632" fmla="*/ 973932 h 2405063"/>
              <a:gd name="connsiteX633" fmla="*/ 11311996 w 11725275"/>
              <a:gd name="connsiteY633" fmla="*/ 976313 h 2405063"/>
              <a:gd name="connsiteX634" fmla="*/ 11286067 w 11725275"/>
              <a:gd name="connsiteY634" fmla="*/ 977900 h 2405063"/>
              <a:gd name="connsiteX635" fmla="*/ 11222038 w 11725275"/>
              <a:gd name="connsiteY635" fmla="*/ 981075 h 2405063"/>
              <a:gd name="connsiteX636" fmla="*/ 11142662 w 11725275"/>
              <a:gd name="connsiteY636" fmla="*/ 981869 h 2405063"/>
              <a:gd name="connsiteX637" fmla="*/ 11051117 w 11725275"/>
              <a:gd name="connsiteY637" fmla="*/ 981869 h 2405063"/>
              <a:gd name="connsiteX638" fmla="*/ 10950046 w 11725275"/>
              <a:gd name="connsiteY638" fmla="*/ 981075 h 2405063"/>
              <a:gd name="connsiteX639" fmla="*/ 10841567 w 11725275"/>
              <a:gd name="connsiteY639" fmla="*/ 978694 h 2405063"/>
              <a:gd name="connsiteX640" fmla="*/ 10729383 w 11725275"/>
              <a:gd name="connsiteY640" fmla="*/ 977107 h 2405063"/>
              <a:gd name="connsiteX641" fmla="*/ 10615083 w 11725275"/>
              <a:gd name="connsiteY641" fmla="*/ 975519 h 2405063"/>
              <a:gd name="connsiteX642" fmla="*/ 10501312 w 11725275"/>
              <a:gd name="connsiteY642" fmla="*/ 973138 h 2405063"/>
              <a:gd name="connsiteX643" fmla="*/ 10390717 w 11725275"/>
              <a:gd name="connsiteY643" fmla="*/ 971550 h 2405063"/>
              <a:gd name="connsiteX644" fmla="*/ 10286471 w 11725275"/>
              <a:gd name="connsiteY644" fmla="*/ 970757 h 2405063"/>
              <a:gd name="connsiteX645" fmla="*/ 10191221 w 11725275"/>
              <a:gd name="connsiteY645" fmla="*/ 970757 h 2405063"/>
              <a:gd name="connsiteX646" fmla="*/ 10106554 w 11725275"/>
              <a:gd name="connsiteY646" fmla="*/ 972344 h 2405063"/>
              <a:gd name="connsiteX647" fmla="*/ 10068983 w 11725275"/>
              <a:gd name="connsiteY647" fmla="*/ 973138 h 2405063"/>
              <a:gd name="connsiteX648" fmla="*/ 10036175 w 11725275"/>
              <a:gd name="connsiteY648" fmla="*/ 975519 h 2405063"/>
              <a:gd name="connsiteX649" fmla="*/ 10006012 w 11725275"/>
              <a:gd name="connsiteY649" fmla="*/ 977107 h 2405063"/>
              <a:gd name="connsiteX650" fmla="*/ 9981142 w 11725275"/>
              <a:gd name="connsiteY650" fmla="*/ 980282 h 2405063"/>
              <a:gd name="connsiteX651" fmla="*/ 9983258 w 11725275"/>
              <a:gd name="connsiteY651" fmla="*/ 987425 h 2405063"/>
              <a:gd name="connsiteX652" fmla="*/ 9986433 w 11725275"/>
              <a:gd name="connsiteY652" fmla="*/ 993775 h 2405063"/>
              <a:gd name="connsiteX653" fmla="*/ 9989079 w 11725275"/>
              <a:gd name="connsiteY653" fmla="*/ 1000125 h 2405063"/>
              <a:gd name="connsiteX654" fmla="*/ 9992254 w 11725275"/>
              <a:gd name="connsiteY654" fmla="*/ 1005682 h 2405063"/>
              <a:gd name="connsiteX655" fmla="*/ 9999662 w 11725275"/>
              <a:gd name="connsiteY655" fmla="*/ 1016794 h 2405063"/>
              <a:gd name="connsiteX656" fmla="*/ 10007600 w 11725275"/>
              <a:gd name="connsiteY656" fmla="*/ 1026319 h 2405063"/>
              <a:gd name="connsiteX657" fmla="*/ 10016067 w 11725275"/>
              <a:gd name="connsiteY657" fmla="*/ 1035050 h 2405063"/>
              <a:gd name="connsiteX658" fmla="*/ 10025062 w 11725275"/>
              <a:gd name="connsiteY658" fmla="*/ 1042194 h 2405063"/>
              <a:gd name="connsiteX659" fmla="*/ 10034588 w 11725275"/>
              <a:gd name="connsiteY659" fmla="*/ 1050132 h 2405063"/>
              <a:gd name="connsiteX660" fmla="*/ 10044112 w 11725275"/>
              <a:gd name="connsiteY660" fmla="*/ 1055688 h 2405063"/>
              <a:gd name="connsiteX661" fmla="*/ 10053108 w 11725275"/>
              <a:gd name="connsiteY661" fmla="*/ 1062038 h 2405063"/>
              <a:gd name="connsiteX662" fmla="*/ 10061046 w 11725275"/>
              <a:gd name="connsiteY662" fmla="*/ 1068388 h 2405063"/>
              <a:gd name="connsiteX663" fmla="*/ 10068983 w 11725275"/>
              <a:gd name="connsiteY663" fmla="*/ 1074738 h 2405063"/>
              <a:gd name="connsiteX664" fmla="*/ 10075862 w 11725275"/>
              <a:gd name="connsiteY664" fmla="*/ 1081088 h 2405063"/>
              <a:gd name="connsiteX665" fmla="*/ 10078508 w 11725275"/>
              <a:gd name="connsiteY665" fmla="*/ 1085057 h 2405063"/>
              <a:gd name="connsiteX666" fmla="*/ 10081683 w 11725275"/>
              <a:gd name="connsiteY666" fmla="*/ 1089025 h 2405063"/>
              <a:gd name="connsiteX667" fmla="*/ 10083800 w 11725275"/>
              <a:gd name="connsiteY667" fmla="*/ 1092994 h 2405063"/>
              <a:gd name="connsiteX668" fmla="*/ 10085388 w 11725275"/>
              <a:gd name="connsiteY668" fmla="*/ 1096963 h 2405063"/>
              <a:gd name="connsiteX669" fmla="*/ 10086446 w 11725275"/>
              <a:gd name="connsiteY669" fmla="*/ 1100932 h 2405063"/>
              <a:gd name="connsiteX670" fmla="*/ 10088033 w 11725275"/>
              <a:gd name="connsiteY670" fmla="*/ 1105694 h 2405063"/>
              <a:gd name="connsiteX671" fmla="*/ 10088033 w 11725275"/>
              <a:gd name="connsiteY671" fmla="*/ 1111250 h 2405063"/>
              <a:gd name="connsiteX672" fmla="*/ 10088033 w 11725275"/>
              <a:gd name="connsiteY672" fmla="*/ 1116013 h 2405063"/>
              <a:gd name="connsiteX673" fmla="*/ 10087504 w 11725275"/>
              <a:gd name="connsiteY673" fmla="*/ 1123157 h 2405063"/>
              <a:gd name="connsiteX674" fmla="*/ 10085388 w 11725275"/>
              <a:gd name="connsiteY674" fmla="*/ 1129507 h 2405063"/>
              <a:gd name="connsiteX675" fmla="*/ 10085388 w 11725275"/>
              <a:gd name="connsiteY675" fmla="*/ 1132682 h 2405063"/>
              <a:gd name="connsiteX676" fmla="*/ 10085388 w 11725275"/>
              <a:gd name="connsiteY676" fmla="*/ 1136650 h 2405063"/>
              <a:gd name="connsiteX677" fmla="*/ 10085917 w 11725275"/>
              <a:gd name="connsiteY677" fmla="*/ 1139825 h 2405063"/>
              <a:gd name="connsiteX678" fmla="*/ 10087504 w 11725275"/>
              <a:gd name="connsiteY678" fmla="*/ 1144588 h 2405063"/>
              <a:gd name="connsiteX679" fmla="*/ 10110788 w 11725275"/>
              <a:gd name="connsiteY679" fmla="*/ 1231107 h 2405063"/>
              <a:gd name="connsiteX680" fmla="*/ 10110258 w 11725275"/>
              <a:gd name="connsiteY680" fmla="*/ 1238250 h 2405063"/>
              <a:gd name="connsiteX681" fmla="*/ 10109200 w 11725275"/>
              <a:gd name="connsiteY681" fmla="*/ 1243807 h 2405063"/>
              <a:gd name="connsiteX682" fmla="*/ 10109200 w 11725275"/>
              <a:gd name="connsiteY682" fmla="*/ 1248569 h 2405063"/>
              <a:gd name="connsiteX683" fmla="*/ 10109200 w 11725275"/>
              <a:gd name="connsiteY683" fmla="*/ 1252538 h 2405063"/>
              <a:gd name="connsiteX684" fmla="*/ 10110258 w 11725275"/>
              <a:gd name="connsiteY684" fmla="*/ 1257300 h 2405063"/>
              <a:gd name="connsiteX685" fmla="*/ 10111846 w 11725275"/>
              <a:gd name="connsiteY685" fmla="*/ 1261269 h 2405063"/>
              <a:gd name="connsiteX686" fmla="*/ 10112904 w 11725275"/>
              <a:gd name="connsiteY686" fmla="*/ 1265238 h 2405063"/>
              <a:gd name="connsiteX687" fmla="*/ 10114492 w 11725275"/>
              <a:gd name="connsiteY687" fmla="*/ 1268413 h 2405063"/>
              <a:gd name="connsiteX688" fmla="*/ 10118725 w 11725275"/>
              <a:gd name="connsiteY688" fmla="*/ 1273969 h 2405063"/>
              <a:gd name="connsiteX689" fmla="*/ 10124017 w 11725275"/>
              <a:gd name="connsiteY689" fmla="*/ 1279525 h 2405063"/>
              <a:gd name="connsiteX690" fmla="*/ 10130896 w 11725275"/>
              <a:gd name="connsiteY690" fmla="*/ 1284288 h 2405063"/>
              <a:gd name="connsiteX691" fmla="*/ 10137246 w 11725275"/>
              <a:gd name="connsiteY691" fmla="*/ 1289050 h 2405063"/>
              <a:gd name="connsiteX692" fmla="*/ 10151004 w 11725275"/>
              <a:gd name="connsiteY692" fmla="*/ 1296988 h 2405063"/>
              <a:gd name="connsiteX693" fmla="*/ 10165821 w 11725275"/>
              <a:gd name="connsiteY693" fmla="*/ 1304925 h 2405063"/>
              <a:gd name="connsiteX694" fmla="*/ 10172171 w 11725275"/>
              <a:gd name="connsiteY694" fmla="*/ 1310482 h 2405063"/>
              <a:gd name="connsiteX695" fmla="*/ 10178521 w 11725275"/>
              <a:gd name="connsiteY695" fmla="*/ 1315244 h 2405063"/>
              <a:gd name="connsiteX696" fmla="*/ 10183283 w 11725275"/>
              <a:gd name="connsiteY696" fmla="*/ 1321594 h 2405063"/>
              <a:gd name="connsiteX697" fmla="*/ 10188046 w 11725275"/>
              <a:gd name="connsiteY697" fmla="*/ 1329532 h 2405063"/>
              <a:gd name="connsiteX698" fmla="*/ 10189104 w 11725275"/>
              <a:gd name="connsiteY698" fmla="*/ 1333500 h 2405063"/>
              <a:gd name="connsiteX699" fmla="*/ 10190162 w 11725275"/>
              <a:gd name="connsiteY699" fmla="*/ 1337469 h 2405063"/>
              <a:gd name="connsiteX700" fmla="*/ 10190162 w 11725275"/>
              <a:gd name="connsiteY700" fmla="*/ 1341438 h 2405063"/>
              <a:gd name="connsiteX701" fmla="*/ 10189104 w 11725275"/>
              <a:gd name="connsiteY701" fmla="*/ 1345407 h 2405063"/>
              <a:gd name="connsiteX702" fmla="*/ 10188046 w 11725275"/>
              <a:gd name="connsiteY702" fmla="*/ 1353344 h 2405063"/>
              <a:gd name="connsiteX703" fmla="*/ 10186458 w 11725275"/>
              <a:gd name="connsiteY703" fmla="*/ 1364457 h 2405063"/>
              <a:gd name="connsiteX704" fmla="*/ 10186458 w 11725275"/>
              <a:gd name="connsiteY704" fmla="*/ 1376363 h 2405063"/>
              <a:gd name="connsiteX705" fmla="*/ 10186458 w 11725275"/>
              <a:gd name="connsiteY705" fmla="*/ 1385888 h 2405063"/>
              <a:gd name="connsiteX706" fmla="*/ 10186458 w 11725275"/>
              <a:gd name="connsiteY706" fmla="*/ 1393825 h 2405063"/>
              <a:gd name="connsiteX707" fmla="*/ 10186988 w 11725275"/>
              <a:gd name="connsiteY707" fmla="*/ 1397794 h 2405063"/>
              <a:gd name="connsiteX708" fmla="*/ 10188046 w 11725275"/>
              <a:gd name="connsiteY708" fmla="*/ 1401763 h 2405063"/>
              <a:gd name="connsiteX709" fmla="*/ 10189104 w 11725275"/>
              <a:gd name="connsiteY709" fmla="*/ 1403350 h 2405063"/>
              <a:gd name="connsiteX710" fmla="*/ 10190692 w 11725275"/>
              <a:gd name="connsiteY710" fmla="*/ 1405732 h 2405063"/>
              <a:gd name="connsiteX711" fmla="*/ 10192808 w 11725275"/>
              <a:gd name="connsiteY711" fmla="*/ 1405732 h 2405063"/>
              <a:gd name="connsiteX712" fmla="*/ 10198100 w 11725275"/>
              <a:gd name="connsiteY712" fmla="*/ 1405732 h 2405063"/>
              <a:gd name="connsiteX713" fmla="*/ 10204450 w 11725275"/>
              <a:gd name="connsiteY713" fmla="*/ 1406525 h 2405063"/>
              <a:gd name="connsiteX714" fmla="*/ 10209212 w 11725275"/>
              <a:gd name="connsiteY714" fmla="*/ 1408113 h 2405063"/>
              <a:gd name="connsiteX715" fmla="*/ 10213446 w 11725275"/>
              <a:gd name="connsiteY715" fmla="*/ 1411288 h 2405063"/>
              <a:gd name="connsiteX716" fmla="*/ 10217679 w 11725275"/>
              <a:gd name="connsiteY716" fmla="*/ 1416050 h 2405063"/>
              <a:gd name="connsiteX717" fmla="*/ 10222971 w 11725275"/>
              <a:gd name="connsiteY717" fmla="*/ 1422400 h 2405063"/>
              <a:gd name="connsiteX718" fmla="*/ 10226146 w 11725275"/>
              <a:gd name="connsiteY718" fmla="*/ 1427163 h 2405063"/>
              <a:gd name="connsiteX719" fmla="*/ 10227204 w 11725275"/>
              <a:gd name="connsiteY719" fmla="*/ 1431132 h 2405063"/>
              <a:gd name="connsiteX720" fmla="*/ 10228792 w 11725275"/>
              <a:gd name="connsiteY720" fmla="*/ 1435100 h 2405063"/>
              <a:gd name="connsiteX721" fmla="*/ 10229321 w 11725275"/>
              <a:gd name="connsiteY721" fmla="*/ 1439069 h 2405063"/>
              <a:gd name="connsiteX722" fmla="*/ 10229321 w 11725275"/>
              <a:gd name="connsiteY722" fmla="*/ 1445419 h 2405063"/>
              <a:gd name="connsiteX723" fmla="*/ 10228262 w 11725275"/>
              <a:gd name="connsiteY723" fmla="*/ 1452563 h 2405063"/>
              <a:gd name="connsiteX724" fmla="*/ 10226675 w 11725275"/>
              <a:gd name="connsiteY724" fmla="*/ 1458913 h 2405063"/>
              <a:gd name="connsiteX725" fmla="*/ 10225088 w 11725275"/>
              <a:gd name="connsiteY725" fmla="*/ 1466057 h 2405063"/>
              <a:gd name="connsiteX726" fmla="*/ 10224558 w 11725275"/>
              <a:gd name="connsiteY726" fmla="*/ 1470025 h 2405063"/>
              <a:gd name="connsiteX727" fmla="*/ 10224558 w 11725275"/>
              <a:gd name="connsiteY727" fmla="*/ 1474788 h 2405063"/>
              <a:gd name="connsiteX728" fmla="*/ 10225088 w 11725275"/>
              <a:gd name="connsiteY728" fmla="*/ 1479550 h 2405063"/>
              <a:gd name="connsiteX729" fmla="*/ 10226146 w 11725275"/>
              <a:gd name="connsiteY729" fmla="*/ 1483519 h 2405063"/>
              <a:gd name="connsiteX730" fmla="*/ 10191221 w 11725275"/>
              <a:gd name="connsiteY730" fmla="*/ 1486694 h 2405063"/>
              <a:gd name="connsiteX731" fmla="*/ 10172171 w 11725275"/>
              <a:gd name="connsiteY731" fmla="*/ 1489075 h 2405063"/>
              <a:gd name="connsiteX732" fmla="*/ 10167408 w 11725275"/>
              <a:gd name="connsiteY732" fmla="*/ 1490663 h 2405063"/>
              <a:gd name="connsiteX733" fmla="*/ 10164233 w 11725275"/>
              <a:gd name="connsiteY733" fmla="*/ 1491457 h 2405063"/>
              <a:gd name="connsiteX734" fmla="*/ 10162117 w 11725275"/>
              <a:gd name="connsiteY734" fmla="*/ 1493044 h 2405063"/>
              <a:gd name="connsiteX735" fmla="*/ 10161588 w 11725275"/>
              <a:gd name="connsiteY735" fmla="*/ 1493838 h 2405063"/>
              <a:gd name="connsiteX736" fmla="*/ 10159471 w 11725275"/>
              <a:gd name="connsiteY736" fmla="*/ 1496219 h 2405063"/>
              <a:gd name="connsiteX737" fmla="*/ 10152592 w 11725275"/>
              <a:gd name="connsiteY737" fmla="*/ 1497807 h 2405063"/>
              <a:gd name="connsiteX738" fmla="*/ 10137246 w 11725275"/>
              <a:gd name="connsiteY738" fmla="*/ 1498600 h 2405063"/>
              <a:gd name="connsiteX739" fmla="*/ 10107083 w 11725275"/>
              <a:gd name="connsiteY739" fmla="*/ 1500982 h 2405063"/>
              <a:gd name="connsiteX740" fmla="*/ 10082742 w 11725275"/>
              <a:gd name="connsiteY740" fmla="*/ 1500982 h 2405063"/>
              <a:gd name="connsiteX741" fmla="*/ 10057871 w 11725275"/>
              <a:gd name="connsiteY741" fmla="*/ 1499394 h 2405063"/>
              <a:gd name="connsiteX742" fmla="*/ 10035117 w 11725275"/>
              <a:gd name="connsiteY742" fmla="*/ 1498600 h 2405063"/>
              <a:gd name="connsiteX743" fmla="*/ 10015008 w 11725275"/>
              <a:gd name="connsiteY743" fmla="*/ 1499394 h 2405063"/>
              <a:gd name="connsiteX744" fmla="*/ 10006012 w 11725275"/>
              <a:gd name="connsiteY744" fmla="*/ 1499394 h 2405063"/>
              <a:gd name="connsiteX745" fmla="*/ 9998075 w 11725275"/>
              <a:gd name="connsiteY745" fmla="*/ 1500982 h 2405063"/>
              <a:gd name="connsiteX746" fmla="*/ 9991196 w 11725275"/>
              <a:gd name="connsiteY746" fmla="*/ 1502569 h 2405063"/>
              <a:gd name="connsiteX747" fmla="*/ 9986433 w 11725275"/>
              <a:gd name="connsiteY747" fmla="*/ 1504157 h 2405063"/>
              <a:gd name="connsiteX748" fmla="*/ 9984317 w 11725275"/>
              <a:gd name="connsiteY748" fmla="*/ 1506538 h 2405063"/>
              <a:gd name="connsiteX749" fmla="*/ 9981671 w 11725275"/>
              <a:gd name="connsiteY749" fmla="*/ 1507332 h 2405063"/>
              <a:gd name="connsiteX750" fmla="*/ 9980612 w 11725275"/>
              <a:gd name="connsiteY750" fmla="*/ 1508919 h 2405063"/>
              <a:gd name="connsiteX751" fmla="*/ 9979554 w 11725275"/>
              <a:gd name="connsiteY751" fmla="*/ 1510507 h 2405063"/>
              <a:gd name="connsiteX752" fmla="*/ 9979025 w 11725275"/>
              <a:gd name="connsiteY752" fmla="*/ 1513682 h 2405063"/>
              <a:gd name="connsiteX753" fmla="*/ 9979025 w 11725275"/>
              <a:gd name="connsiteY753" fmla="*/ 1515269 h 2405063"/>
              <a:gd name="connsiteX754" fmla="*/ 9979554 w 11725275"/>
              <a:gd name="connsiteY754" fmla="*/ 1518444 h 2405063"/>
              <a:gd name="connsiteX755" fmla="*/ 9980612 w 11725275"/>
              <a:gd name="connsiteY755" fmla="*/ 1520826 h 2405063"/>
              <a:gd name="connsiteX756" fmla="*/ 9983258 w 11725275"/>
              <a:gd name="connsiteY756" fmla="*/ 1530351 h 2405063"/>
              <a:gd name="connsiteX757" fmla="*/ 9986962 w 11725275"/>
              <a:gd name="connsiteY757" fmla="*/ 1537494 h 2405063"/>
              <a:gd name="connsiteX758" fmla="*/ 9990667 w 11725275"/>
              <a:gd name="connsiteY758" fmla="*/ 1544638 h 2405063"/>
              <a:gd name="connsiteX759" fmla="*/ 9993842 w 11725275"/>
              <a:gd name="connsiteY759" fmla="*/ 1550194 h 2405063"/>
              <a:gd name="connsiteX760" fmla="*/ 9997017 w 11725275"/>
              <a:gd name="connsiteY760" fmla="*/ 1554957 h 2405063"/>
              <a:gd name="connsiteX761" fmla="*/ 10000721 w 11725275"/>
              <a:gd name="connsiteY761" fmla="*/ 1558926 h 2405063"/>
              <a:gd name="connsiteX762" fmla="*/ 10005483 w 11725275"/>
              <a:gd name="connsiteY762" fmla="*/ 1562894 h 2405063"/>
              <a:gd name="connsiteX763" fmla="*/ 10009717 w 11725275"/>
              <a:gd name="connsiteY763" fmla="*/ 1566863 h 2405063"/>
              <a:gd name="connsiteX764" fmla="*/ 10032471 w 11725275"/>
              <a:gd name="connsiteY764" fmla="*/ 1581944 h 2405063"/>
              <a:gd name="connsiteX765" fmla="*/ 10066867 w 11725275"/>
              <a:gd name="connsiteY765" fmla="*/ 1601788 h 2405063"/>
              <a:gd name="connsiteX766" fmla="*/ 10083800 w 11725275"/>
              <a:gd name="connsiteY766" fmla="*/ 1734344 h 2405063"/>
              <a:gd name="connsiteX767" fmla="*/ 10085917 w 11725275"/>
              <a:gd name="connsiteY767" fmla="*/ 1735138 h 2405063"/>
              <a:gd name="connsiteX768" fmla="*/ 10085917 w 11725275"/>
              <a:gd name="connsiteY768" fmla="*/ 1737519 h 2405063"/>
              <a:gd name="connsiteX769" fmla="*/ 10084329 w 11725275"/>
              <a:gd name="connsiteY769" fmla="*/ 1739107 h 2405063"/>
              <a:gd name="connsiteX770" fmla="*/ 10082212 w 11725275"/>
              <a:gd name="connsiteY770" fmla="*/ 1740694 h 2405063"/>
              <a:gd name="connsiteX771" fmla="*/ 10077979 w 11725275"/>
              <a:gd name="connsiteY771" fmla="*/ 1743869 h 2405063"/>
              <a:gd name="connsiteX772" fmla="*/ 10071100 w 11725275"/>
              <a:gd name="connsiteY772" fmla="*/ 1746251 h 2405063"/>
              <a:gd name="connsiteX773" fmla="*/ 10063162 w 11725275"/>
              <a:gd name="connsiteY773" fmla="*/ 1749426 h 2405063"/>
              <a:gd name="connsiteX774" fmla="*/ 10052050 w 11725275"/>
              <a:gd name="connsiteY774" fmla="*/ 1751807 h 2405063"/>
              <a:gd name="connsiteX775" fmla="*/ 10039879 w 11725275"/>
              <a:gd name="connsiteY775" fmla="*/ 1754982 h 2405063"/>
              <a:gd name="connsiteX776" fmla="*/ 10024533 w 11725275"/>
              <a:gd name="connsiteY776" fmla="*/ 1757363 h 2405063"/>
              <a:gd name="connsiteX777" fmla="*/ 10006012 w 11725275"/>
              <a:gd name="connsiteY777" fmla="*/ 1759744 h 2405063"/>
              <a:gd name="connsiteX778" fmla="*/ 9984846 w 11725275"/>
              <a:gd name="connsiteY778" fmla="*/ 1762126 h 2405063"/>
              <a:gd name="connsiteX779" fmla="*/ 9961562 w 11725275"/>
              <a:gd name="connsiteY779" fmla="*/ 1762919 h 2405063"/>
              <a:gd name="connsiteX780" fmla="*/ 9934046 w 11725275"/>
              <a:gd name="connsiteY780" fmla="*/ 1765301 h 2405063"/>
              <a:gd name="connsiteX781" fmla="*/ 9903354 w 11725275"/>
              <a:gd name="connsiteY781" fmla="*/ 1765301 h 2405063"/>
              <a:gd name="connsiteX782" fmla="*/ 9869488 w 11725275"/>
              <a:gd name="connsiteY782" fmla="*/ 1765301 h 2405063"/>
              <a:gd name="connsiteX783" fmla="*/ 9850438 w 11725275"/>
              <a:gd name="connsiteY783" fmla="*/ 1765301 h 2405063"/>
              <a:gd name="connsiteX784" fmla="*/ 9832975 w 11725275"/>
              <a:gd name="connsiteY784" fmla="*/ 1765301 h 2405063"/>
              <a:gd name="connsiteX785" fmla="*/ 9815512 w 11725275"/>
              <a:gd name="connsiteY785" fmla="*/ 1765301 h 2405063"/>
              <a:gd name="connsiteX786" fmla="*/ 9799638 w 11725275"/>
              <a:gd name="connsiteY786" fmla="*/ 1766094 h 2405063"/>
              <a:gd name="connsiteX787" fmla="*/ 9782704 w 11725275"/>
              <a:gd name="connsiteY787" fmla="*/ 1766094 h 2405063"/>
              <a:gd name="connsiteX788" fmla="*/ 9766300 w 11725275"/>
              <a:gd name="connsiteY788" fmla="*/ 1766888 h 2405063"/>
              <a:gd name="connsiteX789" fmla="*/ 9748838 w 11725275"/>
              <a:gd name="connsiteY789" fmla="*/ 1767682 h 2405063"/>
              <a:gd name="connsiteX790" fmla="*/ 9730317 w 11725275"/>
              <a:gd name="connsiteY790" fmla="*/ 1768476 h 2405063"/>
              <a:gd name="connsiteX791" fmla="*/ 9670521 w 11725275"/>
              <a:gd name="connsiteY791" fmla="*/ 1770857 h 2405063"/>
              <a:gd name="connsiteX792" fmla="*/ 9609667 w 11725275"/>
              <a:gd name="connsiteY792" fmla="*/ 1770857 h 2405063"/>
              <a:gd name="connsiteX793" fmla="*/ 9548283 w 11725275"/>
              <a:gd name="connsiteY793" fmla="*/ 1770857 h 2405063"/>
              <a:gd name="connsiteX794" fmla="*/ 9486371 w 11725275"/>
              <a:gd name="connsiteY794" fmla="*/ 1768476 h 2405063"/>
              <a:gd name="connsiteX795" fmla="*/ 9425517 w 11725275"/>
              <a:gd name="connsiteY795" fmla="*/ 1766888 h 2405063"/>
              <a:gd name="connsiteX796" fmla="*/ 9364662 w 11725275"/>
              <a:gd name="connsiteY796" fmla="*/ 1765301 h 2405063"/>
              <a:gd name="connsiteX797" fmla="*/ 9304867 w 11725275"/>
              <a:gd name="connsiteY797" fmla="*/ 1762919 h 2405063"/>
              <a:gd name="connsiteX798" fmla="*/ 9245600 w 11725275"/>
              <a:gd name="connsiteY798" fmla="*/ 1762126 h 2405063"/>
              <a:gd name="connsiteX799" fmla="*/ 9213321 w 11725275"/>
              <a:gd name="connsiteY799" fmla="*/ 1762126 h 2405063"/>
              <a:gd name="connsiteX800" fmla="*/ 9181571 w 11725275"/>
              <a:gd name="connsiteY800" fmla="*/ 1762919 h 2405063"/>
              <a:gd name="connsiteX801" fmla="*/ 9151408 w 11725275"/>
              <a:gd name="connsiteY801" fmla="*/ 1765301 h 2405063"/>
              <a:gd name="connsiteX802" fmla="*/ 9120717 w 11725275"/>
              <a:gd name="connsiteY802" fmla="*/ 1767682 h 2405063"/>
              <a:gd name="connsiteX803" fmla="*/ 9090025 w 11725275"/>
              <a:gd name="connsiteY803" fmla="*/ 1770857 h 2405063"/>
              <a:gd name="connsiteX804" fmla="*/ 9058275 w 11725275"/>
              <a:gd name="connsiteY804" fmla="*/ 1773238 h 2405063"/>
              <a:gd name="connsiteX805" fmla="*/ 9026525 w 11725275"/>
              <a:gd name="connsiteY805" fmla="*/ 1775619 h 2405063"/>
              <a:gd name="connsiteX806" fmla="*/ 8992658 w 11725275"/>
              <a:gd name="connsiteY806" fmla="*/ 1778001 h 2405063"/>
              <a:gd name="connsiteX807" fmla="*/ 9157229 w 11725275"/>
              <a:gd name="connsiteY807" fmla="*/ 1938338 h 2405063"/>
              <a:gd name="connsiteX808" fmla="*/ 9167812 w 11725275"/>
              <a:gd name="connsiteY808" fmla="*/ 1959769 h 2405063"/>
              <a:gd name="connsiteX809" fmla="*/ 9178925 w 11725275"/>
              <a:gd name="connsiteY809" fmla="*/ 1982788 h 2405063"/>
              <a:gd name="connsiteX810" fmla="*/ 9184746 w 11725275"/>
              <a:gd name="connsiteY810" fmla="*/ 1996282 h 2405063"/>
              <a:gd name="connsiteX811" fmla="*/ 9188979 w 11725275"/>
              <a:gd name="connsiteY811" fmla="*/ 2008982 h 2405063"/>
              <a:gd name="connsiteX812" fmla="*/ 9190567 w 11725275"/>
              <a:gd name="connsiteY812" fmla="*/ 2015332 h 2405063"/>
              <a:gd name="connsiteX813" fmla="*/ 9191625 w 11725275"/>
              <a:gd name="connsiteY813" fmla="*/ 2022476 h 2405063"/>
              <a:gd name="connsiteX814" fmla="*/ 9192683 w 11725275"/>
              <a:gd name="connsiteY814" fmla="*/ 2028032 h 2405063"/>
              <a:gd name="connsiteX815" fmla="*/ 9193212 w 11725275"/>
              <a:gd name="connsiteY815" fmla="*/ 2034382 h 2405063"/>
              <a:gd name="connsiteX816" fmla="*/ 9193212 w 11725275"/>
              <a:gd name="connsiteY816" fmla="*/ 2039938 h 2405063"/>
              <a:gd name="connsiteX817" fmla="*/ 9192683 w 11725275"/>
              <a:gd name="connsiteY817" fmla="*/ 2046288 h 2405063"/>
              <a:gd name="connsiteX818" fmla="*/ 9191096 w 11725275"/>
              <a:gd name="connsiteY818" fmla="*/ 2051844 h 2405063"/>
              <a:gd name="connsiteX819" fmla="*/ 9188979 w 11725275"/>
              <a:gd name="connsiteY819" fmla="*/ 2057401 h 2405063"/>
              <a:gd name="connsiteX820" fmla="*/ 9185804 w 11725275"/>
              <a:gd name="connsiteY820" fmla="*/ 2062957 h 2405063"/>
              <a:gd name="connsiteX821" fmla="*/ 9182100 w 11725275"/>
              <a:gd name="connsiteY821" fmla="*/ 2067719 h 2405063"/>
              <a:gd name="connsiteX822" fmla="*/ 9177867 w 11725275"/>
              <a:gd name="connsiteY822" fmla="*/ 2072482 h 2405063"/>
              <a:gd name="connsiteX823" fmla="*/ 9172575 w 11725275"/>
              <a:gd name="connsiteY823" fmla="*/ 2077244 h 2405063"/>
              <a:gd name="connsiteX824" fmla="*/ 9166225 w 11725275"/>
              <a:gd name="connsiteY824" fmla="*/ 2082007 h 2405063"/>
              <a:gd name="connsiteX825" fmla="*/ 9158817 w 11725275"/>
              <a:gd name="connsiteY825" fmla="*/ 2085182 h 2405063"/>
              <a:gd name="connsiteX826" fmla="*/ 9150350 w 11725275"/>
              <a:gd name="connsiteY826" fmla="*/ 2089151 h 2405063"/>
              <a:gd name="connsiteX827" fmla="*/ 9140825 w 11725275"/>
              <a:gd name="connsiteY827" fmla="*/ 2092326 h 2405063"/>
              <a:gd name="connsiteX828" fmla="*/ 9129712 w 11725275"/>
              <a:gd name="connsiteY828" fmla="*/ 2094707 h 2405063"/>
              <a:gd name="connsiteX829" fmla="*/ 9118071 w 11725275"/>
              <a:gd name="connsiteY829" fmla="*/ 2097088 h 2405063"/>
              <a:gd name="connsiteX830" fmla="*/ 9103783 w 11725275"/>
              <a:gd name="connsiteY830" fmla="*/ 2098676 h 2405063"/>
              <a:gd name="connsiteX831" fmla="*/ 9089496 w 11725275"/>
              <a:gd name="connsiteY831" fmla="*/ 2099469 h 2405063"/>
              <a:gd name="connsiteX832" fmla="*/ 9052454 w 11725275"/>
              <a:gd name="connsiteY832" fmla="*/ 2101057 h 2405063"/>
              <a:gd name="connsiteX833" fmla="*/ 9015412 w 11725275"/>
              <a:gd name="connsiteY833" fmla="*/ 2101057 h 2405063"/>
              <a:gd name="connsiteX834" fmla="*/ 8977842 w 11725275"/>
              <a:gd name="connsiteY834" fmla="*/ 2101057 h 2405063"/>
              <a:gd name="connsiteX835" fmla="*/ 8940271 w 11725275"/>
              <a:gd name="connsiteY835" fmla="*/ 2100263 h 2405063"/>
              <a:gd name="connsiteX836" fmla="*/ 8903229 w 11725275"/>
              <a:gd name="connsiteY836" fmla="*/ 2100263 h 2405063"/>
              <a:gd name="connsiteX837" fmla="*/ 8867246 w 11725275"/>
              <a:gd name="connsiteY837" fmla="*/ 2101057 h 2405063"/>
              <a:gd name="connsiteX838" fmla="*/ 8849783 w 11725275"/>
              <a:gd name="connsiteY838" fmla="*/ 2102644 h 2405063"/>
              <a:gd name="connsiteX839" fmla="*/ 8832321 w 11725275"/>
              <a:gd name="connsiteY839" fmla="*/ 2104232 h 2405063"/>
              <a:gd name="connsiteX840" fmla="*/ 8814329 w 11725275"/>
              <a:gd name="connsiteY840" fmla="*/ 2105026 h 2405063"/>
              <a:gd name="connsiteX841" fmla="*/ 8797396 w 11725275"/>
              <a:gd name="connsiteY841" fmla="*/ 2108201 h 2405063"/>
              <a:gd name="connsiteX842" fmla="*/ 8761942 w 11725275"/>
              <a:gd name="connsiteY842" fmla="*/ 2112963 h 2405063"/>
              <a:gd name="connsiteX843" fmla="*/ 8739717 w 11725275"/>
              <a:gd name="connsiteY843" fmla="*/ 2114551 h 2405063"/>
              <a:gd name="connsiteX844" fmla="*/ 8729662 w 11725275"/>
              <a:gd name="connsiteY844" fmla="*/ 2115344 h 2405063"/>
              <a:gd name="connsiteX845" fmla="*/ 8726488 w 11725275"/>
              <a:gd name="connsiteY845" fmla="*/ 2115344 h 2405063"/>
              <a:gd name="connsiteX846" fmla="*/ 8728604 w 11725275"/>
              <a:gd name="connsiteY846" fmla="*/ 2116138 h 2405063"/>
              <a:gd name="connsiteX847" fmla="*/ 8730721 w 11725275"/>
              <a:gd name="connsiteY847" fmla="*/ 2119313 h 2405063"/>
              <a:gd name="connsiteX848" fmla="*/ 8731779 w 11725275"/>
              <a:gd name="connsiteY848" fmla="*/ 2121694 h 2405063"/>
              <a:gd name="connsiteX849" fmla="*/ 8730721 w 11725275"/>
              <a:gd name="connsiteY849" fmla="*/ 2124869 h 2405063"/>
              <a:gd name="connsiteX850" fmla="*/ 8729662 w 11725275"/>
              <a:gd name="connsiteY850" fmla="*/ 2129632 h 2405063"/>
              <a:gd name="connsiteX851" fmla="*/ 8725958 w 11725275"/>
              <a:gd name="connsiteY851" fmla="*/ 2134394 h 2405063"/>
              <a:gd name="connsiteX852" fmla="*/ 8722254 w 11725275"/>
              <a:gd name="connsiteY852" fmla="*/ 2139951 h 2405063"/>
              <a:gd name="connsiteX853" fmla="*/ 8719079 w 11725275"/>
              <a:gd name="connsiteY853" fmla="*/ 2143126 h 2405063"/>
              <a:gd name="connsiteX854" fmla="*/ 8717492 w 11725275"/>
              <a:gd name="connsiteY854" fmla="*/ 2147094 h 2405063"/>
              <a:gd name="connsiteX855" fmla="*/ 8716433 w 11725275"/>
              <a:gd name="connsiteY855" fmla="*/ 2148682 h 2405063"/>
              <a:gd name="connsiteX856" fmla="*/ 8716433 w 11725275"/>
              <a:gd name="connsiteY856" fmla="*/ 2151857 h 2405063"/>
              <a:gd name="connsiteX857" fmla="*/ 8717492 w 11725275"/>
              <a:gd name="connsiteY857" fmla="*/ 2153444 h 2405063"/>
              <a:gd name="connsiteX858" fmla="*/ 8719079 w 11725275"/>
              <a:gd name="connsiteY858" fmla="*/ 2155032 h 2405063"/>
              <a:gd name="connsiteX859" fmla="*/ 8721196 w 11725275"/>
              <a:gd name="connsiteY859" fmla="*/ 2157413 h 2405063"/>
              <a:gd name="connsiteX860" fmla="*/ 8729662 w 11725275"/>
              <a:gd name="connsiteY860" fmla="*/ 2159794 h 2405063"/>
              <a:gd name="connsiteX861" fmla="*/ 8739717 w 11725275"/>
              <a:gd name="connsiteY861" fmla="*/ 2164557 h 2405063"/>
              <a:gd name="connsiteX862" fmla="*/ 8753475 w 11725275"/>
              <a:gd name="connsiteY862" fmla="*/ 2172494 h 2405063"/>
              <a:gd name="connsiteX863" fmla="*/ 8769879 w 11725275"/>
              <a:gd name="connsiteY863" fmla="*/ 2182813 h 2405063"/>
              <a:gd name="connsiteX864" fmla="*/ 8781521 w 11725275"/>
              <a:gd name="connsiteY864" fmla="*/ 2190751 h 2405063"/>
              <a:gd name="connsiteX865" fmla="*/ 8792633 w 11725275"/>
              <a:gd name="connsiteY865" fmla="*/ 2201069 h 2405063"/>
              <a:gd name="connsiteX866" fmla="*/ 8803746 w 11725275"/>
              <a:gd name="connsiteY866" fmla="*/ 2212976 h 2405063"/>
              <a:gd name="connsiteX867" fmla="*/ 8813271 w 11725275"/>
              <a:gd name="connsiteY867" fmla="*/ 2227263 h 2405063"/>
              <a:gd name="connsiteX868" fmla="*/ 8817504 w 11725275"/>
              <a:gd name="connsiteY868" fmla="*/ 2233613 h 2405063"/>
              <a:gd name="connsiteX869" fmla="*/ 8821738 w 11725275"/>
              <a:gd name="connsiteY869" fmla="*/ 2240757 h 2405063"/>
              <a:gd name="connsiteX870" fmla="*/ 8825442 w 11725275"/>
              <a:gd name="connsiteY870" fmla="*/ 2248694 h 2405063"/>
              <a:gd name="connsiteX871" fmla="*/ 8828617 w 11725275"/>
              <a:gd name="connsiteY871" fmla="*/ 2255838 h 2405063"/>
              <a:gd name="connsiteX872" fmla="*/ 8831262 w 11725275"/>
              <a:gd name="connsiteY872" fmla="*/ 2263776 h 2405063"/>
              <a:gd name="connsiteX873" fmla="*/ 8833379 w 11725275"/>
              <a:gd name="connsiteY873" fmla="*/ 2270919 h 2405063"/>
              <a:gd name="connsiteX874" fmla="*/ 8834438 w 11725275"/>
              <a:gd name="connsiteY874" fmla="*/ 2278063 h 2405063"/>
              <a:gd name="connsiteX875" fmla="*/ 8835496 w 11725275"/>
              <a:gd name="connsiteY875" fmla="*/ 2285207 h 2405063"/>
              <a:gd name="connsiteX876" fmla="*/ 8835496 w 11725275"/>
              <a:gd name="connsiteY876" fmla="*/ 2292351 h 2405063"/>
              <a:gd name="connsiteX877" fmla="*/ 8834967 w 11725275"/>
              <a:gd name="connsiteY877" fmla="*/ 2299494 h 2405063"/>
              <a:gd name="connsiteX878" fmla="*/ 8833379 w 11725275"/>
              <a:gd name="connsiteY878" fmla="*/ 2306638 h 2405063"/>
              <a:gd name="connsiteX879" fmla="*/ 8831262 w 11725275"/>
              <a:gd name="connsiteY879" fmla="*/ 2312988 h 2405063"/>
              <a:gd name="connsiteX880" fmla="*/ 8827558 w 11725275"/>
              <a:gd name="connsiteY880" fmla="*/ 2319338 h 2405063"/>
              <a:gd name="connsiteX881" fmla="*/ 8823854 w 11725275"/>
              <a:gd name="connsiteY881" fmla="*/ 2324894 h 2405063"/>
              <a:gd name="connsiteX882" fmla="*/ 8819092 w 11725275"/>
              <a:gd name="connsiteY882" fmla="*/ 2330451 h 2405063"/>
              <a:gd name="connsiteX883" fmla="*/ 8812212 w 11725275"/>
              <a:gd name="connsiteY883" fmla="*/ 2336007 h 2405063"/>
              <a:gd name="connsiteX884" fmla="*/ 8805862 w 11725275"/>
              <a:gd name="connsiteY884" fmla="*/ 2340769 h 2405063"/>
              <a:gd name="connsiteX885" fmla="*/ 8796867 w 11725275"/>
              <a:gd name="connsiteY885" fmla="*/ 2345532 h 2405063"/>
              <a:gd name="connsiteX886" fmla="*/ 8787342 w 11725275"/>
              <a:gd name="connsiteY886" fmla="*/ 2349501 h 2405063"/>
              <a:gd name="connsiteX887" fmla="*/ 8777288 w 11725275"/>
              <a:gd name="connsiteY887" fmla="*/ 2352676 h 2405063"/>
              <a:gd name="connsiteX888" fmla="*/ 8764588 w 11725275"/>
              <a:gd name="connsiteY888" fmla="*/ 2355057 h 2405063"/>
              <a:gd name="connsiteX889" fmla="*/ 8751358 w 11725275"/>
              <a:gd name="connsiteY889" fmla="*/ 2357438 h 2405063"/>
              <a:gd name="connsiteX890" fmla="*/ 8737600 w 11725275"/>
              <a:gd name="connsiteY890" fmla="*/ 2358232 h 2405063"/>
              <a:gd name="connsiteX891" fmla="*/ 8721196 w 11725275"/>
              <a:gd name="connsiteY891" fmla="*/ 2359026 h 2405063"/>
              <a:gd name="connsiteX892" fmla="*/ 8032750 w 11725275"/>
              <a:gd name="connsiteY892" fmla="*/ 2360613 h 2405063"/>
              <a:gd name="connsiteX893" fmla="*/ 7984067 w 11725275"/>
              <a:gd name="connsiteY893" fmla="*/ 2360613 h 2405063"/>
              <a:gd name="connsiteX894" fmla="*/ 7943321 w 11725275"/>
              <a:gd name="connsiteY894" fmla="*/ 2360613 h 2405063"/>
              <a:gd name="connsiteX895" fmla="*/ 7906279 w 11725275"/>
              <a:gd name="connsiteY895" fmla="*/ 2359026 h 2405063"/>
              <a:gd name="connsiteX896" fmla="*/ 7874000 w 11725275"/>
              <a:gd name="connsiteY896" fmla="*/ 2359026 h 2405063"/>
              <a:gd name="connsiteX897" fmla="*/ 7842779 w 11725275"/>
              <a:gd name="connsiteY897" fmla="*/ 2359026 h 2405063"/>
              <a:gd name="connsiteX898" fmla="*/ 7811029 w 11725275"/>
              <a:gd name="connsiteY898" fmla="*/ 2359026 h 2405063"/>
              <a:gd name="connsiteX899" fmla="*/ 7776634 w 11725275"/>
              <a:gd name="connsiteY899" fmla="*/ 2360613 h 2405063"/>
              <a:gd name="connsiteX900" fmla="*/ 7738534 w 11725275"/>
              <a:gd name="connsiteY900" fmla="*/ 2361407 h 2405063"/>
              <a:gd name="connsiteX901" fmla="*/ 7722659 w 11725275"/>
              <a:gd name="connsiteY901" fmla="*/ 2362201 h 2405063"/>
              <a:gd name="connsiteX902" fmla="*/ 7708900 w 11725275"/>
              <a:gd name="connsiteY902" fmla="*/ 2362201 h 2405063"/>
              <a:gd name="connsiteX903" fmla="*/ 7696200 w 11725275"/>
              <a:gd name="connsiteY903" fmla="*/ 2362201 h 2405063"/>
              <a:gd name="connsiteX904" fmla="*/ 7684559 w 11725275"/>
              <a:gd name="connsiteY904" fmla="*/ 2362201 h 2405063"/>
              <a:gd name="connsiteX905" fmla="*/ 7671859 w 11725275"/>
              <a:gd name="connsiteY905" fmla="*/ 2362201 h 2405063"/>
              <a:gd name="connsiteX906" fmla="*/ 7658100 w 11725275"/>
              <a:gd name="connsiteY906" fmla="*/ 2362201 h 2405063"/>
              <a:gd name="connsiteX907" fmla="*/ 7641696 w 11725275"/>
              <a:gd name="connsiteY907" fmla="*/ 2362201 h 2405063"/>
              <a:gd name="connsiteX908" fmla="*/ 7622646 w 11725275"/>
              <a:gd name="connsiteY908" fmla="*/ 2362201 h 2405063"/>
              <a:gd name="connsiteX909" fmla="*/ 7208309 w 11725275"/>
              <a:gd name="connsiteY909" fmla="*/ 2368551 h 2405063"/>
              <a:gd name="connsiteX910" fmla="*/ 7172325 w 11725275"/>
              <a:gd name="connsiteY910" fmla="*/ 2371726 h 2405063"/>
              <a:gd name="connsiteX911" fmla="*/ 7133167 w 11725275"/>
              <a:gd name="connsiteY911" fmla="*/ 2374107 h 2405063"/>
              <a:gd name="connsiteX912" fmla="*/ 7091363 w 11725275"/>
              <a:gd name="connsiteY912" fmla="*/ 2376488 h 2405063"/>
              <a:gd name="connsiteX913" fmla="*/ 7047442 w 11725275"/>
              <a:gd name="connsiteY913" fmla="*/ 2378076 h 2405063"/>
              <a:gd name="connsiteX914" fmla="*/ 7001934 w 11725275"/>
              <a:gd name="connsiteY914" fmla="*/ 2379663 h 2405063"/>
              <a:gd name="connsiteX915" fmla="*/ 6955367 w 11725275"/>
              <a:gd name="connsiteY915" fmla="*/ 2382044 h 2405063"/>
              <a:gd name="connsiteX916" fmla="*/ 6907742 w 11725275"/>
              <a:gd name="connsiteY916" fmla="*/ 2382838 h 2405063"/>
              <a:gd name="connsiteX917" fmla="*/ 6858529 w 11725275"/>
              <a:gd name="connsiteY917" fmla="*/ 2383632 h 2405063"/>
              <a:gd name="connsiteX918" fmla="*/ 6809317 w 11725275"/>
              <a:gd name="connsiteY918" fmla="*/ 2384426 h 2405063"/>
              <a:gd name="connsiteX919" fmla="*/ 6761163 w 11725275"/>
              <a:gd name="connsiteY919" fmla="*/ 2385219 h 2405063"/>
              <a:gd name="connsiteX920" fmla="*/ 6712479 w 11725275"/>
              <a:gd name="connsiteY920" fmla="*/ 2385219 h 2405063"/>
              <a:gd name="connsiteX921" fmla="*/ 6664854 w 11725275"/>
              <a:gd name="connsiteY921" fmla="*/ 2386807 h 2405063"/>
              <a:gd name="connsiteX922" fmla="*/ 6619875 w 11725275"/>
              <a:gd name="connsiteY922" fmla="*/ 2387601 h 2405063"/>
              <a:gd name="connsiteX923" fmla="*/ 6574896 w 11725275"/>
              <a:gd name="connsiteY923" fmla="*/ 2388394 h 2405063"/>
              <a:gd name="connsiteX924" fmla="*/ 6532563 w 11725275"/>
              <a:gd name="connsiteY924" fmla="*/ 2389188 h 2405063"/>
              <a:gd name="connsiteX925" fmla="*/ 6492875 w 11725275"/>
              <a:gd name="connsiteY925" fmla="*/ 2389982 h 2405063"/>
              <a:gd name="connsiteX926" fmla="*/ 6165321 w 11725275"/>
              <a:gd name="connsiteY926" fmla="*/ 2393951 h 2405063"/>
              <a:gd name="connsiteX927" fmla="*/ 6108700 w 11725275"/>
              <a:gd name="connsiteY927" fmla="*/ 2395538 h 2405063"/>
              <a:gd name="connsiteX928" fmla="*/ 6051021 w 11725275"/>
              <a:gd name="connsiteY928" fmla="*/ 2397919 h 2405063"/>
              <a:gd name="connsiteX929" fmla="*/ 5991754 w 11725275"/>
              <a:gd name="connsiteY929" fmla="*/ 2399507 h 2405063"/>
              <a:gd name="connsiteX930" fmla="*/ 5931429 w 11725275"/>
              <a:gd name="connsiteY930" fmla="*/ 2400301 h 2405063"/>
              <a:gd name="connsiteX931" fmla="*/ 5872692 w 11725275"/>
              <a:gd name="connsiteY931" fmla="*/ 2401094 h 2405063"/>
              <a:gd name="connsiteX932" fmla="*/ 5815013 w 11725275"/>
              <a:gd name="connsiteY932" fmla="*/ 2401094 h 2405063"/>
              <a:gd name="connsiteX933" fmla="*/ 5759450 w 11725275"/>
              <a:gd name="connsiteY933" fmla="*/ 2400301 h 2405063"/>
              <a:gd name="connsiteX934" fmla="*/ 5706534 w 11725275"/>
              <a:gd name="connsiteY934" fmla="*/ 2398713 h 2405063"/>
              <a:gd name="connsiteX935" fmla="*/ 5680076 w 11725275"/>
              <a:gd name="connsiteY935" fmla="*/ 2396332 h 2405063"/>
              <a:gd name="connsiteX936" fmla="*/ 5655734 w 11725275"/>
              <a:gd name="connsiteY936" fmla="*/ 2396332 h 2405063"/>
              <a:gd name="connsiteX937" fmla="*/ 5632451 w 11725275"/>
              <a:gd name="connsiteY937" fmla="*/ 2396332 h 2405063"/>
              <a:gd name="connsiteX938" fmla="*/ 5609696 w 11725275"/>
              <a:gd name="connsiteY938" fmla="*/ 2396332 h 2405063"/>
              <a:gd name="connsiteX939" fmla="*/ 5566834 w 11725275"/>
              <a:gd name="connsiteY939" fmla="*/ 2398713 h 2405063"/>
              <a:gd name="connsiteX940" fmla="*/ 5523442 w 11725275"/>
              <a:gd name="connsiteY940" fmla="*/ 2401094 h 2405063"/>
              <a:gd name="connsiteX941" fmla="*/ 5478463 w 11725275"/>
              <a:gd name="connsiteY941" fmla="*/ 2403476 h 2405063"/>
              <a:gd name="connsiteX942" fmla="*/ 5430838 w 11725275"/>
              <a:gd name="connsiteY942" fmla="*/ 2405063 h 2405063"/>
              <a:gd name="connsiteX943" fmla="*/ 5405438 w 11725275"/>
              <a:gd name="connsiteY943" fmla="*/ 2405063 h 2405063"/>
              <a:gd name="connsiteX944" fmla="*/ 5377392 w 11725275"/>
              <a:gd name="connsiteY944" fmla="*/ 2405063 h 2405063"/>
              <a:gd name="connsiteX945" fmla="*/ 5348817 w 11725275"/>
              <a:gd name="connsiteY945" fmla="*/ 2404269 h 2405063"/>
              <a:gd name="connsiteX946" fmla="*/ 5317596 w 11725275"/>
              <a:gd name="connsiteY946" fmla="*/ 2401888 h 2405063"/>
              <a:gd name="connsiteX947" fmla="*/ 5299604 w 11725275"/>
              <a:gd name="connsiteY947" fmla="*/ 2400301 h 2405063"/>
              <a:gd name="connsiteX948" fmla="*/ 5284259 w 11725275"/>
              <a:gd name="connsiteY948" fmla="*/ 2397919 h 2405063"/>
              <a:gd name="connsiteX949" fmla="*/ 5271029 w 11725275"/>
              <a:gd name="connsiteY949" fmla="*/ 2394744 h 2405063"/>
              <a:gd name="connsiteX950" fmla="*/ 5258859 w 11725275"/>
              <a:gd name="connsiteY950" fmla="*/ 2392363 h 2405063"/>
              <a:gd name="connsiteX951" fmla="*/ 5247217 w 11725275"/>
              <a:gd name="connsiteY951" fmla="*/ 2388394 h 2405063"/>
              <a:gd name="connsiteX952" fmla="*/ 5234517 w 11725275"/>
              <a:gd name="connsiteY952" fmla="*/ 2385219 h 2405063"/>
              <a:gd name="connsiteX953" fmla="*/ 5220759 w 11725275"/>
              <a:gd name="connsiteY953" fmla="*/ 2382838 h 2405063"/>
              <a:gd name="connsiteX954" fmla="*/ 5205413 w 11725275"/>
              <a:gd name="connsiteY954" fmla="*/ 2380457 h 2405063"/>
              <a:gd name="connsiteX955" fmla="*/ 5188479 w 11725275"/>
              <a:gd name="connsiteY955" fmla="*/ 2379663 h 2405063"/>
              <a:gd name="connsiteX956" fmla="*/ 5161492 w 11725275"/>
              <a:gd name="connsiteY956" fmla="*/ 2380457 h 2405063"/>
              <a:gd name="connsiteX957" fmla="*/ 5126038 w 11725275"/>
              <a:gd name="connsiteY957" fmla="*/ 2382838 h 2405063"/>
              <a:gd name="connsiteX958" fmla="*/ 5085821 w 11725275"/>
              <a:gd name="connsiteY958" fmla="*/ 2384426 h 2405063"/>
              <a:gd name="connsiteX959" fmla="*/ 5041900 w 11725275"/>
              <a:gd name="connsiteY959" fmla="*/ 2385219 h 2405063"/>
              <a:gd name="connsiteX960" fmla="*/ 4998509 w 11725275"/>
              <a:gd name="connsiteY960" fmla="*/ 2387601 h 2405063"/>
              <a:gd name="connsiteX961" fmla="*/ 4957763 w 11725275"/>
              <a:gd name="connsiteY961" fmla="*/ 2387601 h 2405063"/>
              <a:gd name="connsiteX962" fmla="*/ 4922309 w 11725275"/>
              <a:gd name="connsiteY962" fmla="*/ 2386807 h 2405063"/>
              <a:gd name="connsiteX963" fmla="*/ 4887384 w 11725275"/>
              <a:gd name="connsiteY963" fmla="*/ 2385219 h 2405063"/>
              <a:gd name="connsiteX964" fmla="*/ 4855104 w 11725275"/>
              <a:gd name="connsiteY964" fmla="*/ 2384426 h 2405063"/>
              <a:gd name="connsiteX965" fmla="*/ 4824942 w 11725275"/>
              <a:gd name="connsiteY965" fmla="*/ 2384426 h 2405063"/>
              <a:gd name="connsiteX966" fmla="*/ 4797954 w 11725275"/>
              <a:gd name="connsiteY966" fmla="*/ 2384426 h 2405063"/>
              <a:gd name="connsiteX967" fmla="*/ 4772025 w 11725275"/>
              <a:gd name="connsiteY967" fmla="*/ 2385219 h 2405063"/>
              <a:gd name="connsiteX968" fmla="*/ 4748742 w 11725275"/>
              <a:gd name="connsiteY968" fmla="*/ 2385219 h 2405063"/>
              <a:gd name="connsiteX969" fmla="*/ 4725459 w 11725275"/>
              <a:gd name="connsiteY969" fmla="*/ 2385219 h 2405063"/>
              <a:gd name="connsiteX970" fmla="*/ 4702704 w 11725275"/>
              <a:gd name="connsiteY970" fmla="*/ 2385219 h 2405063"/>
              <a:gd name="connsiteX971" fmla="*/ 4655079 w 11725275"/>
              <a:gd name="connsiteY971" fmla="*/ 2383632 h 2405063"/>
              <a:gd name="connsiteX972" fmla="*/ 4616979 w 11725275"/>
              <a:gd name="connsiteY972" fmla="*/ 2382044 h 2405063"/>
              <a:gd name="connsiteX973" fmla="*/ 4585229 w 11725275"/>
              <a:gd name="connsiteY973" fmla="*/ 2378869 h 2405063"/>
              <a:gd name="connsiteX974" fmla="*/ 4558242 w 11725275"/>
              <a:gd name="connsiteY974" fmla="*/ 2374901 h 2405063"/>
              <a:gd name="connsiteX975" fmla="*/ 4533371 w 11725275"/>
              <a:gd name="connsiteY975" fmla="*/ 2372519 h 2405063"/>
              <a:gd name="connsiteX976" fmla="*/ 4506384 w 11725275"/>
              <a:gd name="connsiteY976" fmla="*/ 2370932 h 2405063"/>
              <a:gd name="connsiteX977" fmla="*/ 4474634 w 11725275"/>
              <a:gd name="connsiteY977" fmla="*/ 2368551 h 2405063"/>
              <a:gd name="connsiteX978" fmla="*/ 4436534 w 11725275"/>
              <a:gd name="connsiteY978" fmla="*/ 2367757 h 2405063"/>
              <a:gd name="connsiteX979" fmla="*/ 4442884 w 11725275"/>
              <a:gd name="connsiteY979" fmla="*/ 2356644 h 2405063"/>
              <a:gd name="connsiteX980" fmla="*/ 4446588 w 11725275"/>
              <a:gd name="connsiteY980" fmla="*/ 2351088 h 2405063"/>
              <a:gd name="connsiteX981" fmla="*/ 4449234 w 11725275"/>
              <a:gd name="connsiteY981" fmla="*/ 2347913 h 2405063"/>
              <a:gd name="connsiteX982" fmla="*/ 4451879 w 11725275"/>
              <a:gd name="connsiteY982" fmla="*/ 2347913 h 2405063"/>
              <a:gd name="connsiteX983" fmla="*/ 4455584 w 11725275"/>
              <a:gd name="connsiteY983" fmla="*/ 2347913 h 2405063"/>
              <a:gd name="connsiteX984" fmla="*/ 4462992 w 11725275"/>
              <a:gd name="connsiteY984" fmla="*/ 2346326 h 2405063"/>
              <a:gd name="connsiteX985" fmla="*/ 4475163 w 11725275"/>
              <a:gd name="connsiteY985" fmla="*/ 2339976 h 2405063"/>
              <a:gd name="connsiteX986" fmla="*/ 4495271 w 11725275"/>
              <a:gd name="connsiteY986" fmla="*/ 2328863 h 2405063"/>
              <a:gd name="connsiteX987" fmla="*/ 4441826 w 11725275"/>
              <a:gd name="connsiteY987" fmla="*/ 2328863 h 2405063"/>
              <a:gd name="connsiteX988" fmla="*/ 4382559 w 11725275"/>
              <a:gd name="connsiteY988" fmla="*/ 2329657 h 2405063"/>
              <a:gd name="connsiteX989" fmla="*/ 4316942 w 11725275"/>
              <a:gd name="connsiteY989" fmla="*/ 2329657 h 2405063"/>
              <a:gd name="connsiteX990" fmla="*/ 4249209 w 11725275"/>
              <a:gd name="connsiteY990" fmla="*/ 2330451 h 2405063"/>
              <a:gd name="connsiteX991" fmla="*/ 4177242 w 11725275"/>
              <a:gd name="connsiteY991" fmla="*/ 2329657 h 2405063"/>
              <a:gd name="connsiteX992" fmla="*/ 4103688 w 11725275"/>
              <a:gd name="connsiteY992" fmla="*/ 2329657 h 2405063"/>
              <a:gd name="connsiteX993" fmla="*/ 4029075 w 11725275"/>
              <a:gd name="connsiteY993" fmla="*/ 2328863 h 2405063"/>
              <a:gd name="connsiteX994" fmla="*/ 3956050 w 11725275"/>
              <a:gd name="connsiteY994" fmla="*/ 2325688 h 2405063"/>
              <a:gd name="connsiteX995" fmla="*/ 3883026 w 11725275"/>
              <a:gd name="connsiteY995" fmla="*/ 2323307 h 2405063"/>
              <a:gd name="connsiteX996" fmla="*/ 3813705 w 11725275"/>
              <a:gd name="connsiteY996" fmla="*/ 2319338 h 2405063"/>
              <a:gd name="connsiteX997" fmla="*/ 3747559 w 11725275"/>
              <a:gd name="connsiteY997" fmla="*/ 2313782 h 2405063"/>
              <a:gd name="connsiteX998" fmla="*/ 3686175 w 11725275"/>
              <a:gd name="connsiteY998" fmla="*/ 2307432 h 2405063"/>
              <a:gd name="connsiteX999" fmla="*/ 3657600 w 11725275"/>
              <a:gd name="connsiteY999" fmla="*/ 2302669 h 2405063"/>
              <a:gd name="connsiteX1000" fmla="*/ 3631142 w 11725275"/>
              <a:gd name="connsiteY1000" fmla="*/ 2298701 h 2405063"/>
              <a:gd name="connsiteX1001" fmla="*/ 3606271 w 11725275"/>
              <a:gd name="connsiteY1001" fmla="*/ 2293938 h 2405063"/>
              <a:gd name="connsiteX1002" fmla="*/ 3582988 w 11725275"/>
              <a:gd name="connsiteY1002" fmla="*/ 2288382 h 2405063"/>
              <a:gd name="connsiteX1003" fmla="*/ 3561292 w 11725275"/>
              <a:gd name="connsiteY1003" fmla="*/ 2282826 h 2405063"/>
              <a:gd name="connsiteX1004" fmla="*/ 3543300 w 11725275"/>
              <a:gd name="connsiteY1004" fmla="*/ 2276476 h 2405063"/>
              <a:gd name="connsiteX1005" fmla="*/ 3526367 w 11725275"/>
              <a:gd name="connsiteY1005" fmla="*/ 2270126 h 2405063"/>
              <a:gd name="connsiteX1006" fmla="*/ 3512608 w 11725275"/>
              <a:gd name="connsiteY1006" fmla="*/ 2262188 h 2405063"/>
              <a:gd name="connsiteX1007" fmla="*/ 3495675 w 11725275"/>
              <a:gd name="connsiteY1007" fmla="*/ 2253457 h 2405063"/>
              <a:gd name="connsiteX1008" fmla="*/ 3480330 w 11725275"/>
              <a:gd name="connsiteY1008" fmla="*/ 2243138 h 2405063"/>
              <a:gd name="connsiteX1009" fmla="*/ 3466042 w 11725275"/>
              <a:gd name="connsiteY1009" fmla="*/ 2233613 h 2405063"/>
              <a:gd name="connsiteX1010" fmla="*/ 3453871 w 11725275"/>
              <a:gd name="connsiteY1010" fmla="*/ 2224088 h 2405063"/>
              <a:gd name="connsiteX1011" fmla="*/ 3442230 w 11725275"/>
              <a:gd name="connsiteY1011" fmla="*/ 2215357 h 2405063"/>
              <a:gd name="connsiteX1012" fmla="*/ 3431646 w 11725275"/>
              <a:gd name="connsiteY1012" fmla="*/ 2205832 h 2405063"/>
              <a:gd name="connsiteX1013" fmla="*/ 3422121 w 11725275"/>
              <a:gd name="connsiteY1013" fmla="*/ 2196307 h 2405063"/>
              <a:gd name="connsiteX1014" fmla="*/ 3413654 w 11725275"/>
              <a:gd name="connsiteY1014" fmla="*/ 2186782 h 2405063"/>
              <a:gd name="connsiteX1015" fmla="*/ 3406246 w 11725275"/>
              <a:gd name="connsiteY1015" fmla="*/ 2178844 h 2405063"/>
              <a:gd name="connsiteX1016" fmla="*/ 3398838 w 11725275"/>
              <a:gd name="connsiteY1016" fmla="*/ 2170113 h 2405063"/>
              <a:gd name="connsiteX1017" fmla="*/ 3393017 w 11725275"/>
              <a:gd name="connsiteY1017" fmla="*/ 2161382 h 2405063"/>
              <a:gd name="connsiteX1018" fmla="*/ 3387725 w 11725275"/>
              <a:gd name="connsiteY1018" fmla="*/ 2152651 h 2405063"/>
              <a:gd name="connsiteX1019" fmla="*/ 3383492 w 11725275"/>
              <a:gd name="connsiteY1019" fmla="*/ 2143919 h 2405063"/>
              <a:gd name="connsiteX1020" fmla="*/ 3379259 w 11725275"/>
              <a:gd name="connsiteY1020" fmla="*/ 2135982 h 2405063"/>
              <a:gd name="connsiteX1021" fmla="*/ 3375555 w 11725275"/>
              <a:gd name="connsiteY1021" fmla="*/ 2128044 h 2405063"/>
              <a:gd name="connsiteX1022" fmla="*/ 3372380 w 11725275"/>
              <a:gd name="connsiteY1022" fmla="*/ 2120107 h 2405063"/>
              <a:gd name="connsiteX1023" fmla="*/ 3368146 w 11725275"/>
              <a:gd name="connsiteY1023" fmla="*/ 2104232 h 2405063"/>
              <a:gd name="connsiteX1024" fmla="*/ 3364442 w 11725275"/>
              <a:gd name="connsiteY1024" fmla="*/ 2088357 h 2405063"/>
              <a:gd name="connsiteX1025" fmla="*/ 3362325 w 11725275"/>
              <a:gd name="connsiteY1025" fmla="*/ 2073276 h 2405063"/>
              <a:gd name="connsiteX1026" fmla="*/ 3359150 w 11725275"/>
              <a:gd name="connsiteY1026" fmla="*/ 2059782 h 2405063"/>
              <a:gd name="connsiteX1027" fmla="*/ 3357033 w 11725275"/>
              <a:gd name="connsiteY1027" fmla="*/ 2044701 h 2405063"/>
              <a:gd name="connsiteX1028" fmla="*/ 3353330 w 11725275"/>
              <a:gd name="connsiteY1028" fmla="*/ 2030413 h 2405063"/>
              <a:gd name="connsiteX1029" fmla="*/ 3351213 w 11725275"/>
              <a:gd name="connsiteY1029" fmla="*/ 2024063 h 2405063"/>
              <a:gd name="connsiteX1030" fmla="*/ 3349096 w 11725275"/>
              <a:gd name="connsiteY1030" fmla="*/ 2016919 h 2405063"/>
              <a:gd name="connsiteX1031" fmla="*/ 3345921 w 11725275"/>
              <a:gd name="connsiteY1031" fmla="*/ 2009776 h 2405063"/>
              <a:gd name="connsiteX1032" fmla="*/ 3343275 w 11725275"/>
              <a:gd name="connsiteY1032" fmla="*/ 2003426 h 2405063"/>
              <a:gd name="connsiteX1033" fmla="*/ 3284009 w 11725275"/>
              <a:gd name="connsiteY1033" fmla="*/ 2004219 h 2405063"/>
              <a:gd name="connsiteX1034" fmla="*/ 3218392 w 11725275"/>
              <a:gd name="connsiteY1034" fmla="*/ 2006601 h 2405063"/>
              <a:gd name="connsiteX1035" fmla="*/ 3149071 w 11725275"/>
              <a:gd name="connsiteY1035" fmla="*/ 2007394 h 2405063"/>
              <a:gd name="connsiteX1036" fmla="*/ 3076575 w 11725275"/>
              <a:gd name="connsiteY1036" fmla="*/ 2008982 h 2405063"/>
              <a:gd name="connsiteX1037" fmla="*/ 3000905 w 11725275"/>
              <a:gd name="connsiteY1037" fmla="*/ 2011363 h 2405063"/>
              <a:gd name="connsiteX1038" fmla="*/ 2924175 w 11725275"/>
              <a:gd name="connsiteY1038" fmla="*/ 2012157 h 2405063"/>
              <a:gd name="connsiteX1039" fmla="*/ 2846388 w 11725275"/>
              <a:gd name="connsiteY1039" fmla="*/ 2013744 h 2405063"/>
              <a:gd name="connsiteX1040" fmla="*/ 2768600 w 11725275"/>
              <a:gd name="connsiteY1040" fmla="*/ 2014538 h 2405063"/>
              <a:gd name="connsiteX1041" fmla="*/ 2692400 w 11725275"/>
              <a:gd name="connsiteY1041" fmla="*/ 2015332 h 2405063"/>
              <a:gd name="connsiteX1042" fmla="*/ 2619375 w 11725275"/>
              <a:gd name="connsiteY1042" fmla="*/ 2016919 h 2405063"/>
              <a:gd name="connsiteX1043" fmla="*/ 2548996 w 11725275"/>
              <a:gd name="connsiteY1043" fmla="*/ 2016919 h 2405063"/>
              <a:gd name="connsiteX1044" fmla="*/ 2482850 w 11725275"/>
              <a:gd name="connsiteY1044" fmla="*/ 2016919 h 2405063"/>
              <a:gd name="connsiteX1045" fmla="*/ 2421996 w 11725275"/>
              <a:gd name="connsiteY1045" fmla="*/ 2015332 h 2405063"/>
              <a:gd name="connsiteX1046" fmla="*/ 2368021 w 11725275"/>
              <a:gd name="connsiteY1046" fmla="*/ 2014538 h 2405063"/>
              <a:gd name="connsiteX1047" fmla="*/ 2320396 w 11725275"/>
              <a:gd name="connsiteY1047" fmla="*/ 2012157 h 2405063"/>
              <a:gd name="connsiteX1048" fmla="*/ 2281238 w 11725275"/>
              <a:gd name="connsiteY1048" fmla="*/ 2008982 h 2405063"/>
              <a:gd name="connsiteX1049" fmla="*/ 2246842 w 11725275"/>
              <a:gd name="connsiteY1049" fmla="*/ 2004219 h 2405063"/>
              <a:gd name="connsiteX1050" fmla="*/ 2215092 w 11725275"/>
              <a:gd name="connsiteY1050" fmla="*/ 1998663 h 2405063"/>
              <a:gd name="connsiteX1051" fmla="*/ 2185988 w 11725275"/>
              <a:gd name="connsiteY1051" fmla="*/ 1992313 h 2405063"/>
              <a:gd name="connsiteX1052" fmla="*/ 2159530 w 11725275"/>
              <a:gd name="connsiteY1052" fmla="*/ 1985169 h 2405063"/>
              <a:gd name="connsiteX1053" fmla="*/ 2147359 w 11725275"/>
              <a:gd name="connsiteY1053" fmla="*/ 1980407 h 2405063"/>
              <a:gd name="connsiteX1054" fmla="*/ 2136246 w 11725275"/>
              <a:gd name="connsiteY1054" fmla="*/ 1975644 h 2405063"/>
              <a:gd name="connsiteX1055" fmla="*/ 2125134 w 11725275"/>
              <a:gd name="connsiteY1055" fmla="*/ 1970882 h 2405063"/>
              <a:gd name="connsiteX1056" fmla="*/ 2115080 w 11725275"/>
              <a:gd name="connsiteY1056" fmla="*/ 1966119 h 2405063"/>
              <a:gd name="connsiteX1057" fmla="*/ 2104496 w 11725275"/>
              <a:gd name="connsiteY1057" fmla="*/ 1960563 h 2405063"/>
              <a:gd name="connsiteX1058" fmla="*/ 2096029 w 11725275"/>
              <a:gd name="connsiteY1058" fmla="*/ 1955007 h 2405063"/>
              <a:gd name="connsiteX1059" fmla="*/ 2087034 w 11725275"/>
              <a:gd name="connsiteY1059" fmla="*/ 1949451 h 2405063"/>
              <a:gd name="connsiteX1060" fmla="*/ 2079096 w 11725275"/>
              <a:gd name="connsiteY1060" fmla="*/ 1943894 h 2405063"/>
              <a:gd name="connsiteX1061" fmla="*/ 2071688 w 11725275"/>
              <a:gd name="connsiteY1061" fmla="*/ 1937544 h 2405063"/>
              <a:gd name="connsiteX1062" fmla="*/ 2064279 w 11725275"/>
              <a:gd name="connsiteY1062" fmla="*/ 1931194 h 2405063"/>
              <a:gd name="connsiteX1063" fmla="*/ 2057929 w 11725275"/>
              <a:gd name="connsiteY1063" fmla="*/ 1925638 h 2405063"/>
              <a:gd name="connsiteX1064" fmla="*/ 2052109 w 11725275"/>
              <a:gd name="connsiteY1064" fmla="*/ 1917701 h 2405063"/>
              <a:gd name="connsiteX1065" fmla="*/ 2046288 w 11725275"/>
              <a:gd name="connsiteY1065" fmla="*/ 1911351 h 2405063"/>
              <a:gd name="connsiteX1066" fmla="*/ 2041525 w 11725275"/>
              <a:gd name="connsiteY1066" fmla="*/ 1905001 h 2405063"/>
              <a:gd name="connsiteX1067" fmla="*/ 2036763 w 11725275"/>
              <a:gd name="connsiteY1067" fmla="*/ 1897063 h 2405063"/>
              <a:gd name="connsiteX1068" fmla="*/ 2033059 w 11725275"/>
              <a:gd name="connsiteY1068" fmla="*/ 1889919 h 2405063"/>
              <a:gd name="connsiteX1069" fmla="*/ 2029354 w 11725275"/>
              <a:gd name="connsiteY1069" fmla="*/ 1883569 h 2405063"/>
              <a:gd name="connsiteX1070" fmla="*/ 2026179 w 11725275"/>
              <a:gd name="connsiteY1070" fmla="*/ 1874838 h 2405063"/>
              <a:gd name="connsiteX1071" fmla="*/ 2023534 w 11725275"/>
              <a:gd name="connsiteY1071" fmla="*/ 1867694 h 2405063"/>
              <a:gd name="connsiteX1072" fmla="*/ 2020888 w 11725275"/>
              <a:gd name="connsiteY1072" fmla="*/ 1859757 h 2405063"/>
              <a:gd name="connsiteX1073" fmla="*/ 2018771 w 11725275"/>
              <a:gd name="connsiteY1073" fmla="*/ 1852613 h 2405063"/>
              <a:gd name="connsiteX1074" fmla="*/ 2017713 w 11725275"/>
              <a:gd name="connsiteY1074" fmla="*/ 1844676 h 2405063"/>
              <a:gd name="connsiteX1075" fmla="*/ 2016125 w 11725275"/>
              <a:gd name="connsiteY1075" fmla="*/ 1836738 h 2405063"/>
              <a:gd name="connsiteX1076" fmla="*/ 2015067 w 11725275"/>
              <a:gd name="connsiteY1076" fmla="*/ 1828801 h 2405063"/>
              <a:gd name="connsiteX1077" fmla="*/ 2014009 w 11725275"/>
              <a:gd name="connsiteY1077" fmla="*/ 1815307 h 2405063"/>
              <a:gd name="connsiteX1078" fmla="*/ 2010304 w 11725275"/>
              <a:gd name="connsiteY1078" fmla="*/ 1809751 h 2405063"/>
              <a:gd name="connsiteX1079" fmla="*/ 2006600 w 11725275"/>
              <a:gd name="connsiteY1079" fmla="*/ 1804988 h 2405063"/>
              <a:gd name="connsiteX1080" fmla="*/ 2001309 w 11725275"/>
              <a:gd name="connsiteY1080" fmla="*/ 1799432 h 2405063"/>
              <a:gd name="connsiteX1081" fmla="*/ 1995488 w 11725275"/>
              <a:gd name="connsiteY1081" fmla="*/ 1794669 h 2405063"/>
              <a:gd name="connsiteX1082" fmla="*/ 1983846 w 11725275"/>
              <a:gd name="connsiteY1082" fmla="*/ 1785938 h 2405063"/>
              <a:gd name="connsiteX1083" fmla="*/ 1972734 w 11725275"/>
              <a:gd name="connsiteY1083" fmla="*/ 1775619 h 2405063"/>
              <a:gd name="connsiteX1084" fmla="*/ 1968500 w 11725275"/>
              <a:gd name="connsiteY1084" fmla="*/ 1770063 h 2405063"/>
              <a:gd name="connsiteX1085" fmla="*/ 1963738 w 11725275"/>
              <a:gd name="connsiteY1085" fmla="*/ 1762919 h 2405063"/>
              <a:gd name="connsiteX1086" fmla="*/ 1960563 w 11725275"/>
              <a:gd name="connsiteY1086" fmla="*/ 1756569 h 2405063"/>
              <a:gd name="connsiteX1087" fmla="*/ 1957917 w 11725275"/>
              <a:gd name="connsiteY1087" fmla="*/ 1749426 h 2405063"/>
              <a:gd name="connsiteX1088" fmla="*/ 1957917 w 11725275"/>
              <a:gd name="connsiteY1088" fmla="*/ 1745457 h 2405063"/>
              <a:gd name="connsiteX1089" fmla="*/ 1957388 w 11725275"/>
              <a:gd name="connsiteY1089" fmla="*/ 1741488 h 2405063"/>
              <a:gd name="connsiteX1090" fmla="*/ 1957388 w 11725275"/>
              <a:gd name="connsiteY1090" fmla="*/ 1737519 h 2405063"/>
              <a:gd name="connsiteX1091" fmla="*/ 1957917 w 11725275"/>
              <a:gd name="connsiteY1091" fmla="*/ 1732757 h 2405063"/>
              <a:gd name="connsiteX1092" fmla="*/ 1960563 w 11725275"/>
              <a:gd name="connsiteY1092" fmla="*/ 1723232 h 2405063"/>
              <a:gd name="connsiteX1093" fmla="*/ 1963738 w 11725275"/>
              <a:gd name="connsiteY1093" fmla="*/ 1712119 h 2405063"/>
              <a:gd name="connsiteX1094" fmla="*/ 1934634 w 11725275"/>
              <a:gd name="connsiteY1094" fmla="*/ 1712119 h 2405063"/>
              <a:gd name="connsiteX1095" fmla="*/ 1911350 w 11725275"/>
              <a:gd name="connsiteY1095" fmla="*/ 1712119 h 2405063"/>
              <a:gd name="connsiteX1096" fmla="*/ 1891242 w 11725275"/>
              <a:gd name="connsiteY1096" fmla="*/ 1711326 h 2405063"/>
              <a:gd name="connsiteX1097" fmla="*/ 1875367 w 11725275"/>
              <a:gd name="connsiteY1097" fmla="*/ 1710532 h 2405063"/>
              <a:gd name="connsiteX1098" fmla="*/ 1858963 w 11725275"/>
              <a:gd name="connsiteY1098" fmla="*/ 1708944 h 2405063"/>
              <a:gd name="connsiteX1099" fmla="*/ 1843088 w 11725275"/>
              <a:gd name="connsiteY1099" fmla="*/ 1708944 h 2405063"/>
              <a:gd name="connsiteX1100" fmla="*/ 1824567 w 11725275"/>
              <a:gd name="connsiteY1100" fmla="*/ 1708944 h 2405063"/>
              <a:gd name="connsiteX1101" fmla="*/ 1802871 w 11725275"/>
              <a:gd name="connsiteY1101" fmla="*/ 1708944 h 2405063"/>
              <a:gd name="connsiteX1102" fmla="*/ 1335088 w 11725275"/>
              <a:gd name="connsiteY1102" fmla="*/ 1712119 h 2405063"/>
              <a:gd name="connsiteX1103" fmla="*/ 1286934 w 11725275"/>
              <a:gd name="connsiteY1103" fmla="*/ 1711326 h 2405063"/>
              <a:gd name="connsiteX1104" fmla="*/ 1251479 w 11725275"/>
              <a:gd name="connsiteY1104" fmla="*/ 1708944 h 2405063"/>
              <a:gd name="connsiteX1105" fmla="*/ 1238250 w 11725275"/>
              <a:gd name="connsiteY1105" fmla="*/ 1708151 h 2405063"/>
              <a:gd name="connsiteX1106" fmla="*/ 1227667 w 11725275"/>
              <a:gd name="connsiteY1106" fmla="*/ 1706563 h 2405063"/>
              <a:gd name="connsiteX1107" fmla="*/ 1218142 w 11725275"/>
              <a:gd name="connsiteY1107" fmla="*/ 1704976 h 2405063"/>
              <a:gd name="connsiteX1108" fmla="*/ 1210734 w 11725275"/>
              <a:gd name="connsiteY1108" fmla="*/ 1702594 h 2405063"/>
              <a:gd name="connsiteX1109" fmla="*/ 1203854 w 11725275"/>
              <a:gd name="connsiteY1109" fmla="*/ 1700213 h 2405063"/>
              <a:gd name="connsiteX1110" fmla="*/ 1198034 w 11725275"/>
              <a:gd name="connsiteY1110" fmla="*/ 1697038 h 2405063"/>
              <a:gd name="connsiteX1111" fmla="*/ 1192213 w 11725275"/>
              <a:gd name="connsiteY1111" fmla="*/ 1693069 h 2405063"/>
              <a:gd name="connsiteX1112" fmla="*/ 1186921 w 11725275"/>
              <a:gd name="connsiteY1112" fmla="*/ 1689894 h 2405063"/>
              <a:gd name="connsiteX1113" fmla="*/ 1174221 w 11725275"/>
              <a:gd name="connsiteY1113" fmla="*/ 1680369 h 2405063"/>
              <a:gd name="connsiteX1114" fmla="*/ 1156229 w 11725275"/>
              <a:gd name="connsiteY1114" fmla="*/ 1669257 h 2405063"/>
              <a:gd name="connsiteX1115" fmla="*/ 1123421 w 11725275"/>
              <a:gd name="connsiteY1115" fmla="*/ 1649413 h 2405063"/>
              <a:gd name="connsiteX1116" fmla="*/ 1103842 w 11725275"/>
              <a:gd name="connsiteY1116" fmla="*/ 1637507 h 2405063"/>
              <a:gd name="connsiteX1117" fmla="*/ 1098550 w 11725275"/>
              <a:gd name="connsiteY1117" fmla="*/ 1633538 h 2405063"/>
              <a:gd name="connsiteX1118" fmla="*/ 1094846 w 11725275"/>
              <a:gd name="connsiteY1118" fmla="*/ 1631157 h 2405063"/>
              <a:gd name="connsiteX1119" fmla="*/ 1092729 w 11725275"/>
              <a:gd name="connsiteY1119" fmla="*/ 1628776 h 2405063"/>
              <a:gd name="connsiteX1120" fmla="*/ 1091671 w 11725275"/>
              <a:gd name="connsiteY1120" fmla="*/ 1627188 h 2405063"/>
              <a:gd name="connsiteX1121" fmla="*/ 1091142 w 11725275"/>
              <a:gd name="connsiteY1121" fmla="*/ 1623219 h 2405063"/>
              <a:gd name="connsiteX1122" fmla="*/ 1089025 w 11725275"/>
              <a:gd name="connsiteY1122" fmla="*/ 1616869 h 2405063"/>
              <a:gd name="connsiteX1123" fmla="*/ 1085850 w 11725275"/>
              <a:gd name="connsiteY1123" fmla="*/ 1611313 h 2405063"/>
              <a:gd name="connsiteX1124" fmla="*/ 1081088 w 11725275"/>
              <a:gd name="connsiteY1124" fmla="*/ 1604963 h 2405063"/>
              <a:gd name="connsiteX1125" fmla="*/ 1073679 w 11725275"/>
              <a:gd name="connsiteY1125" fmla="*/ 1596232 h 2405063"/>
              <a:gd name="connsiteX1126" fmla="*/ 1063096 w 11725275"/>
              <a:gd name="connsiteY1126" fmla="*/ 1585119 h 2405063"/>
              <a:gd name="connsiteX1127" fmla="*/ 1055159 w 11725275"/>
              <a:gd name="connsiteY1127" fmla="*/ 1576388 h 2405063"/>
              <a:gd name="connsiteX1128" fmla="*/ 1047750 w 11725275"/>
              <a:gd name="connsiteY1128" fmla="*/ 1567657 h 2405063"/>
              <a:gd name="connsiteX1129" fmla="*/ 1042988 w 11725275"/>
              <a:gd name="connsiteY1129" fmla="*/ 1560513 h 2405063"/>
              <a:gd name="connsiteX1130" fmla="*/ 1037696 w 11725275"/>
              <a:gd name="connsiteY1130" fmla="*/ 1553369 h 2405063"/>
              <a:gd name="connsiteX1131" fmla="*/ 1031875 w 11725275"/>
              <a:gd name="connsiteY1131" fmla="*/ 1540669 h 2405063"/>
              <a:gd name="connsiteX1132" fmla="*/ 1026584 w 11725275"/>
              <a:gd name="connsiteY1132" fmla="*/ 1529557 h 2405063"/>
              <a:gd name="connsiteX1133" fmla="*/ 1022350 w 11725275"/>
              <a:gd name="connsiteY1133" fmla="*/ 1517651 h 2405063"/>
              <a:gd name="connsiteX1134" fmla="*/ 1016529 w 11725275"/>
              <a:gd name="connsiteY1134" fmla="*/ 1504157 h 2405063"/>
              <a:gd name="connsiteX1135" fmla="*/ 1012296 w 11725275"/>
              <a:gd name="connsiteY1135" fmla="*/ 1497013 h 2405063"/>
              <a:gd name="connsiteX1136" fmla="*/ 1007533 w 11725275"/>
              <a:gd name="connsiteY1136" fmla="*/ 1488282 h 2405063"/>
              <a:gd name="connsiteX1137" fmla="*/ 1001183 w 11725275"/>
              <a:gd name="connsiteY1137" fmla="*/ 1479550 h 2405063"/>
              <a:gd name="connsiteX1138" fmla="*/ 993246 w 11725275"/>
              <a:gd name="connsiteY1138" fmla="*/ 1469232 h 2405063"/>
              <a:gd name="connsiteX1139" fmla="*/ 984779 w 11725275"/>
              <a:gd name="connsiteY1139" fmla="*/ 1458119 h 2405063"/>
              <a:gd name="connsiteX1140" fmla="*/ 980017 w 11725275"/>
              <a:gd name="connsiteY1140" fmla="*/ 1450182 h 2405063"/>
              <a:gd name="connsiteX1141" fmla="*/ 977371 w 11725275"/>
              <a:gd name="connsiteY1141" fmla="*/ 1446213 h 2405063"/>
              <a:gd name="connsiteX1142" fmla="*/ 975255 w 11725275"/>
              <a:gd name="connsiteY1142" fmla="*/ 1444625 h 2405063"/>
              <a:gd name="connsiteX1143" fmla="*/ 971550 w 11725275"/>
              <a:gd name="connsiteY1143" fmla="*/ 1443832 h 2405063"/>
              <a:gd name="connsiteX1144" fmla="*/ 965200 w 11725275"/>
              <a:gd name="connsiteY1144" fmla="*/ 1443038 h 2405063"/>
              <a:gd name="connsiteX1145" fmla="*/ 954617 w 11725275"/>
              <a:gd name="connsiteY1145" fmla="*/ 1440657 h 2405063"/>
              <a:gd name="connsiteX1146" fmla="*/ 937154 w 11725275"/>
              <a:gd name="connsiteY1146" fmla="*/ 1436688 h 2405063"/>
              <a:gd name="connsiteX1147" fmla="*/ 923925 w 11725275"/>
              <a:gd name="connsiteY1147" fmla="*/ 1433513 h 2405063"/>
              <a:gd name="connsiteX1148" fmla="*/ 895350 w 11725275"/>
              <a:gd name="connsiteY1148" fmla="*/ 1427163 h 2405063"/>
              <a:gd name="connsiteX1149" fmla="*/ 866775 w 11725275"/>
              <a:gd name="connsiteY1149" fmla="*/ 1420813 h 2405063"/>
              <a:gd name="connsiteX1150" fmla="*/ 853017 w 11725275"/>
              <a:gd name="connsiteY1150" fmla="*/ 1417638 h 2405063"/>
              <a:gd name="connsiteX1151" fmla="*/ 832380 w 11725275"/>
              <a:gd name="connsiteY1151" fmla="*/ 1412875 h 2405063"/>
              <a:gd name="connsiteX1152" fmla="*/ 811213 w 11725275"/>
              <a:gd name="connsiteY1152" fmla="*/ 1408113 h 2405063"/>
              <a:gd name="connsiteX1153" fmla="*/ 801688 w 11725275"/>
              <a:gd name="connsiteY1153" fmla="*/ 1405732 h 2405063"/>
              <a:gd name="connsiteX1154" fmla="*/ 792163 w 11725275"/>
              <a:gd name="connsiteY1154" fmla="*/ 1402557 h 2405063"/>
              <a:gd name="connsiteX1155" fmla="*/ 783167 w 11725275"/>
              <a:gd name="connsiteY1155" fmla="*/ 1399382 h 2405063"/>
              <a:gd name="connsiteX1156" fmla="*/ 775230 w 11725275"/>
              <a:gd name="connsiteY1156" fmla="*/ 1395413 h 2405063"/>
              <a:gd name="connsiteX1157" fmla="*/ 758296 w 11725275"/>
              <a:gd name="connsiteY1157" fmla="*/ 1385888 h 2405063"/>
              <a:gd name="connsiteX1158" fmla="*/ 749830 w 11725275"/>
              <a:gd name="connsiteY1158" fmla="*/ 1381125 h 2405063"/>
              <a:gd name="connsiteX1159" fmla="*/ 748242 w 11725275"/>
              <a:gd name="connsiteY1159" fmla="*/ 1380332 h 2405063"/>
              <a:gd name="connsiteX1160" fmla="*/ 747713 w 11725275"/>
              <a:gd name="connsiteY1160" fmla="*/ 1379538 h 2405063"/>
              <a:gd name="connsiteX1161" fmla="*/ 747713 w 11725275"/>
              <a:gd name="connsiteY1161" fmla="*/ 1378744 h 2405063"/>
              <a:gd name="connsiteX1162" fmla="*/ 748242 w 11725275"/>
              <a:gd name="connsiteY1162" fmla="*/ 1378744 h 2405063"/>
              <a:gd name="connsiteX1163" fmla="*/ 749830 w 11725275"/>
              <a:gd name="connsiteY1163" fmla="*/ 1378744 h 2405063"/>
              <a:gd name="connsiteX1164" fmla="*/ 750888 w 11725275"/>
              <a:gd name="connsiteY1164" fmla="*/ 1378744 h 2405063"/>
              <a:gd name="connsiteX1165" fmla="*/ 751946 w 11725275"/>
              <a:gd name="connsiteY1165" fmla="*/ 1377950 h 2405063"/>
              <a:gd name="connsiteX1166" fmla="*/ 752475 w 11725275"/>
              <a:gd name="connsiteY1166" fmla="*/ 1375569 h 2405063"/>
              <a:gd name="connsiteX1167" fmla="*/ 751946 w 11725275"/>
              <a:gd name="connsiteY1167" fmla="*/ 1373982 h 2405063"/>
              <a:gd name="connsiteX1168" fmla="*/ 750358 w 11725275"/>
              <a:gd name="connsiteY1168" fmla="*/ 1370807 h 2405063"/>
              <a:gd name="connsiteX1169" fmla="*/ 746654 w 11725275"/>
              <a:gd name="connsiteY1169" fmla="*/ 1367632 h 2405063"/>
              <a:gd name="connsiteX1170" fmla="*/ 741363 w 11725275"/>
              <a:gd name="connsiteY1170" fmla="*/ 1362075 h 2405063"/>
              <a:gd name="connsiteX1171" fmla="*/ 737130 w 11725275"/>
              <a:gd name="connsiteY1171" fmla="*/ 1357313 h 2405063"/>
              <a:gd name="connsiteX1172" fmla="*/ 731838 w 11725275"/>
              <a:gd name="connsiteY1172" fmla="*/ 1353344 h 2405063"/>
              <a:gd name="connsiteX1173" fmla="*/ 725488 w 11725275"/>
              <a:gd name="connsiteY1173" fmla="*/ 1348582 h 2405063"/>
              <a:gd name="connsiteX1174" fmla="*/ 719138 w 11725275"/>
              <a:gd name="connsiteY1174" fmla="*/ 1345407 h 2405063"/>
              <a:gd name="connsiteX1175" fmla="*/ 704321 w 11725275"/>
              <a:gd name="connsiteY1175" fmla="*/ 1337469 h 2405063"/>
              <a:gd name="connsiteX1176" fmla="*/ 688975 w 11725275"/>
              <a:gd name="connsiteY1176" fmla="*/ 1330325 h 2405063"/>
              <a:gd name="connsiteX1177" fmla="*/ 673629 w 11725275"/>
              <a:gd name="connsiteY1177" fmla="*/ 1321594 h 2405063"/>
              <a:gd name="connsiteX1178" fmla="*/ 658284 w 11725275"/>
              <a:gd name="connsiteY1178" fmla="*/ 1313657 h 2405063"/>
              <a:gd name="connsiteX1179" fmla="*/ 650875 w 11725275"/>
              <a:gd name="connsiteY1179" fmla="*/ 1308894 h 2405063"/>
              <a:gd name="connsiteX1180" fmla="*/ 643996 w 11725275"/>
              <a:gd name="connsiteY1180" fmla="*/ 1304925 h 2405063"/>
              <a:gd name="connsiteX1181" fmla="*/ 638175 w 11725275"/>
              <a:gd name="connsiteY1181" fmla="*/ 1300163 h 2405063"/>
              <a:gd name="connsiteX1182" fmla="*/ 632354 w 11725275"/>
              <a:gd name="connsiteY1182" fmla="*/ 1294607 h 2405063"/>
              <a:gd name="connsiteX1183" fmla="*/ 624417 w 11725275"/>
              <a:gd name="connsiteY1183" fmla="*/ 1286669 h 2405063"/>
              <a:gd name="connsiteX1184" fmla="*/ 619125 w 11725275"/>
              <a:gd name="connsiteY1184" fmla="*/ 1279525 h 2405063"/>
              <a:gd name="connsiteX1185" fmla="*/ 617009 w 11725275"/>
              <a:gd name="connsiteY1185" fmla="*/ 1275557 h 2405063"/>
              <a:gd name="connsiteX1186" fmla="*/ 615421 w 11725275"/>
              <a:gd name="connsiteY1186" fmla="*/ 1270794 h 2405063"/>
              <a:gd name="connsiteX1187" fmla="*/ 614892 w 11725275"/>
              <a:gd name="connsiteY1187" fmla="*/ 1266825 h 2405063"/>
              <a:gd name="connsiteX1188" fmla="*/ 614363 w 11725275"/>
              <a:gd name="connsiteY1188" fmla="*/ 1262063 h 2405063"/>
              <a:gd name="connsiteX1189" fmla="*/ 611188 w 11725275"/>
              <a:gd name="connsiteY1189" fmla="*/ 1256507 h 2405063"/>
              <a:gd name="connsiteX1190" fmla="*/ 605896 w 11725275"/>
              <a:gd name="connsiteY1190" fmla="*/ 1246982 h 2405063"/>
              <a:gd name="connsiteX1191" fmla="*/ 601663 w 11725275"/>
              <a:gd name="connsiteY1191" fmla="*/ 1241425 h 2405063"/>
              <a:gd name="connsiteX1192" fmla="*/ 597959 w 11725275"/>
              <a:gd name="connsiteY1192" fmla="*/ 1236663 h 2405063"/>
              <a:gd name="connsiteX1193" fmla="*/ 593725 w 11725275"/>
              <a:gd name="connsiteY1193" fmla="*/ 1232694 h 2405063"/>
              <a:gd name="connsiteX1194" fmla="*/ 588434 w 11725275"/>
              <a:gd name="connsiteY1194" fmla="*/ 1228725 h 2405063"/>
              <a:gd name="connsiteX1195" fmla="*/ 583142 w 11725275"/>
              <a:gd name="connsiteY1195" fmla="*/ 1224757 h 2405063"/>
              <a:gd name="connsiteX1196" fmla="*/ 577321 w 11725275"/>
              <a:gd name="connsiteY1196" fmla="*/ 1222375 h 2405063"/>
              <a:gd name="connsiteX1197" fmla="*/ 571500 w 11725275"/>
              <a:gd name="connsiteY1197" fmla="*/ 1219200 h 2405063"/>
              <a:gd name="connsiteX1198" fmla="*/ 565150 w 11725275"/>
              <a:gd name="connsiteY1198" fmla="*/ 1216819 h 2405063"/>
              <a:gd name="connsiteX1199" fmla="*/ 549804 w 11725275"/>
              <a:gd name="connsiteY1199" fmla="*/ 1212850 h 2405063"/>
              <a:gd name="connsiteX1200" fmla="*/ 531283 w 11725275"/>
              <a:gd name="connsiteY1200" fmla="*/ 1209675 h 2405063"/>
              <a:gd name="connsiteX1201" fmla="*/ 510117 w 11725275"/>
              <a:gd name="connsiteY1201" fmla="*/ 1208088 h 2405063"/>
              <a:gd name="connsiteX1202" fmla="*/ 484188 w 11725275"/>
              <a:gd name="connsiteY1202" fmla="*/ 1207294 h 2405063"/>
              <a:gd name="connsiteX1203" fmla="*/ 458788 w 11725275"/>
              <a:gd name="connsiteY1203" fmla="*/ 1207294 h 2405063"/>
              <a:gd name="connsiteX1204" fmla="*/ 431800 w 11725275"/>
              <a:gd name="connsiteY1204" fmla="*/ 1208088 h 2405063"/>
              <a:gd name="connsiteX1205" fmla="*/ 405342 w 11725275"/>
              <a:gd name="connsiteY1205" fmla="*/ 1208882 h 2405063"/>
              <a:gd name="connsiteX1206" fmla="*/ 378884 w 11725275"/>
              <a:gd name="connsiteY1206" fmla="*/ 1208882 h 2405063"/>
              <a:gd name="connsiteX1207" fmla="*/ 340254 w 11725275"/>
              <a:gd name="connsiteY1207" fmla="*/ 1208882 h 2405063"/>
              <a:gd name="connsiteX1208" fmla="*/ 305329 w 11725275"/>
              <a:gd name="connsiteY1208" fmla="*/ 1206500 h 2405063"/>
              <a:gd name="connsiteX1209" fmla="*/ 289454 w 11725275"/>
              <a:gd name="connsiteY1209" fmla="*/ 1205707 h 2405063"/>
              <a:gd name="connsiteX1210" fmla="*/ 274638 w 11725275"/>
              <a:gd name="connsiteY1210" fmla="*/ 1203325 h 2405063"/>
              <a:gd name="connsiteX1211" fmla="*/ 260350 w 11725275"/>
              <a:gd name="connsiteY1211" fmla="*/ 1200944 h 2405063"/>
              <a:gd name="connsiteX1212" fmla="*/ 247121 w 11725275"/>
              <a:gd name="connsiteY1212" fmla="*/ 1197769 h 2405063"/>
              <a:gd name="connsiteX1213" fmla="*/ 234421 w 11725275"/>
              <a:gd name="connsiteY1213" fmla="*/ 1193800 h 2405063"/>
              <a:gd name="connsiteX1214" fmla="*/ 222779 w 11725275"/>
              <a:gd name="connsiteY1214" fmla="*/ 1190625 h 2405063"/>
              <a:gd name="connsiteX1215" fmla="*/ 211667 w 11725275"/>
              <a:gd name="connsiteY1215" fmla="*/ 1185863 h 2405063"/>
              <a:gd name="connsiteX1216" fmla="*/ 201613 w 11725275"/>
              <a:gd name="connsiteY1216" fmla="*/ 1181100 h 2405063"/>
              <a:gd name="connsiteX1217" fmla="*/ 192088 w 11725275"/>
              <a:gd name="connsiteY1217" fmla="*/ 1175544 h 2405063"/>
              <a:gd name="connsiteX1218" fmla="*/ 183092 w 11725275"/>
              <a:gd name="connsiteY1218" fmla="*/ 1169194 h 2405063"/>
              <a:gd name="connsiteX1219" fmla="*/ 174625 w 11725275"/>
              <a:gd name="connsiteY1219" fmla="*/ 1162844 h 2405063"/>
              <a:gd name="connsiteX1220" fmla="*/ 166159 w 11725275"/>
              <a:gd name="connsiteY1220" fmla="*/ 1154907 h 2405063"/>
              <a:gd name="connsiteX1221" fmla="*/ 161396 w 11725275"/>
              <a:gd name="connsiteY1221" fmla="*/ 1149350 h 2405063"/>
              <a:gd name="connsiteX1222" fmla="*/ 156634 w 11725275"/>
              <a:gd name="connsiteY1222" fmla="*/ 1143794 h 2405063"/>
              <a:gd name="connsiteX1223" fmla="*/ 153988 w 11725275"/>
              <a:gd name="connsiteY1223" fmla="*/ 1139825 h 2405063"/>
              <a:gd name="connsiteX1224" fmla="*/ 152400 w 11725275"/>
              <a:gd name="connsiteY1224" fmla="*/ 1135857 h 2405063"/>
              <a:gd name="connsiteX1225" fmla="*/ 151871 w 11725275"/>
              <a:gd name="connsiteY1225" fmla="*/ 1132682 h 2405063"/>
              <a:gd name="connsiteX1226" fmla="*/ 152400 w 11725275"/>
              <a:gd name="connsiteY1226" fmla="*/ 1128713 h 2405063"/>
              <a:gd name="connsiteX1227" fmla="*/ 153988 w 11725275"/>
              <a:gd name="connsiteY1227" fmla="*/ 1126332 h 2405063"/>
              <a:gd name="connsiteX1228" fmla="*/ 156634 w 11725275"/>
              <a:gd name="connsiteY1228" fmla="*/ 1123157 h 2405063"/>
              <a:gd name="connsiteX1229" fmla="*/ 174625 w 11725275"/>
              <a:gd name="connsiteY1229" fmla="*/ 1112044 h 2405063"/>
              <a:gd name="connsiteX1230" fmla="*/ 203200 w 11725275"/>
              <a:gd name="connsiteY1230" fmla="*/ 1095375 h 2405063"/>
              <a:gd name="connsiteX1231" fmla="*/ 165629 w 11725275"/>
              <a:gd name="connsiteY1231" fmla="*/ 1095375 h 2405063"/>
              <a:gd name="connsiteX1232" fmla="*/ 140759 w 11725275"/>
              <a:gd name="connsiteY1232" fmla="*/ 1096169 h 2405063"/>
              <a:gd name="connsiteX1233" fmla="*/ 124354 w 11725275"/>
              <a:gd name="connsiteY1233" fmla="*/ 1096963 h 2405063"/>
              <a:gd name="connsiteX1234" fmla="*/ 114300 w 11725275"/>
              <a:gd name="connsiteY1234" fmla="*/ 1096169 h 2405063"/>
              <a:gd name="connsiteX1235" fmla="*/ 110067 w 11725275"/>
              <a:gd name="connsiteY1235" fmla="*/ 1096169 h 2405063"/>
              <a:gd name="connsiteX1236" fmla="*/ 106892 w 11725275"/>
              <a:gd name="connsiteY1236" fmla="*/ 1095375 h 2405063"/>
              <a:gd name="connsiteX1237" fmla="*/ 104246 w 11725275"/>
              <a:gd name="connsiteY1237" fmla="*/ 1093788 h 2405063"/>
              <a:gd name="connsiteX1238" fmla="*/ 100542 w 11725275"/>
              <a:gd name="connsiteY1238" fmla="*/ 1091407 h 2405063"/>
              <a:gd name="connsiteX1239" fmla="*/ 91546 w 11725275"/>
              <a:gd name="connsiteY1239" fmla="*/ 1085057 h 2405063"/>
              <a:gd name="connsiteX1240" fmla="*/ 77788 w 11725275"/>
              <a:gd name="connsiteY1240" fmla="*/ 1077119 h 2405063"/>
              <a:gd name="connsiteX1241" fmla="*/ 47625 w 11725275"/>
              <a:gd name="connsiteY1241" fmla="*/ 1050132 h 2405063"/>
              <a:gd name="connsiteX1242" fmla="*/ 41275 w 11725275"/>
              <a:gd name="connsiteY1242" fmla="*/ 1042988 h 2405063"/>
              <a:gd name="connsiteX1243" fmla="*/ 34396 w 11725275"/>
              <a:gd name="connsiteY1243" fmla="*/ 1034257 h 2405063"/>
              <a:gd name="connsiteX1244" fmla="*/ 26988 w 11725275"/>
              <a:gd name="connsiteY1244" fmla="*/ 1024732 h 2405063"/>
              <a:gd name="connsiteX1245" fmla="*/ 20638 w 11725275"/>
              <a:gd name="connsiteY1245" fmla="*/ 1013619 h 2405063"/>
              <a:gd name="connsiteX1246" fmla="*/ 13759 w 11725275"/>
              <a:gd name="connsiteY1246" fmla="*/ 1001713 h 2405063"/>
              <a:gd name="connsiteX1247" fmla="*/ 8996 w 11725275"/>
              <a:gd name="connsiteY1247" fmla="*/ 989013 h 2405063"/>
              <a:gd name="connsiteX1248" fmla="*/ 4233 w 11725275"/>
              <a:gd name="connsiteY1248" fmla="*/ 977107 h 2405063"/>
              <a:gd name="connsiteX1249" fmla="*/ 1588 w 11725275"/>
              <a:gd name="connsiteY1249" fmla="*/ 964407 h 2405063"/>
              <a:gd name="connsiteX1250" fmla="*/ 0 w 11725275"/>
              <a:gd name="connsiteY1250" fmla="*/ 957263 h 2405063"/>
              <a:gd name="connsiteX1251" fmla="*/ 0 w 11725275"/>
              <a:gd name="connsiteY1251" fmla="*/ 951707 h 2405063"/>
              <a:gd name="connsiteX1252" fmla="*/ 0 w 11725275"/>
              <a:gd name="connsiteY1252" fmla="*/ 945357 h 2405063"/>
              <a:gd name="connsiteX1253" fmla="*/ 529 w 11725275"/>
              <a:gd name="connsiteY1253" fmla="*/ 939800 h 2405063"/>
              <a:gd name="connsiteX1254" fmla="*/ 2117 w 11725275"/>
              <a:gd name="connsiteY1254" fmla="*/ 934244 h 2405063"/>
              <a:gd name="connsiteX1255" fmla="*/ 4233 w 11725275"/>
              <a:gd name="connsiteY1255" fmla="*/ 928688 h 2405063"/>
              <a:gd name="connsiteX1256" fmla="*/ 6350 w 11725275"/>
              <a:gd name="connsiteY1256" fmla="*/ 923925 h 2405063"/>
              <a:gd name="connsiteX1257" fmla="*/ 10054 w 11725275"/>
              <a:gd name="connsiteY1257" fmla="*/ 918369 h 2405063"/>
              <a:gd name="connsiteX1258" fmla="*/ 14817 w 11725275"/>
              <a:gd name="connsiteY1258" fmla="*/ 913607 h 2405063"/>
              <a:gd name="connsiteX1259" fmla="*/ 19579 w 11725275"/>
              <a:gd name="connsiteY1259" fmla="*/ 910432 h 2405063"/>
              <a:gd name="connsiteX1260" fmla="*/ 24871 w 11725275"/>
              <a:gd name="connsiteY1260" fmla="*/ 906463 h 2405063"/>
              <a:gd name="connsiteX1261" fmla="*/ 32279 w 11725275"/>
              <a:gd name="connsiteY1261" fmla="*/ 902494 h 2405063"/>
              <a:gd name="connsiteX1262" fmla="*/ 39688 w 11725275"/>
              <a:gd name="connsiteY1262" fmla="*/ 900113 h 2405063"/>
              <a:gd name="connsiteX1263" fmla="*/ 48154 w 11725275"/>
              <a:gd name="connsiteY1263" fmla="*/ 896938 h 2405063"/>
              <a:gd name="connsiteX1264" fmla="*/ 57679 w 11725275"/>
              <a:gd name="connsiteY1264" fmla="*/ 895350 h 2405063"/>
              <a:gd name="connsiteX1265" fmla="*/ 68263 w 11725275"/>
              <a:gd name="connsiteY1265" fmla="*/ 892969 h 2405063"/>
              <a:gd name="connsiteX1266" fmla="*/ 78317 w 11725275"/>
              <a:gd name="connsiteY1266" fmla="*/ 892175 h 2405063"/>
              <a:gd name="connsiteX1267" fmla="*/ 83609 w 11725275"/>
              <a:gd name="connsiteY1267" fmla="*/ 891382 h 2405063"/>
              <a:gd name="connsiteX1268" fmla="*/ 84138 w 11725275"/>
              <a:gd name="connsiteY1268" fmla="*/ 891382 h 2405063"/>
              <a:gd name="connsiteX1269" fmla="*/ 85196 w 11725275"/>
              <a:gd name="connsiteY1269" fmla="*/ 891382 h 2405063"/>
              <a:gd name="connsiteX1270" fmla="*/ 86254 w 11725275"/>
              <a:gd name="connsiteY1270" fmla="*/ 891382 h 2405063"/>
              <a:gd name="connsiteX1271" fmla="*/ 93134 w 11725275"/>
              <a:gd name="connsiteY1271" fmla="*/ 891382 h 2405063"/>
              <a:gd name="connsiteX1272" fmla="*/ 104775 w 11725275"/>
              <a:gd name="connsiteY1272" fmla="*/ 890588 h 2405063"/>
              <a:gd name="connsiteX1273" fmla="*/ 668867 w 11725275"/>
              <a:gd name="connsiteY1273" fmla="*/ 881857 h 2405063"/>
              <a:gd name="connsiteX1274" fmla="*/ 659342 w 11725275"/>
              <a:gd name="connsiteY1274" fmla="*/ 873125 h 2405063"/>
              <a:gd name="connsiteX1275" fmla="*/ 653521 w 11725275"/>
              <a:gd name="connsiteY1275" fmla="*/ 867569 h 2405063"/>
              <a:gd name="connsiteX1276" fmla="*/ 650875 w 11725275"/>
              <a:gd name="connsiteY1276" fmla="*/ 862807 h 2405063"/>
              <a:gd name="connsiteX1277" fmla="*/ 649817 w 11725275"/>
              <a:gd name="connsiteY1277" fmla="*/ 859632 h 2405063"/>
              <a:gd name="connsiteX1278" fmla="*/ 649288 w 11725275"/>
              <a:gd name="connsiteY1278" fmla="*/ 855663 h 2405063"/>
              <a:gd name="connsiteX1279" fmla="*/ 648758 w 11725275"/>
              <a:gd name="connsiteY1279" fmla="*/ 852488 h 2405063"/>
              <a:gd name="connsiteX1280" fmla="*/ 646113 w 11725275"/>
              <a:gd name="connsiteY1280" fmla="*/ 844550 h 2405063"/>
              <a:gd name="connsiteX1281" fmla="*/ 641879 w 11725275"/>
              <a:gd name="connsiteY1281" fmla="*/ 834232 h 2405063"/>
              <a:gd name="connsiteX1282" fmla="*/ 635529 w 11725275"/>
              <a:gd name="connsiteY1282" fmla="*/ 820738 h 2405063"/>
              <a:gd name="connsiteX1283" fmla="*/ 629709 w 11725275"/>
              <a:gd name="connsiteY1283" fmla="*/ 809625 h 2405063"/>
              <a:gd name="connsiteX1284" fmla="*/ 626004 w 11725275"/>
              <a:gd name="connsiteY1284" fmla="*/ 799307 h 2405063"/>
              <a:gd name="connsiteX1285" fmla="*/ 622829 w 11725275"/>
              <a:gd name="connsiteY1285" fmla="*/ 790575 h 2405063"/>
              <a:gd name="connsiteX1286" fmla="*/ 620713 w 11725275"/>
              <a:gd name="connsiteY1286" fmla="*/ 784225 h 2405063"/>
              <a:gd name="connsiteX1287" fmla="*/ 620184 w 11725275"/>
              <a:gd name="connsiteY1287" fmla="*/ 777875 h 2405063"/>
              <a:gd name="connsiteX1288" fmla="*/ 620184 w 11725275"/>
              <a:gd name="connsiteY1288" fmla="*/ 772319 h 2405063"/>
              <a:gd name="connsiteX1289" fmla="*/ 620184 w 11725275"/>
              <a:gd name="connsiteY1289" fmla="*/ 766763 h 2405063"/>
              <a:gd name="connsiteX1290" fmla="*/ 622829 w 11725275"/>
              <a:gd name="connsiteY1290" fmla="*/ 754857 h 2405063"/>
              <a:gd name="connsiteX1291" fmla="*/ 627063 w 11725275"/>
              <a:gd name="connsiteY1291" fmla="*/ 740569 h 2405063"/>
              <a:gd name="connsiteX1292" fmla="*/ 629709 w 11725275"/>
              <a:gd name="connsiteY1292" fmla="*/ 731838 h 2405063"/>
              <a:gd name="connsiteX1293" fmla="*/ 631825 w 11725275"/>
              <a:gd name="connsiteY1293" fmla="*/ 721519 h 2405063"/>
              <a:gd name="connsiteX1294" fmla="*/ 633942 w 11725275"/>
              <a:gd name="connsiteY1294" fmla="*/ 710407 h 2405063"/>
              <a:gd name="connsiteX1295" fmla="*/ 635529 w 11725275"/>
              <a:gd name="connsiteY1295" fmla="*/ 696913 h 2405063"/>
              <a:gd name="connsiteX1296" fmla="*/ 674158 w 11725275"/>
              <a:gd name="connsiteY1296" fmla="*/ 696119 h 2405063"/>
              <a:gd name="connsiteX1297" fmla="*/ 706438 w 11725275"/>
              <a:gd name="connsiteY1297" fmla="*/ 693738 h 2405063"/>
              <a:gd name="connsiteX1298" fmla="*/ 734483 w 11725275"/>
              <a:gd name="connsiteY1298" fmla="*/ 692944 h 2405063"/>
              <a:gd name="connsiteX1299" fmla="*/ 759354 w 11725275"/>
              <a:gd name="connsiteY1299" fmla="*/ 691356 h 2405063"/>
              <a:gd name="connsiteX1300" fmla="*/ 782638 w 11725275"/>
              <a:gd name="connsiteY1300" fmla="*/ 690563 h 2405063"/>
              <a:gd name="connsiteX1301" fmla="*/ 806979 w 11725275"/>
              <a:gd name="connsiteY1301" fmla="*/ 691356 h 2405063"/>
              <a:gd name="connsiteX1302" fmla="*/ 832380 w 11725275"/>
              <a:gd name="connsiteY1302" fmla="*/ 692150 h 2405063"/>
              <a:gd name="connsiteX1303" fmla="*/ 862542 w 11725275"/>
              <a:gd name="connsiteY1303" fmla="*/ 694531 h 2405063"/>
              <a:gd name="connsiteX1304" fmla="*/ 867833 w 11725275"/>
              <a:gd name="connsiteY1304" fmla="*/ 696119 h 2405063"/>
              <a:gd name="connsiteX1305" fmla="*/ 870480 w 11725275"/>
              <a:gd name="connsiteY1305" fmla="*/ 696913 h 2405063"/>
              <a:gd name="connsiteX1306" fmla="*/ 881063 w 11725275"/>
              <a:gd name="connsiteY1306" fmla="*/ 697706 h 2405063"/>
              <a:gd name="connsiteX1307" fmla="*/ 910167 w 11725275"/>
              <a:gd name="connsiteY1307" fmla="*/ 700088 h 2405063"/>
              <a:gd name="connsiteX1308" fmla="*/ 923396 w 11725275"/>
              <a:gd name="connsiteY1308" fmla="*/ 700088 h 2405063"/>
              <a:gd name="connsiteX1309" fmla="*/ 937154 w 11725275"/>
              <a:gd name="connsiteY1309" fmla="*/ 701675 h 2405063"/>
              <a:gd name="connsiteX1310" fmla="*/ 952500 w 11725275"/>
              <a:gd name="connsiteY1310" fmla="*/ 702469 h 2405063"/>
              <a:gd name="connsiteX1311" fmla="*/ 967846 w 11725275"/>
              <a:gd name="connsiteY1311" fmla="*/ 702469 h 2405063"/>
              <a:gd name="connsiteX1312" fmla="*/ 984250 w 11725275"/>
              <a:gd name="connsiteY1312" fmla="*/ 702469 h 2405063"/>
              <a:gd name="connsiteX1313" fmla="*/ 999596 w 11725275"/>
              <a:gd name="connsiteY1313" fmla="*/ 703263 h 2405063"/>
              <a:gd name="connsiteX1314" fmla="*/ 1014413 w 11725275"/>
              <a:gd name="connsiteY1314" fmla="*/ 703263 h 2405063"/>
              <a:gd name="connsiteX1315" fmla="*/ 1027642 w 11725275"/>
              <a:gd name="connsiteY1315" fmla="*/ 704057 h 2405063"/>
              <a:gd name="connsiteX1316" fmla="*/ 1058334 w 11725275"/>
              <a:gd name="connsiteY1316" fmla="*/ 703263 h 2405063"/>
              <a:gd name="connsiteX1317" fmla="*/ 1101196 w 11725275"/>
              <a:gd name="connsiteY1317" fmla="*/ 702469 h 2405063"/>
              <a:gd name="connsiteX1318" fmla="*/ 1151996 w 11725275"/>
              <a:gd name="connsiteY1318" fmla="*/ 699294 h 2405063"/>
              <a:gd name="connsiteX1319" fmla="*/ 1206500 w 11725275"/>
              <a:gd name="connsiteY1319" fmla="*/ 696119 h 2405063"/>
              <a:gd name="connsiteX1320" fmla="*/ 1261004 w 11725275"/>
              <a:gd name="connsiteY1320" fmla="*/ 691356 h 2405063"/>
              <a:gd name="connsiteX1321" fmla="*/ 1311804 w 11725275"/>
              <a:gd name="connsiteY1321" fmla="*/ 686594 h 2405063"/>
              <a:gd name="connsiteX1322" fmla="*/ 1334559 w 11725275"/>
              <a:gd name="connsiteY1322" fmla="*/ 683419 h 2405063"/>
              <a:gd name="connsiteX1323" fmla="*/ 1355196 w 11725275"/>
              <a:gd name="connsiteY1323" fmla="*/ 681038 h 2405063"/>
              <a:gd name="connsiteX1324" fmla="*/ 1372659 w 11725275"/>
              <a:gd name="connsiteY1324" fmla="*/ 677863 h 2405063"/>
              <a:gd name="connsiteX1325" fmla="*/ 1386417 w 11725275"/>
              <a:gd name="connsiteY1325" fmla="*/ 675481 h 2405063"/>
              <a:gd name="connsiteX1326" fmla="*/ 1395413 w 11725275"/>
              <a:gd name="connsiteY1326" fmla="*/ 681832 h 2405063"/>
              <a:gd name="connsiteX1327" fmla="*/ 1394354 w 11725275"/>
              <a:gd name="connsiteY1327" fmla="*/ 681832 h 2405063"/>
              <a:gd name="connsiteX1328" fmla="*/ 1391709 w 11725275"/>
              <a:gd name="connsiteY1328" fmla="*/ 682625 h 2405063"/>
              <a:gd name="connsiteX1329" fmla="*/ 1388004 w 11725275"/>
              <a:gd name="connsiteY1329" fmla="*/ 686594 h 2405063"/>
              <a:gd name="connsiteX1330" fmla="*/ 1383771 w 11725275"/>
              <a:gd name="connsiteY1330" fmla="*/ 692944 h 2405063"/>
              <a:gd name="connsiteX1331" fmla="*/ 1381125 w 11725275"/>
              <a:gd name="connsiteY1331" fmla="*/ 693738 h 2405063"/>
              <a:gd name="connsiteX1332" fmla="*/ 1374246 w 11725275"/>
              <a:gd name="connsiteY1332" fmla="*/ 693738 h 2405063"/>
              <a:gd name="connsiteX1333" fmla="*/ 1365250 w 11725275"/>
              <a:gd name="connsiteY1333" fmla="*/ 694531 h 2405063"/>
              <a:gd name="connsiteX1334" fmla="*/ 1357313 w 11725275"/>
              <a:gd name="connsiteY1334" fmla="*/ 696119 h 2405063"/>
              <a:gd name="connsiteX1335" fmla="*/ 1354138 w 11725275"/>
              <a:gd name="connsiteY1335" fmla="*/ 696913 h 2405063"/>
              <a:gd name="connsiteX1336" fmla="*/ 1352021 w 11725275"/>
              <a:gd name="connsiteY1336" fmla="*/ 697706 h 2405063"/>
              <a:gd name="connsiteX1337" fmla="*/ 1351492 w 11725275"/>
              <a:gd name="connsiteY1337" fmla="*/ 698500 h 2405063"/>
              <a:gd name="connsiteX1338" fmla="*/ 1350434 w 11725275"/>
              <a:gd name="connsiteY1338" fmla="*/ 698500 h 2405063"/>
              <a:gd name="connsiteX1339" fmla="*/ 1351492 w 11725275"/>
              <a:gd name="connsiteY1339" fmla="*/ 699294 h 2405063"/>
              <a:gd name="connsiteX1340" fmla="*/ 1351492 w 11725275"/>
              <a:gd name="connsiteY1340" fmla="*/ 700088 h 2405063"/>
              <a:gd name="connsiteX1341" fmla="*/ 1353609 w 11725275"/>
              <a:gd name="connsiteY1341" fmla="*/ 701675 h 2405063"/>
              <a:gd name="connsiteX1342" fmla="*/ 1358900 w 11725275"/>
              <a:gd name="connsiteY1342" fmla="*/ 703263 h 2405063"/>
              <a:gd name="connsiteX1343" fmla="*/ 1365250 w 11725275"/>
              <a:gd name="connsiteY1343" fmla="*/ 704850 h 2405063"/>
              <a:gd name="connsiteX1344" fmla="*/ 1374775 w 11725275"/>
              <a:gd name="connsiteY1344" fmla="*/ 707231 h 2405063"/>
              <a:gd name="connsiteX1345" fmla="*/ 1376363 w 11725275"/>
              <a:gd name="connsiteY1345" fmla="*/ 707231 h 2405063"/>
              <a:gd name="connsiteX1346" fmla="*/ 1376363 w 11725275"/>
              <a:gd name="connsiteY1346" fmla="*/ 708025 h 2405063"/>
              <a:gd name="connsiteX1347" fmla="*/ 1375304 w 11725275"/>
              <a:gd name="connsiteY1347" fmla="*/ 708819 h 2405063"/>
              <a:gd name="connsiteX1348" fmla="*/ 1374246 w 11725275"/>
              <a:gd name="connsiteY1348" fmla="*/ 709613 h 2405063"/>
              <a:gd name="connsiteX1349" fmla="*/ 1371071 w 11725275"/>
              <a:gd name="connsiteY1349" fmla="*/ 711994 h 2405063"/>
              <a:gd name="connsiteX1350" fmla="*/ 1368954 w 11725275"/>
              <a:gd name="connsiteY1350" fmla="*/ 714375 h 2405063"/>
              <a:gd name="connsiteX1351" fmla="*/ 1406525 w 11725275"/>
              <a:gd name="connsiteY1351" fmla="*/ 709613 h 2405063"/>
              <a:gd name="connsiteX1352" fmla="*/ 1424517 w 11725275"/>
              <a:gd name="connsiteY1352" fmla="*/ 708025 h 2405063"/>
              <a:gd name="connsiteX1353" fmla="*/ 1427012 w 11725275"/>
              <a:gd name="connsiteY1353" fmla="*/ 707685 h 2405063"/>
              <a:gd name="connsiteX1354" fmla="*/ 1426104 w 11725275"/>
              <a:gd name="connsiteY1354" fmla="*/ 708025 h 2405063"/>
              <a:gd name="connsiteX1355" fmla="*/ 1424517 w 11725275"/>
              <a:gd name="connsiteY1355" fmla="*/ 708819 h 2405063"/>
              <a:gd name="connsiteX1356" fmla="*/ 1424517 w 11725275"/>
              <a:gd name="connsiteY1356" fmla="*/ 709613 h 2405063"/>
              <a:gd name="connsiteX1357" fmla="*/ 1424517 w 11725275"/>
              <a:gd name="connsiteY1357" fmla="*/ 710407 h 2405063"/>
              <a:gd name="connsiteX1358" fmla="*/ 1426104 w 11725275"/>
              <a:gd name="connsiteY1358" fmla="*/ 711994 h 2405063"/>
              <a:gd name="connsiteX1359" fmla="*/ 1429809 w 11725275"/>
              <a:gd name="connsiteY1359" fmla="*/ 712788 h 2405063"/>
              <a:gd name="connsiteX1360" fmla="*/ 1437217 w 11725275"/>
              <a:gd name="connsiteY1360" fmla="*/ 714375 h 2405063"/>
              <a:gd name="connsiteX1361" fmla="*/ 1448859 w 11725275"/>
              <a:gd name="connsiteY1361" fmla="*/ 715169 h 2405063"/>
              <a:gd name="connsiteX1362" fmla="*/ 1464204 w 11725275"/>
              <a:gd name="connsiteY1362" fmla="*/ 717550 h 2405063"/>
              <a:gd name="connsiteX1363" fmla="*/ 1764771 w 11725275"/>
              <a:gd name="connsiteY1363" fmla="*/ 698500 h 2405063"/>
              <a:gd name="connsiteX1364" fmla="*/ 1728259 w 11725275"/>
              <a:gd name="connsiteY1364" fmla="*/ 687388 h 2405063"/>
              <a:gd name="connsiteX1365" fmla="*/ 1701800 w 11725275"/>
              <a:gd name="connsiteY1365" fmla="*/ 681038 h 2405063"/>
              <a:gd name="connsiteX1366" fmla="*/ 1683809 w 11725275"/>
              <a:gd name="connsiteY1366" fmla="*/ 677069 h 2405063"/>
              <a:gd name="connsiteX1367" fmla="*/ 1669521 w 11725275"/>
              <a:gd name="connsiteY1367" fmla="*/ 675481 h 2405063"/>
              <a:gd name="connsiteX1368" fmla="*/ 1655234 w 11725275"/>
              <a:gd name="connsiteY1368" fmla="*/ 674688 h 2405063"/>
              <a:gd name="connsiteX1369" fmla="*/ 1639359 w 11725275"/>
              <a:gd name="connsiteY1369" fmla="*/ 673100 h 2405063"/>
              <a:gd name="connsiteX1370" fmla="*/ 1616075 w 11725275"/>
              <a:gd name="connsiteY1370" fmla="*/ 671513 h 2405063"/>
              <a:gd name="connsiteX1371" fmla="*/ 1582209 w 11725275"/>
              <a:gd name="connsiteY1371" fmla="*/ 669131 h 2405063"/>
              <a:gd name="connsiteX1372" fmla="*/ 1578504 w 11725275"/>
              <a:gd name="connsiteY1372" fmla="*/ 667544 h 2405063"/>
              <a:gd name="connsiteX1373" fmla="*/ 1574800 w 11725275"/>
              <a:gd name="connsiteY1373" fmla="*/ 666750 h 2405063"/>
              <a:gd name="connsiteX1374" fmla="*/ 1553634 w 11725275"/>
              <a:gd name="connsiteY1374" fmla="*/ 664369 h 2405063"/>
              <a:gd name="connsiteX1375" fmla="*/ 1527175 w 11725275"/>
              <a:gd name="connsiteY1375" fmla="*/ 661194 h 2405063"/>
              <a:gd name="connsiteX1376" fmla="*/ 1497013 w 11725275"/>
              <a:gd name="connsiteY1376" fmla="*/ 658813 h 2405063"/>
              <a:gd name="connsiteX1377" fmla="*/ 1462617 w 11725275"/>
              <a:gd name="connsiteY1377" fmla="*/ 656431 h 2405063"/>
              <a:gd name="connsiteX1378" fmla="*/ 1426104 w 11725275"/>
              <a:gd name="connsiteY1378" fmla="*/ 654050 h 2405063"/>
              <a:gd name="connsiteX1379" fmla="*/ 1387475 w 11725275"/>
              <a:gd name="connsiteY1379" fmla="*/ 651669 h 2405063"/>
              <a:gd name="connsiteX1380" fmla="*/ 1346729 w 11725275"/>
              <a:gd name="connsiteY1380" fmla="*/ 650081 h 2405063"/>
              <a:gd name="connsiteX1381" fmla="*/ 1306513 w 11725275"/>
              <a:gd name="connsiteY1381" fmla="*/ 648494 h 2405063"/>
              <a:gd name="connsiteX1382" fmla="*/ 1265767 w 11725275"/>
              <a:gd name="connsiteY1382" fmla="*/ 646113 h 2405063"/>
              <a:gd name="connsiteX1383" fmla="*/ 1226079 w 11725275"/>
              <a:gd name="connsiteY1383" fmla="*/ 645319 h 2405063"/>
              <a:gd name="connsiteX1384" fmla="*/ 1187979 w 11725275"/>
              <a:gd name="connsiteY1384" fmla="*/ 643732 h 2405063"/>
              <a:gd name="connsiteX1385" fmla="*/ 1152525 w 11725275"/>
              <a:gd name="connsiteY1385" fmla="*/ 642938 h 2405063"/>
              <a:gd name="connsiteX1386" fmla="*/ 1120246 w 11725275"/>
              <a:gd name="connsiteY1386" fmla="*/ 642144 h 2405063"/>
              <a:gd name="connsiteX1387" fmla="*/ 1091671 w 11725275"/>
              <a:gd name="connsiteY1387" fmla="*/ 640556 h 2405063"/>
              <a:gd name="connsiteX1388" fmla="*/ 1068388 w 11725275"/>
              <a:gd name="connsiteY1388" fmla="*/ 640556 h 2405063"/>
              <a:gd name="connsiteX1389" fmla="*/ 1050396 w 11725275"/>
              <a:gd name="connsiteY1389" fmla="*/ 640556 h 2405063"/>
              <a:gd name="connsiteX1390" fmla="*/ 891646 w 11725275"/>
              <a:gd name="connsiteY1390" fmla="*/ 640556 h 2405063"/>
              <a:gd name="connsiteX1391" fmla="*/ 759354 w 11725275"/>
              <a:gd name="connsiteY1391" fmla="*/ 640556 h 2405063"/>
              <a:gd name="connsiteX1392" fmla="*/ 650875 w 11725275"/>
              <a:gd name="connsiteY1392" fmla="*/ 639763 h 2405063"/>
              <a:gd name="connsiteX1393" fmla="*/ 561975 w 11725275"/>
              <a:gd name="connsiteY1393" fmla="*/ 638969 h 2405063"/>
              <a:gd name="connsiteX1394" fmla="*/ 492654 w 11725275"/>
              <a:gd name="connsiteY1394" fmla="*/ 637382 h 2405063"/>
              <a:gd name="connsiteX1395" fmla="*/ 438150 w 11725275"/>
              <a:gd name="connsiteY1395" fmla="*/ 634206 h 2405063"/>
              <a:gd name="connsiteX1396" fmla="*/ 415396 w 11725275"/>
              <a:gd name="connsiteY1396" fmla="*/ 632619 h 2405063"/>
              <a:gd name="connsiteX1397" fmla="*/ 396346 w 11725275"/>
              <a:gd name="connsiteY1397" fmla="*/ 630238 h 2405063"/>
              <a:gd name="connsiteX1398" fmla="*/ 380471 w 11725275"/>
              <a:gd name="connsiteY1398" fmla="*/ 628650 h 2405063"/>
              <a:gd name="connsiteX1399" fmla="*/ 365654 w 11725275"/>
              <a:gd name="connsiteY1399" fmla="*/ 627063 h 2405063"/>
              <a:gd name="connsiteX1400" fmla="*/ 353484 w 11725275"/>
              <a:gd name="connsiteY1400" fmla="*/ 623888 h 2405063"/>
              <a:gd name="connsiteX1401" fmla="*/ 342900 w 11725275"/>
              <a:gd name="connsiteY1401" fmla="*/ 621507 h 2405063"/>
              <a:gd name="connsiteX1402" fmla="*/ 333375 w 11725275"/>
              <a:gd name="connsiteY1402" fmla="*/ 618331 h 2405063"/>
              <a:gd name="connsiteX1403" fmla="*/ 325438 w 11725275"/>
              <a:gd name="connsiteY1403" fmla="*/ 615950 h 2405063"/>
              <a:gd name="connsiteX1404" fmla="*/ 310092 w 11725275"/>
              <a:gd name="connsiteY1404" fmla="*/ 608013 h 2405063"/>
              <a:gd name="connsiteX1405" fmla="*/ 295275 w 11725275"/>
              <a:gd name="connsiteY1405" fmla="*/ 600869 h 2405063"/>
              <a:gd name="connsiteX1406" fmla="*/ 278342 w 11725275"/>
              <a:gd name="connsiteY1406" fmla="*/ 591344 h 2405063"/>
              <a:gd name="connsiteX1407" fmla="*/ 255588 w 11725275"/>
              <a:gd name="connsiteY1407" fmla="*/ 581025 h 2405063"/>
              <a:gd name="connsiteX1408" fmla="*/ 242359 w 11725275"/>
              <a:gd name="connsiteY1408" fmla="*/ 575469 h 2405063"/>
              <a:gd name="connsiteX1409" fmla="*/ 226484 w 11725275"/>
              <a:gd name="connsiteY1409" fmla="*/ 569913 h 2405063"/>
              <a:gd name="connsiteX1410" fmla="*/ 207434 w 11725275"/>
              <a:gd name="connsiteY1410" fmla="*/ 563563 h 2405063"/>
              <a:gd name="connsiteX1411" fmla="*/ 186267 w 11725275"/>
              <a:gd name="connsiteY1411" fmla="*/ 557213 h 2405063"/>
              <a:gd name="connsiteX1412" fmla="*/ 188913 w 11725275"/>
              <a:gd name="connsiteY1412" fmla="*/ 542132 h 2405063"/>
              <a:gd name="connsiteX1413" fmla="*/ 190500 w 11725275"/>
              <a:gd name="connsiteY1413" fmla="*/ 534988 h 2405063"/>
              <a:gd name="connsiteX1414" fmla="*/ 191029 w 11725275"/>
              <a:gd name="connsiteY1414" fmla="*/ 531813 h 2405063"/>
              <a:gd name="connsiteX1415" fmla="*/ 192088 w 11725275"/>
              <a:gd name="connsiteY1415" fmla="*/ 531019 h 2405063"/>
              <a:gd name="connsiteX1416" fmla="*/ 192617 w 11725275"/>
              <a:gd name="connsiteY1416" fmla="*/ 530225 h 2405063"/>
              <a:gd name="connsiteX1417" fmla="*/ 193675 w 11725275"/>
              <a:gd name="connsiteY1417" fmla="*/ 530225 h 2405063"/>
              <a:gd name="connsiteX1418" fmla="*/ 194734 w 11725275"/>
              <a:gd name="connsiteY1418" fmla="*/ 531019 h 2405063"/>
              <a:gd name="connsiteX1419" fmla="*/ 197379 w 11725275"/>
              <a:gd name="connsiteY1419" fmla="*/ 531813 h 2405063"/>
              <a:gd name="connsiteX1420" fmla="*/ 198438 w 11725275"/>
              <a:gd name="connsiteY1420" fmla="*/ 531813 h 2405063"/>
              <a:gd name="connsiteX1421" fmla="*/ 200025 w 11725275"/>
              <a:gd name="connsiteY1421" fmla="*/ 531019 h 2405063"/>
              <a:gd name="connsiteX1422" fmla="*/ 202142 w 11725275"/>
              <a:gd name="connsiteY1422" fmla="*/ 530225 h 2405063"/>
              <a:gd name="connsiteX1423" fmla="*/ 204259 w 11725275"/>
              <a:gd name="connsiteY1423" fmla="*/ 527050 h 2405063"/>
              <a:gd name="connsiteX1424" fmla="*/ 217488 w 11725275"/>
              <a:gd name="connsiteY1424" fmla="*/ 514350 h 2405063"/>
              <a:gd name="connsiteX1425" fmla="*/ 220663 w 11725275"/>
              <a:gd name="connsiteY1425" fmla="*/ 511969 h 2405063"/>
              <a:gd name="connsiteX1426" fmla="*/ 222779 w 11725275"/>
              <a:gd name="connsiteY1426" fmla="*/ 511175 h 2405063"/>
              <a:gd name="connsiteX1427" fmla="*/ 223308 w 11725275"/>
              <a:gd name="connsiteY1427" fmla="*/ 509588 h 2405063"/>
              <a:gd name="connsiteX1428" fmla="*/ 224367 w 11725275"/>
              <a:gd name="connsiteY1428" fmla="*/ 508000 h 2405063"/>
              <a:gd name="connsiteX1429" fmla="*/ 139171 w 11725275"/>
              <a:gd name="connsiteY1429" fmla="*/ 488950 h 2405063"/>
              <a:gd name="connsiteX1430" fmla="*/ 152929 w 11725275"/>
              <a:gd name="connsiteY1430" fmla="*/ 483394 h 2405063"/>
              <a:gd name="connsiteX1431" fmla="*/ 161396 w 11725275"/>
              <a:gd name="connsiteY1431" fmla="*/ 478631 h 2405063"/>
              <a:gd name="connsiteX1432" fmla="*/ 161396 w 11725275"/>
              <a:gd name="connsiteY1432" fmla="*/ 477044 h 2405063"/>
              <a:gd name="connsiteX1433" fmla="*/ 161396 w 11725275"/>
              <a:gd name="connsiteY1433" fmla="*/ 473869 h 2405063"/>
              <a:gd name="connsiteX1434" fmla="*/ 159808 w 11725275"/>
              <a:gd name="connsiteY1434" fmla="*/ 470694 h 2405063"/>
              <a:gd name="connsiteX1435" fmla="*/ 157692 w 11725275"/>
              <a:gd name="connsiteY1435" fmla="*/ 465931 h 2405063"/>
              <a:gd name="connsiteX1436" fmla="*/ 149754 w 11725275"/>
              <a:gd name="connsiteY1436" fmla="*/ 451644 h 2405063"/>
              <a:gd name="connsiteX1437" fmla="*/ 136525 w 11725275"/>
              <a:gd name="connsiteY1437" fmla="*/ 431007 h 2405063"/>
              <a:gd name="connsiteX1438" fmla="*/ 127000 w 11725275"/>
              <a:gd name="connsiteY1438" fmla="*/ 418307 h 2405063"/>
              <a:gd name="connsiteX1439" fmla="*/ 121709 w 11725275"/>
              <a:gd name="connsiteY1439" fmla="*/ 411163 h 2405063"/>
              <a:gd name="connsiteX1440" fmla="*/ 120121 w 11725275"/>
              <a:gd name="connsiteY1440" fmla="*/ 407988 h 2405063"/>
              <a:gd name="connsiteX1441" fmla="*/ 119592 w 11725275"/>
              <a:gd name="connsiteY1441" fmla="*/ 407194 h 2405063"/>
              <a:gd name="connsiteX1442" fmla="*/ 118534 w 11725275"/>
              <a:gd name="connsiteY1442" fmla="*/ 404813 h 2405063"/>
              <a:gd name="connsiteX1443" fmla="*/ 119592 w 11725275"/>
              <a:gd name="connsiteY1443" fmla="*/ 404019 h 2405063"/>
              <a:gd name="connsiteX1444" fmla="*/ 121709 w 11725275"/>
              <a:gd name="connsiteY1444" fmla="*/ 402432 h 2405063"/>
              <a:gd name="connsiteX1445" fmla="*/ 124354 w 11725275"/>
              <a:gd name="connsiteY1445" fmla="*/ 397669 h 2405063"/>
              <a:gd name="connsiteX1446" fmla="*/ 127000 w 11725275"/>
              <a:gd name="connsiteY1446" fmla="*/ 393700 h 2405063"/>
              <a:gd name="connsiteX1447" fmla="*/ 129117 w 11725275"/>
              <a:gd name="connsiteY1447" fmla="*/ 388144 h 2405063"/>
              <a:gd name="connsiteX1448" fmla="*/ 130704 w 11725275"/>
              <a:gd name="connsiteY1448" fmla="*/ 381794 h 2405063"/>
              <a:gd name="connsiteX1449" fmla="*/ 132821 w 11725275"/>
              <a:gd name="connsiteY1449" fmla="*/ 372269 h 2405063"/>
              <a:gd name="connsiteX1450" fmla="*/ 463021 w 11725275"/>
              <a:gd name="connsiteY1450" fmla="*/ 355600 h 2405063"/>
              <a:gd name="connsiteX1451" fmla="*/ 503238 w 11725275"/>
              <a:gd name="connsiteY1451" fmla="*/ 354013 h 2405063"/>
              <a:gd name="connsiteX1452" fmla="*/ 535517 w 11725275"/>
              <a:gd name="connsiteY1452" fmla="*/ 350838 h 2405063"/>
              <a:gd name="connsiteX1453" fmla="*/ 560388 w 11725275"/>
              <a:gd name="connsiteY1453" fmla="*/ 349250 h 2405063"/>
              <a:gd name="connsiteX1454" fmla="*/ 579438 w 11725275"/>
              <a:gd name="connsiteY1454" fmla="*/ 347663 h 2405063"/>
              <a:gd name="connsiteX1455" fmla="*/ 594254 w 11725275"/>
              <a:gd name="connsiteY1455" fmla="*/ 346869 h 2405063"/>
              <a:gd name="connsiteX1456" fmla="*/ 604838 w 11725275"/>
              <a:gd name="connsiteY1456" fmla="*/ 345281 h 2405063"/>
              <a:gd name="connsiteX1457" fmla="*/ 611717 w 11725275"/>
              <a:gd name="connsiteY1457" fmla="*/ 345281 h 2405063"/>
              <a:gd name="connsiteX1458" fmla="*/ 617538 w 11725275"/>
              <a:gd name="connsiteY1458" fmla="*/ 346869 h 2405063"/>
              <a:gd name="connsiteX1459" fmla="*/ 622300 w 11725275"/>
              <a:gd name="connsiteY1459" fmla="*/ 347663 h 2405063"/>
              <a:gd name="connsiteX1460" fmla="*/ 627063 w 11725275"/>
              <a:gd name="connsiteY1460" fmla="*/ 349250 h 2405063"/>
              <a:gd name="connsiteX1461" fmla="*/ 633413 w 11725275"/>
              <a:gd name="connsiteY1461" fmla="*/ 352425 h 2405063"/>
              <a:gd name="connsiteX1462" fmla="*/ 641879 w 11725275"/>
              <a:gd name="connsiteY1462" fmla="*/ 356394 h 2405063"/>
              <a:gd name="connsiteX1463" fmla="*/ 652992 w 11725275"/>
              <a:gd name="connsiteY1463" fmla="*/ 361156 h 2405063"/>
              <a:gd name="connsiteX1464" fmla="*/ 668867 w 11725275"/>
              <a:gd name="connsiteY1464" fmla="*/ 366713 h 2405063"/>
              <a:gd name="connsiteX1465" fmla="*/ 689504 w 11725275"/>
              <a:gd name="connsiteY1465" fmla="*/ 374650 h 2405063"/>
              <a:gd name="connsiteX1466" fmla="*/ 717550 w 11725275"/>
              <a:gd name="connsiteY1466" fmla="*/ 382588 h 2405063"/>
              <a:gd name="connsiteX1467" fmla="*/ 735013 w 11725275"/>
              <a:gd name="connsiteY1467" fmla="*/ 372269 h 2405063"/>
              <a:gd name="connsiteX1468" fmla="*/ 750358 w 11725275"/>
              <a:gd name="connsiteY1468" fmla="*/ 364331 h 2405063"/>
              <a:gd name="connsiteX1469" fmla="*/ 764117 w 11725275"/>
              <a:gd name="connsiteY1469" fmla="*/ 357981 h 2405063"/>
              <a:gd name="connsiteX1470" fmla="*/ 778934 w 11725275"/>
              <a:gd name="connsiteY1470" fmla="*/ 352425 h 2405063"/>
              <a:gd name="connsiteX1471" fmla="*/ 787930 w 11725275"/>
              <a:gd name="connsiteY1471" fmla="*/ 349250 h 2405063"/>
              <a:gd name="connsiteX1472" fmla="*/ 796396 w 11725275"/>
              <a:gd name="connsiteY1472" fmla="*/ 347663 h 2405063"/>
              <a:gd name="connsiteX1473" fmla="*/ 806979 w 11725275"/>
              <a:gd name="connsiteY1473" fmla="*/ 345281 h 2405063"/>
              <a:gd name="connsiteX1474" fmla="*/ 818621 w 11725275"/>
              <a:gd name="connsiteY1474" fmla="*/ 344488 h 2405063"/>
              <a:gd name="connsiteX1475" fmla="*/ 845608 w 11725275"/>
              <a:gd name="connsiteY1475" fmla="*/ 342106 h 2405063"/>
              <a:gd name="connsiteX1476" fmla="*/ 881592 w 11725275"/>
              <a:gd name="connsiteY1476" fmla="*/ 341313 h 2405063"/>
              <a:gd name="connsiteX1477" fmla="*/ 863071 w 11725275"/>
              <a:gd name="connsiteY1477" fmla="*/ 369888 h 2405063"/>
              <a:gd name="connsiteX1478" fmla="*/ 897467 w 11725275"/>
              <a:gd name="connsiteY1478" fmla="*/ 366713 h 2405063"/>
              <a:gd name="connsiteX1479" fmla="*/ 921809 w 11725275"/>
              <a:gd name="connsiteY1479" fmla="*/ 365125 h 2405063"/>
              <a:gd name="connsiteX1480" fmla="*/ 940330 w 11725275"/>
              <a:gd name="connsiteY1480" fmla="*/ 365125 h 2405063"/>
              <a:gd name="connsiteX1481" fmla="*/ 955675 w 11725275"/>
              <a:gd name="connsiteY1481" fmla="*/ 365919 h 2405063"/>
              <a:gd name="connsiteX1482" fmla="*/ 970492 w 11725275"/>
              <a:gd name="connsiteY1482" fmla="*/ 365919 h 2405063"/>
              <a:gd name="connsiteX1483" fmla="*/ 989542 w 11725275"/>
              <a:gd name="connsiteY1483" fmla="*/ 365125 h 2405063"/>
              <a:gd name="connsiteX1484" fmla="*/ 1014413 w 11725275"/>
              <a:gd name="connsiteY1484" fmla="*/ 363538 h 2405063"/>
              <a:gd name="connsiteX1485" fmla="*/ 1049338 w 11725275"/>
              <a:gd name="connsiteY1485" fmla="*/ 357981 h 2405063"/>
              <a:gd name="connsiteX1486" fmla="*/ 1087438 w 11725275"/>
              <a:gd name="connsiteY1486" fmla="*/ 353219 h 2405063"/>
              <a:gd name="connsiteX1487" fmla="*/ 1130829 w 11725275"/>
              <a:gd name="connsiteY1487" fmla="*/ 349250 h 2405063"/>
              <a:gd name="connsiteX1488" fmla="*/ 1178454 w 11725275"/>
              <a:gd name="connsiteY1488" fmla="*/ 345281 h 2405063"/>
              <a:gd name="connsiteX1489" fmla="*/ 1227667 w 11725275"/>
              <a:gd name="connsiteY1489" fmla="*/ 342900 h 2405063"/>
              <a:gd name="connsiteX1490" fmla="*/ 1276350 w 11725275"/>
              <a:gd name="connsiteY1490" fmla="*/ 342106 h 2405063"/>
              <a:gd name="connsiteX1491" fmla="*/ 1323975 w 11725275"/>
              <a:gd name="connsiteY1491" fmla="*/ 342106 h 2405063"/>
              <a:gd name="connsiteX1492" fmla="*/ 1368425 w 11725275"/>
              <a:gd name="connsiteY1492" fmla="*/ 342900 h 2405063"/>
              <a:gd name="connsiteX1493" fmla="*/ 1406525 w 11725275"/>
              <a:gd name="connsiteY1493" fmla="*/ 344488 h 2405063"/>
              <a:gd name="connsiteX1494" fmla="*/ 1416579 w 11725275"/>
              <a:gd name="connsiteY1494" fmla="*/ 345281 h 2405063"/>
              <a:gd name="connsiteX1495" fmla="*/ 1425575 w 11725275"/>
              <a:gd name="connsiteY1495" fmla="*/ 347663 h 2405063"/>
              <a:gd name="connsiteX1496" fmla="*/ 1433513 w 11725275"/>
              <a:gd name="connsiteY1496" fmla="*/ 349250 h 2405063"/>
              <a:gd name="connsiteX1497" fmla="*/ 1439863 w 11725275"/>
              <a:gd name="connsiteY1497" fmla="*/ 350838 h 2405063"/>
              <a:gd name="connsiteX1498" fmla="*/ 1450975 w 11725275"/>
              <a:gd name="connsiteY1498" fmla="*/ 355600 h 2405063"/>
              <a:gd name="connsiteX1499" fmla="*/ 1462088 w 11725275"/>
              <a:gd name="connsiteY1499" fmla="*/ 360363 h 2405063"/>
              <a:gd name="connsiteX1500" fmla="*/ 1473200 w 11725275"/>
              <a:gd name="connsiteY1500" fmla="*/ 365919 h 2405063"/>
              <a:gd name="connsiteX1501" fmla="*/ 1487488 w 11725275"/>
              <a:gd name="connsiteY1501" fmla="*/ 370681 h 2405063"/>
              <a:gd name="connsiteX1502" fmla="*/ 1496484 w 11725275"/>
              <a:gd name="connsiteY1502" fmla="*/ 373856 h 2405063"/>
              <a:gd name="connsiteX1503" fmla="*/ 1506538 w 11725275"/>
              <a:gd name="connsiteY1503" fmla="*/ 375444 h 2405063"/>
              <a:gd name="connsiteX1504" fmla="*/ 1518179 w 11725275"/>
              <a:gd name="connsiteY1504" fmla="*/ 377031 h 2405063"/>
              <a:gd name="connsiteX1505" fmla="*/ 1532467 w 11725275"/>
              <a:gd name="connsiteY1505" fmla="*/ 379413 h 2405063"/>
              <a:gd name="connsiteX1506" fmla="*/ 1538817 w 11725275"/>
              <a:gd name="connsiteY1506" fmla="*/ 350838 h 2405063"/>
              <a:gd name="connsiteX1507" fmla="*/ 1542521 w 11725275"/>
              <a:gd name="connsiteY1507" fmla="*/ 346869 h 2405063"/>
              <a:gd name="connsiteX1508" fmla="*/ 1547813 w 11725275"/>
              <a:gd name="connsiteY1508" fmla="*/ 343694 h 2405063"/>
              <a:gd name="connsiteX1509" fmla="*/ 1553104 w 11725275"/>
              <a:gd name="connsiteY1509" fmla="*/ 341313 h 2405063"/>
              <a:gd name="connsiteX1510" fmla="*/ 1558925 w 11725275"/>
              <a:gd name="connsiteY1510" fmla="*/ 338931 h 2405063"/>
              <a:gd name="connsiteX1511" fmla="*/ 1572684 w 11725275"/>
              <a:gd name="connsiteY1511" fmla="*/ 337344 h 2405063"/>
              <a:gd name="connsiteX1512" fmla="*/ 1588029 w 11725275"/>
              <a:gd name="connsiteY1512" fmla="*/ 336550 h 2405063"/>
              <a:gd name="connsiteX1513" fmla="*/ 1605492 w 11725275"/>
              <a:gd name="connsiteY1513" fmla="*/ 336550 h 2405063"/>
              <a:gd name="connsiteX1514" fmla="*/ 1622954 w 11725275"/>
              <a:gd name="connsiteY1514" fmla="*/ 336550 h 2405063"/>
              <a:gd name="connsiteX1515" fmla="*/ 1642534 w 11725275"/>
              <a:gd name="connsiteY1515" fmla="*/ 334169 h 2405063"/>
              <a:gd name="connsiteX1516" fmla="*/ 1660525 w 11725275"/>
              <a:gd name="connsiteY1516" fmla="*/ 331788 h 2405063"/>
              <a:gd name="connsiteX1517" fmla="*/ 1675342 w 11725275"/>
              <a:gd name="connsiteY1517" fmla="*/ 327819 h 2405063"/>
              <a:gd name="connsiteX1518" fmla="*/ 1680634 w 11725275"/>
              <a:gd name="connsiteY1518" fmla="*/ 325438 h 2405063"/>
              <a:gd name="connsiteX1519" fmla="*/ 1679575 w 11725275"/>
              <a:gd name="connsiteY1519" fmla="*/ 323056 h 2405063"/>
              <a:gd name="connsiteX1520" fmla="*/ 1677459 w 11725275"/>
              <a:gd name="connsiteY1520" fmla="*/ 323056 h 2405063"/>
              <a:gd name="connsiteX1521" fmla="*/ 1677988 w 11725275"/>
              <a:gd name="connsiteY1521" fmla="*/ 322263 h 2405063"/>
              <a:gd name="connsiteX1522" fmla="*/ 1684867 w 11725275"/>
              <a:gd name="connsiteY1522" fmla="*/ 321469 h 2405063"/>
              <a:gd name="connsiteX1523" fmla="*/ 1702329 w 11725275"/>
              <a:gd name="connsiteY1523" fmla="*/ 319881 h 2405063"/>
              <a:gd name="connsiteX1524" fmla="*/ 1734079 w 11725275"/>
              <a:gd name="connsiteY1524" fmla="*/ 315913 h 2405063"/>
              <a:gd name="connsiteX1525" fmla="*/ 1757892 w 11725275"/>
              <a:gd name="connsiteY1525" fmla="*/ 313531 h 2405063"/>
              <a:gd name="connsiteX1526" fmla="*/ 1778529 w 11725275"/>
              <a:gd name="connsiteY1526" fmla="*/ 313531 h 2405063"/>
              <a:gd name="connsiteX1527" fmla="*/ 1799167 w 11725275"/>
              <a:gd name="connsiteY1527" fmla="*/ 315913 h 2405063"/>
              <a:gd name="connsiteX1528" fmla="*/ 1818746 w 11725275"/>
              <a:gd name="connsiteY1528" fmla="*/ 317500 h 2405063"/>
              <a:gd name="connsiteX1529" fmla="*/ 1839913 w 11725275"/>
              <a:gd name="connsiteY1529" fmla="*/ 320675 h 2405063"/>
              <a:gd name="connsiteX1530" fmla="*/ 1864254 w 11725275"/>
              <a:gd name="connsiteY1530" fmla="*/ 322263 h 2405063"/>
              <a:gd name="connsiteX1531" fmla="*/ 1892829 w 11725275"/>
              <a:gd name="connsiteY1531" fmla="*/ 323850 h 2405063"/>
              <a:gd name="connsiteX1532" fmla="*/ 1925638 w 11725275"/>
              <a:gd name="connsiteY1532" fmla="*/ 323850 h 2405063"/>
              <a:gd name="connsiteX1533" fmla="*/ 1924579 w 11725275"/>
              <a:gd name="connsiteY1533" fmla="*/ 318294 h 2405063"/>
              <a:gd name="connsiteX1534" fmla="*/ 1922992 w 11725275"/>
              <a:gd name="connsiteY1534" fmla="*/ 311944 h 2405063"/>
              <a:gd name="connsiteX1535" fmla="*/ 1919817 w 11725275"/>
              <a:gd name="connsiteY1535" fmla="*/ 305594 h 2405063"/>
              <a:gd name="connsiteX1536" fmla="*/ 1917171 w 11725275"/>
              <a:gd name="connsiteY1536" fmla="*/ 298450 h 2405063"/>
              <a:gd name="connsiteX1537" fmla="*/ 1909234 w 11725275"/>
              <a:gd name="connsiteY1537" fmla="*/ 283369 h 2405063"/>
              <a:gd name="connsiteX1538" fmla="*/ 1898650 w 11725275"/>
              <a:gd name="connsiteY1538" fmla="*/ 266700 h 2405063"/>
              <a:gd name="connsiteX1539" fmla="*/ 1875896 w 11725275"/>
              <a:gd name="connsiteY1539" fmla="*/ 231775 h 2405063"/>
              <a:gd name="connsiteX1540" fmla="*/ 1853142 w 11725275"/>
              <a:gd name="connsiteY1540" fmla="*/ 195263 h 2405063"/>
              <a:gd name="connsiteX1541" fmla="*/ 1843088 w 11725275"/>
              <a:gd name="connsiteY1541" fmla="*/ 177006 h 2405063"/>
              <a:gd name="connsiteX1542" fmla="*/ 1834092 w 11725275"/>
              <a:gd name="connsiteY1542" fmla="*/ 160338 h 2405063"/>
              <a:gd name="connsiteX1543" fmla="*/ 1830388 w 11725275"/>
              <a:gd name="connsiteY1543" fmla="*/ 150813 h 2405063"/>
              <a:gd name="connsiteX1544" fmla="*/ 1827742 w 11725275"/>
              <a:gd name="connsiteY1544" fmla="*/ 143669 h 2405063"/>
              <a:gd name="connsiteX1545" fmla="*/ 1825625 w 11725275"/>
              <a:gd name="connsiteY1545" fmla="*/ 134938 h 2405063"/>
              <a:gd name="connsiteX1546" fmla="*/ 1824038 w 11725275"/>
              <a:gd name="connsiteY1546" fmla="*/ 127794 h 2405063"/>
              <a:gd name="connsiteX1547" fmla="*/ 1823509 w 11725275"/>
              <a:gd name="connsiteY1547" fmla="*/ 119856 h 2405063"/>
              <a:gd name="connsiteX1548" fmla="*/ 1823509 w 11725275"/>
              <a:gd name="connsiteY1548" fmla="*/ 112713 h 2405063"/>
              <a:gd name="connsiteX1549" fmla="*/ 1824038 w 11725275"/>
              <a:gd name="connsiteY1549" fmla="*/ 106363 h 2405063"/>
              <a:gd name="connsiteX1550" fmla="*/ 1826154 w 11725275"/>
              <a:gd name="connsiteY1550" fmla="*/ 100806 h 2405063"/>
              <a:gd name="connsiteX1551" fmla="*/ 1829329 w 11725275"/>
              <a:gd name="connsiteY1551" fmla="*/ 95250 h 2405063"/>
              <a:gd name="connsiteX1552" fmla="*/ 1833563 w 11725275"/>
              <a:gd name="connsiteY1552" fmla="*/ 89694 h 2405063"/>
              <a:gd name="connsiteX1553" fmla="*/ 1838854 w 11725275"/>
              <a:gd name="connsiteY1553" fmla="*/ 84931 h 2405063"/>
              <a:gd name="connsiteX1554" fmla="*/ 1845204 w 11725275"/>
              <a:gd name="connsiteY1554" fmla="*/ 80963 h 2405063"/>
              <a:gd name="connsiteX1555" fmla="*/ 1860021 w 11725275"/>
              <a:gd name="connsiteY1555" fmla="*/ 78581 h 2405063"/>
              <a:gd name="connsiteX1556" fmla="*/ 1882775 w 11725275"/>
              <a:gd name="connsiteY1556" fmla="*/ 76200 h 2405063"/>
              <a:gd name="connsiteX1557" fmla="*/ 1911879 w 11725275"/>
              <a:gd name="connsiteY1557" fmla="*/ 73819 h 2405063"/>
              <a:gd name="connsiteX1558" fmla="*/ 1947863 w 11725275"/>
              <a:gd name="connsiteY1558" fmla="*/ 70644 h 2405063"/>
              <a:gd name="connsiteX1559" fmla="*/ 1988079 w 11725275"/>
              <a:gd name="connsiteY1559" fmla="*/ 68263 h 2405063"/>
              <a:gd name="connsiteX1560" fmla="*/ 2031471 w 11725275"/>
              <a:gd name="connsiteY1560" fmla="*/ 65881 h 2405063"/>
              <a:gd name="connsiteX1561" fmla="*/ 2078567 w 11725275"/>
              <a:gd name="connsiteY1561" fmla="*/ 63500 h 2405063"/>
              <a:gd name="connsiteX1562" fmla="*/ 2126192 w 11725275"/>
              <a:gd name="connsiteY1562" fmla="*/ 61119 h 2405063"/>
              <a:gd name="connsiteX1563" fmla="*/ 2173817 w 11725275"/>
              <a:gd name="connsiteY1563" fmla="*/ 59531 h 2405063"/>
              <a:gd name="connsiteX1564" fmla="*/ 2220384 w 11725275"/>
              <a:gd name="connsiteY1564" fmla="*/ 58738 h 2405063"/>
              <a:gd name="connsiteX1565" fmla="*/ 2265363 w 11725275"/>
              <a:gd name="connsiteY1565" fmla="*/ 57150 h 2405063"/>
              <a:gd name="connsiteX1566" fmla="*/ 2307167 w 11725275"/>
              <a:gd name="connsiteY1566" fmla="*/ 57150 h 2405063"/>
              <a:gd name="connsiteX1567" fmla="*/ 2344209 w 11725275"/>
              <a:gd name="connsiteY1567" fmla="*/ 55563 h 2405063"/>
              <a:gd name="connsiteX1568" fmla="*/ 2375959 w 11725275"/>
              <a:gd name="connsiteY1568" fmla="*/ 55563 h 2405063"/>
              <a:gd name="connsiteX1569" fmla="*/ 2400830 w 11725275"/>
              <a:gd name="connsiteY1569" fmla="*/ 57150 h 2405063"/>
              <a:gd name="connsiteX1570" fmla="*/ 2418292 w 11725275"/>
              <a:gd name="connsiteY1570" fmla="*/ 57944 h 2405063"/>
              <a:gd name="connsiteX1571" fmla="*/ 2430992 w 11725275"/>
              <a:gd name="connsiteY1571" fmla="*/ 59531 h 2405063"/>
              <a:gd name="connsiteX1572" fmla="*/ 2440517 w 11725275"/>
              <a:gd name="connsiteY1572" fmla="*/ 61119 h 2405063"/>
              <a:gd name="connsiteX1573" fmla="*/ 2446867 w 11725275"/>
              <a:gd name="connsiteY1573" fmla="*/ 63500 h 2405063"/>
              <a:gd name="connsiteX1574" fmla="*/ 2451100 w 11725275"/>
              <a:gd name="connsiteY1574" fmla="*/ 64294 h 2405063"/>
              <a:gd name="connsiteX1575" fmla="*/ 2454805 w 11725275"/>
              <a:gd name="connsiteY1575" fmla="*/ 66675 h 2405063"/>
              <a:gd name="connsiteX1576" fmla="*/ 2456921 w 11725275"/>
              <a:gd name="connsiteY1576" fmla="*/ 69056 h 2405063"/>
              <a:gd name="connsiteX1577" fmla="*/ 2460625 w 11725275"/>
              <a:gd name="connsiteY1577" fmla="*/ 69056 h 2405063"/>
              <a:gd name="connsiteX1578" fmla="*/ 2471738 w 11725275"/>
              <a:gd name="connsiteY1578" fmla="*/ 68263 h 2405063"/>
              <a:gd name="connsiteX1579" fmla="*/ 2494492 w 11725275"/>
              <a:gd name="connsiteY1579" fmla="*/ 65088 h 2405063"/>
              <a:gd name="connsiteX1580" fmla="*/ 2532592 w 11725275"/>
              <a:gd name="connsiteY1580" fmla="*/ 60325 h 2405063"/>
              <a:gd name="connsiteX1581" fmla="*/ 2578100 w 11725275"/>
              <a:gd name="connsiteY1581" fmla="*/ 55563 h 2405063"/>
              <a:gd name="connsiteX1582" fmla="*/ 2619905 w 11725275"/>
              <a:gd name="connsiteY1582" fmla="*/ 53181 h 2405063"/>
              <a:gd name="connsiteX1583" fmla="*/ 2658005 w 11725275"/>
              <a:gd name="connsiteY1583" fmla="*/ 51594 h 2405063"/>
              <a:gd name="connsiteX1584" fmla="*/ 2692930 w 11725275"/>
              <a:gd name="connsiteY1584" fmla="*/ 51594 h 2405063"/>
              <a:gd name="connsiteX1585" fmla="*/ 2726267 w 11725275"/>
              <a:gd name="connsiteY1585" fmla="*/ 52388 h 2405063"/>
              <a:gd name="connsiteX1586" fmla="*/ 2757488 w 11725275"/>
              <a:gd name="connsiteY1586" fmla="*/ 53181 h 2405063"/>
              <a:gd name="connsiteX1587" fmla="*/ 2787650 w 11725275"/>
              <a:gd name="connsiteY1587" fmla="*/ 54769 h 2405063"/>
              <a:gd name="connsiteX1588" fmla="*/ 2818342 w 11725275"/>
              <a:gd name="connsiteY1588" fmla="*/ 57150 h 2405063"/>
              <a:gd name="connsiteX1589" fmla="*/ 2848505 w 11725275"/>
              <a:gd name="connsiteY1589" fmla="*/ 58738 h 2405063"/>
              <a:gd name="connsiteX1590" fmla="*/ 2880783 w 11725275"/>
              <a:gd name="connsiteY1590" fmla="*/ 60325 h 2405063"/>
              <a:gd name="connsiteX1591" fmla="*/ 2913592 w 11725275"/>
              <a:gd name="connsiteY1591" fmla="*/ 61119 h 2405063"/>
              <a:gd name="connsiteX1592" fmla="*/ 2949575 w 11725275"/>
              <a:gd name="connsiteY1592" fmla="*/ 61119 h 2405063"/>
              <a:gd name="connsiteX1593" fmla="*/ 2988733 w 11725275"/>
              <a:gd name="connsiteY1593" fmla="*/ 60325 h 2405063"/>
              <a:gd name="connsiteX1594" fmla="*/ 3031067 w 11725275"/>
              <a:gd name="connsiteY1594" fmla="*/ 58738 h 2405063"/>
              <a:gd name="connsiteX1595" fmla="*/ 3077105 w 11725275"/>
              <a:gd name="connsiteY1595" fmla="*/ 54769 h 2405063"/>
              <a:gd name="connsiteX1596" fmla="*/ 3128434 w 11725275"/>
              <a:gd name="connsiteY1596" fmla="*/ 48419 h 2405063"/>
              <a:gd name="connsiteX1597" fmla="*/ 3179763 w 11725275"/>
              <a:gd name="connsiteY1597" fmla="*/ 42863 h 2405063"/>
              <a:gd name="connsiteX1598" fmla="*/ 3227917 w 11725275"/>
              <a:gd name="connsiteY1598" fmla="*/ 38100 h 2405063"/>
              <a:gd name="connsiteX1599" fmla="*/ 3272896 w 11725275"/>
              <a:gd name="connsiteY1599" fmla="*/ 34131 h 2405063"/>
              <a:gd name="connsiteX1600" fmla="*/ 3313642 w 11725275"/>
              <a:gd name="connsiteY1600" fmla="*/ 32544 h 2405063"/>
              <a:gd name="connsiteX1601" fmla="*/ 3351742 w 11725275"/>
              <a:gd name="connsiteY1601" fmla="*/ 30956 h 2405063"/>
              <a:gd name="connsiteX1602" fmla="*/ 3387196 w 11725275"/>
              <a:gd name="connsiteY1602" fmla="*/ 30163 h 2405063"/>
              <a:gd name="connsiteX1603" fmla="*/ 3418417 w 11725275"/>
              <a:gd name="connsiteY1603" fmla="*/ 30163 h 2405063"/>
              <a:gd name="connsiteX1604" fmla="*/ 3448050 w 11725275"/>
              <a:gd name="connsiteY1604" fmla="*/ 30956 h 2405063"/>
              <a:gd name="connsiteX1605" fmla="*/ 3498321 w 11725275"/>
              <a:gd name="connsiteY1605" fmla="*/ 32544 h 2405063"/>
              <a:gd name="connsiteX1606" fmla="*/ 3539596 w 11725275"/>
              <a:gd name="connsiteY1606" fmla="*/ 35719 h 2405063"/>
              <a:gd name="connsiteX1607" fmla="*/ 3570288 w 11725275"/>
              <a:gd name="connsiteY1607" fmla="*/ 38100 h 2405063"/>
              <a:gd name="connsiteX1608" fmla="*/ 3593571 w 11725275"/>
              <a:gd name="connsiteY1608" fmla="*/ 38100 h 2405063"/>
              <a:gd name="connsiteX1609" fmla="*/ 3754438 w 11725275"/>
              <a:gd name="connsiteY1609" fmla="*/ 25400 h 2405063"/>
              <a:gd name="connsiteX1610" fmla="*/ 3793067 w 11725275"/>
              <a:gd name="connsiteY1610" fmla="*/ 22225 h 2405063"/>
              <a:gd name="connsiteX1611" fmla="*/ 3823230 w 11725275"/>
              <a:gd name="connsiteY1611" fmla="*/ 21431 h 2405063"/>
              <a:gd name="connsiteX1612" fmla="*/ 3845983 w 11725275"/>
              <a:gd name="connsiteY1612" fmla="*/ 20638 h 2405063"/>
              <a:gd name="connsiteX1613" fmla="*/ 3863446 w 11725275"/>
              <a:gd name="connsiteY1613" fmla="*/ 21431 h 2405063"/>
              <a:gd name="connsiteX1614" fmla="*/ 3878792 w 11725275"/>
              <a:gd name="connsiteY1614" fmla="*/ 22225 h 2405063"/>
              <a:gd name="connsiteX1615" fmla="*/ 3892550 w 11725275"/>
              <a:gd name="connsiteY1615" fmla="*/ 23019 h 2405063"/>
              <a:gd name="connsiteX1616" fmla="*/ 3908425 w 11725275"/>
              <a:gd name="connsiteY1616" fmla="*/ 26194 h 2405063"/>
              <a:gd name="connsiteX1617" fmla="*/ 3926417 w 11725275"/>
              <a:gd name="connsiteY1617" fmla="*/ 28575 h 2405063"/>
              <a:gd name="connsiteX1618" fmla="*/ 3941233 w 11725275"/>
              <a:gd name="connsiteY1618" fmla="*/ 30163 h 2405063"/>
              <a:gd name="connsiteX1619" fmla="*/ 3956050 w 11725275"/>
              <a:gd name="connsiteY1619" fmla="*/ 30163 h 2405063"/>
              <a:gd name="connsiteX1620" fmla="*/ 3971925 w 11725275"/>
              <a:gd name="connsiteY1620" fmla="*/ 27781 h 2405063"/>
              <a:gd name="connsiteX1621" fmla="*/ 3987800 w 11725275"/>
              <a:gd name="connsiteY1621" fmla="*/ 26194 h 2405063"/>
              <a:gd name="connsiteX1622" fmla="*/ 4006321 w 11725275"/>
              <a:gd name="connsiteY1622" fmla="*/ 24606 h 2405063"/>
              <a:gd name="connsiteX1623" fmla="*/ 4026429 w 11725275"/>
              <a:gd name="connsiteY1623" fmla="*/ 22225 h 2405063"/>
              <a:gd name="connsiteX1624" fmla="*/ 4048125 w 11725275"/>
              <a:gd name="connsiteY1624" fmla="*/ 20638 h 2405063"/>
              <a:gd name="connsiteX1625" fmla="*/ 4072996 w 11725275"/>
              <a:gd name="connsiteY1625" fmla="*/ 19844 h 2405063"/>
              <a:gd name="connsiteX1626" fmla="*/ 4112683 w 11725275"/>
              <a:gd name="connsiteY1626" fmla="*/ 19844 h 2405063"/>
              <a:gd name="connsiteX1627" fmla="*/ 4158192 w 11725275"/>
              <a:gd name="connsiteY1627" fmla="*/ 22225 h 2405063"/>
              <a:gd name="connsiteX1628" fmla="*/ 4208463 w 11725275"/>
              <a:gd name="connsiteY1628" fmla="*/ 26194 h 2405063"/>
              <a:gd name="connsiteX1629" fmla="*/ 4261909 w 11725275"/>
              <a:gd name="connsiteY1629" fmla="*/ 30163 h 2405063"/>
              <a:gd name="connsiteX1630" fmla="*/ 4316942 w 11725275"/>
              <a:gd name="connsiteY1630" fmla="*/ 33338 h 2405063"/>
              <a:gd name="connsiteX1631" fmla="*/ 4373034 w 11725275"/>
              <a:gd name="connsiteY1631" fmla="*/ 37306 h 2405063"/>
              <a:gd name="connsiteX1632" fmla="*/ 4426479 w 11725275"/>
              <a:gd name="connsiteY1632" fmla="*/ 38894 h 2405063"/>
              <a:gd name="connsiteX1633" fmla="*/ 4477809 w 11725275"/>
              <a:gd name="connsiteY1633" fmla="*/ 38894 h 2405063"/>
              <a:gd name="connsiteX1634" fmla="*/ 4512204 w 11725275"/>
              <a:gd name="connsiteY1634" fmla="*/ 38100 h 2405063"/>
              <a:gd name="connsiteX1635" fmla="*/ 4544484 w 11725275"/>
              <a:gd name="connsiteY1635" fmla="*/ 35719 h 2405063"/>
              <a:gd name="connsiteX1636" fmla="*/ 4574117 w 11725275"/>
              <a:gd name="connsiteY1636" fmla="*/ 32544 h 2405063"/>
              <a:gd name="connsiteX1637" fmla="*/ 4604279 w 11725275"/>
              <a:gd name="connsiteY1637" fmla="*/ 30163 h 2405063"/>
              <a:gd name="connsiteX1638" fmla="*/ 4634971 w 11725275"/>
              <a:gd name="connsiteY1638" fmla="*/ 26988 h 2405063"/>
              <a:gd name="connsiteX1639" fmla="*/ 4667250 w 11725275"/>
              <a:gd name="connsiteY1639" fmla="*/ 25400 h 2405063"/>
              <a:gd name="connsiteX1640" fmla="*/ 4685242 w 11725275"/>
              <a:gd name="connsiteY1640" fmla="*/ 25400 h 2405063"/>
              <a:gd name="connsiteX1641" fmla="*/ 4704292 w 11725275"/>
              <a:gd name="connsiteY1641" fmla="*/ 25400 h 2405063"/>
              <a:gd name="connsiteX1642" fmla="*/ 4723342 w 11725275"/>
              <a:gd name="connsiteY1642" fmla="*/ 25400 h 2405063"/>
              <a:gd name="connsiteX1643" fmla="*/ 4744509 w 11725275"/>
              <a:gd name="connsiteY1643" fmla="*/ 26988 h 2405063"/>
              <a:gd name="connsiteX1644" fmla="*/ 4777317 w 11725275"/>
              <a:gd name="connsiteY1644" fmla="*/ 30163 h 2405063"/>
              <a:gd name="connsiteX1645" fmla="*/ 4795838 w 11725275"/>
              <a:gd name="connsiteY1645" fmla="*/ 32544 h 2405063"/>
              <a:gd name="connsiteX1646" fmla="*/ 4804304 w 11725275"/>
              <a:gd name="connsiteY1646" fmla="*/ 35719 h 2405063"/>
              <a:gd name="connsiteX1647" fmla="*/ 4810125 w 11725275"/>
              <a:gd name="connsiteY1647" fmla="*/ 38100 h 2405063"/>
              <a:gd name="connsiteX1648" fmla="*/ 4817004 w 11725275"/>
              <a:gd name="connsiteY1648" fmla="*/ 39688 h 2405063"/>
              <a:gd name="connsiteX1649" fmla="*/ 4830234 w 11725275"/>
              <a:gd name="connsiteY1649" fmla="*/ 42069 h 2405063"/>
              <a:gd name="connsiteX1650" fmla="*/ 4855104 w 11725275"/>
              <a:gd name="connsiteY1650" fmla="*/ 42863 h 2405063"/>
              <a:gd name="connsiteX1651" fmla="*/ 4896909 w 11725275"/>
              <a:gd name="connsiteY1651" fmla="*/ 42863 h 2405063"/>
              <a:gd name="connsiteX1652" fmla="*/ 4891088 w 11725275"/>
              <a:gd name="connsiteY1652" fmla="*/ 54769 h 2405063"/>
              <a:gd name="connsiteX1653" fmla="*/ 4886325 w 11725275"/>
              <a:gd name="connsiteY1653" fmla="*/ 65088 h 2405063"/>
              <a:gd name="connsiteX1654" fmla="*/ 4885796 w 11725275"/>
              <a:gd name="connsiteY1654" fmla="*/ 74613 h 2405063"/>
              <a:gd name="connsiteX1655" fmla="*/ 4886325 w 11725275"/>
              <a:gd name="connsiteY1655" fmla="*/ 76200 h 2405063"/>
              <a:gd name="connsiteX1656" fmla="*/ 4887384 w 11725275"/>
              <a:gd name="connsiteY1656" fmla="*/ 76200 h 2405063"/>
              <a:gd name="connsiteX1657" fmla="*/ 4890029 w 11725275"/>
              <a:gd name="connsiteY1657" fmla="*/ 76994 h 2405063"/>
              <a:gd name="connsiteX1658" fmla="*/ 4893734 w 11725275"/>
              <a:gd name="connsiteY1658" fmla="*/ 79375 h 2405063"/>
              <a:gd name="connsiteX1659" fmla="*/ 4898496 w 11725275"/>
              <a:gd name="connsiteY1659" fmla="*/ 81756 h 2405063"/>
              <a:gd name="connsiteX1660" fmla="*/ 4929717 w 11725275"/>
              <a:gd name="connsiteY1660" fmla="*/ 80963 h 2405063"/>
              <a:gd name="connsiteX1661" fmla="*/ 4954588 w 11725275"/>
              <a:gd name="connsiteY1661" fmla="*/ 79375 h 2405063"/>
              <a:gd name="connsiteX1662" fmla="*/ 4973109 w 11725275"/>
              <a:gd name="connsiteY1662" fmla="*/ 78581 h 2405063"/>
              <a:gd name="connsiteX1663" fmla="*/ 4986338 w 11725275"/>
              <a:gd name="connsiteY1663" fmla="*/ 76200 h 2405063"/>
              <a:gd name="connsiteX1664" fmla="*/ 4994804 w 11725275"/>
              <a:gd name="connsiteY1664" fmla="*/ 74613 h 2405063"/>
              <a:gd name="connsiteX1665" fmla="*/ 4998509 w 11725275"/>
              <a:gd name="connsiteY1665" fmla="*/ 71438 h 2405063"/>
              <a:gd name="connsiteX1666" fmla="*/ 4999567 w 11725275"/>
              <a:gd name="connsiteY1666" fmla="*/ 70644 h 2405063"/>
              <a:gd name="connsiteX1667" fmla="*/ 4999567 w 11725275"/>
              <a:gd name="connsiteY1667" fmla="*/ 69850 h 2405063"/>
              <a:gd name="connsiteX1668" fmla="*/ 4998509 w 11725275"/>
              <a:gd name="connsiteY1668" fmla="*/ 68263 h 2405063"/>
              <a:gd name="connsiteX1669" fmla="*/ 4996921 w 11725275"/>
              <a:gd name="connsiteY1669" fmla="*/ 66675 h 2405063"/>
              <a:gd name="connsiteX1670" fmla="*/ 4986867 w 11725275"/>
              <a:gd name="connsiteY1670" fmla="*/ 59531 h 2405063"/>
              <a:gd name="connsiteX1671" fmla="*/ 4973109 w 11725275"/>
              <a:gd name="connsiteY1671" fmla="*/ 51594 h 2405063"/>
              <a:gd name="connsiteX1672" fmla="*/ 4965701 w 11725275"/>
              <a:gd name="connsiteY1672" fmla="*/ 46831 h 2405063"/>
              <a:gd name="connsiteX1673" fmla="*/ 4959879 w 11725275"/>
              <a:gd name="connsiteY1673" fmla="*/ 41275 h 2405063"/>
              <a:gd name="connsiteX1674" fmla="*/ 4957763 w 11725275"/>
              <a:gd name="connsiteY1674" fmla="*/ 38100 h 2405063"/>
              <a:gd name="connsiteX1675" fmla="*/ 4955646 w 11725275"/>
              <a:gd name="connsiteY1675" fmla="*/ 35719 h 2405063"/>
              <a:gd name="connsiteX1676" fmla="*/ 4954059 w 11725275"/>
              <a:gd name="connsiteY1676" fmla="*/ 32544 h 2405063"/>
              <a:gd name="connsiteX1677" fmla="*/ 4953000 w 11725275"/>
              <a:gd name="connsiteY1677" fmla="*/ 30163 h 2405063"/>
              <a:gd name="connsiteX1678" fmla="*/ 4953000 w 11725275"/>
              <a:gd name="connsiteY1678" fmla="*/ 16669 h 2405063"/>
              <a:gd name="connsiteX1679" fmla="*/ 4953000 w 11725275"/>
              <a:gd name="connsiteY1679" fmla="*/ 14288 h 2405063"/>
              <a:gd name="connsiteX1680" fmla="*/ 4954059 w 11725275"/>
              <a:gd name="connsiteY1680" fmla="*/ 11906 h 2405063"/>
              <a:gd name="connsiteX1681" fmla="*/ 4955646 w 11725275"/>
              <a:gd name="connsiteY1681" fmla="*/ 3175 h 2405063"/>
              <a:gd name="connsiteX1682" fmla="*/ 4971521 w 11725275"/>
              <a:gd name="connsiteY1682" fmla="*/ 6350 h 2405063"/>
              <a:gd name="connsiteX1683" fmla="*/ 4979459 w 11725275"/>
              <a:gd name="connsiteY1683" fmla="*/ 9525 h 2405063"/>
              <a:gd name="connsiteX1684" fmla="*/ 4988454 w 11725275"/>
              <a:gd name="connsiteY1684" fmla="*/ 11906 h 2405063"/>
              <a:gd name="connsiteX1685" fmla="*/ 5006446 w 11725275"/>
              <a:gd name="connsiteY1685" fmla="*/ 17463 h 2405063"/>
              <a:gd name="connsiteX1686" fmla="*/ 5023379 w 11725275"/>
              <a:gd name="connsiteY1686" fmla="*/ 21431 h 2405063"/>
              <a:gd name="connsiteX1687" fmla="*/ 5040313 w 11725275"/>
              <a:gd name="connsiteY1687" fmla="*/ 24606 h 2405063"/>
              <a:gd name="connsiteX1688" fmla="*/ 5058834 w 11725275"/>
              <a:gd name="connsiteY1688" fmla="*/ 26988 h 2405063"/>
              <a:gd name="connsiteX1689" fmla="*/ 5076825 w 11725275"/>
              <a:gd name="connsiteY1689" fmla="*/ 28575 h 2405063"/>
              <a:gd name="connsiteX1690" fmla="*/ 5114925 w 11725275"/>
              <a:gd name="connsiteY1690" fmla="*/ 30956 h 2405063"/>
              <a:gd name="connsiteX1691" fmla="*/ 5152496 w 11725275"/>
              <a:gd name="connsiteY1691" fmla="*/ 31750 h 2405063"/>
              <a:gd name="connsiteX1692" fmla="*/ 5189009 w 11725275"/>
              <a:gd name="connsiteY1692" fmla="*/ 31750 h 2405063"/>
              <a:gd name="connsiteX1693" fmla="*/ 5222875 w 11725275"/>
              <a:gd name="connsiteY1693" fmla="*/ 30956 h 2405063"/>
              <a:gd name="connsiteX1694" fmla="*/ 5253038 w 11725275"/>
              <a:gd name="connsiteY1694" fmla="*/ 30163 h 2405063"/>
              <a:gd name="connsiteX1695" fmla="*/ 5276850 w 11725275"/>
              <a:gd name="connsiteY1695" fmla="*/ 30163 h 2405063"/>
              <a:gd name="connsiteX1696" fmla="*/ 5413904 w 11725275"/>
              <a:gd name="connsiteY1696" fmla="*/ 25400 h 2405063"/>
              <a:gd name="connsiteX1697" fmla="*/ 5421313 w 11725275"/>
              <a:gd name="connsiteY1697" fmla="*/ 26194 h 2405063"/>
              <a:gd name="connsiteX1698" fmla="*/ 5428192 w 11725275"/>
              <a:gd name="connsiteY1698" fmla="*/ 26988 h 2405063"/>
              <a:gd name="connsiteX1699" fmla="*/ 5434542 w 11725275"/>
              <a:gd name="connsiteY1699" fmla="*/ 27781 h 2405063"/>
              <a:gd name="connsiteX1700" fmla="*/ 5441421 w 11725275"/>
              <a:gd name="connsiteY1700" fmla="*/ 28575 h 2405063"/>
              <a:gd name="connsiteX1701" fmla="*/ 5712354 w 11725275"/>
              <a:gd name="connsiteY1701" fmla="*/ 49213 h 2405063"/>
              <a:gd name="connsiteX1702" fmla="*/ 5706534 w 11725275"/>
              <a:gd name="connsiteY1702" fmla="*/ 44450 h 2405063"/>
              <a:gd name="connsiteX1703" fmla="*/ 5700713 w 11725275"/>
              <a:gd name="connsiteY1703" fmla="*/ 39688 h 2405063"/>
              <a:gd name="connsiteX1704" fmla="*/ 5694892 w 11725275"/>
              <a:gd name="connsiteY1704" fmla="*/ 36513 h 2405063"/>
              <a:gd name="connsiteX1705" fmla="*/ 5689072 w 11725275"/>
              <a:gd name="connsiteY1705" fmla="*/ 33338 h 2405063"/>
              <a:gd name="connsiteX1706" fmla="*/ 5675842 w 11725275"/>
              <a:gd name="connsiteY1706" fmla="*/ 28575 h 2405063"/>
              <a:gd name="connsiteX1707" fmla="*/ 5662084 w 11725275"/>
              <a:gd name="connsiteY1707" fmla="*/ 25400 h 2405063"/>
              <a:gd name="connsiteX1708" fmla="*/ 5645679 w 11725275"/>
              <a:gd name="connsiteY1708" fmla="*/ 22225 h 2405063"/>
              <a:gd name="connsiteX1709" fmla="*/ 5627159 w 11725275"/>
              <a:gd name="connsiteY1709" fmla="*/ 17463 h 2405063"/>
              <a:gd name="connsiteX1710" fmla="*/ 5605992 w 11725275"/>
              <a:gd name="connsiteY1710" fmla="*/ 11113 h 2405063"/>
              <a:gd name="connsiteX1711" fmla="*/ 5582709 w 11725275"/>
              <a:gd name="connsiteY1711" fmla="*/ 3175 h 2405063"/>
              <a:gd name="connsiteX1712" fmla="*/ 5655734 w 11725275"/>
              <a:gd name="connsiteY1712" fmla="*/ 794 h 2405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</a:cxnLst>
            <a:rect l="l" t="t" r="r" b="b"/>
            <a:pathLst>
              <a:path w="11725275" h="2405063">
                <a:moveTo>
                  <a:pt x="1428221" y="707231"/>
                </a:moveTo>
                <a:lnTo>
                  <a:pt x="1430338" y="707231"/>
                </a:lnTo>
                <a:lnTo>
                  <a:pt x="1427012" y="707685"/>
                </a:lnTo>
                <a:close/>
                <a:moveTo>
                  <a:pt x="8131704" y="446088"/>
                </a:moveTo>
                <a:lnTo>
                  <a:pt x="8131704" y="447675"/>
                </a:lnTo>
                <a:lnTo>
                  <a:pt x="8126941" y="450850"/>
                </a:lnTo>
                <a:lnTo>
                  <a:pt x="8124524" y="451858"/>
                </a:lnTo>
                <a:lnTo>
                  <a:pt x="8124296" y="451644"/>
                </a:lnTo>
                <a:lnTo>
                  <a:pt x="8094133" y="457200"/>
                </a:lnTo>
                <a:lnTo>
                  <a:pt x="8086196" y="457200"/>
                </a:lnTo>
                <a:lnTo>
                  <a:pt x="8093604" y="454819"/>
                </a:lnTo>
                <a:lnTo>
                  <a:pt x="8107363" y="450850"/>
                </a:lnTo>
                <a:lnTo>
                  <a:pt x="8122709" y="446882"/>
                </a:lnTo>
                <a:close/>
                <a:moveTo>
                  <a:pt x="5708650" y="0"/>
                </a:moveTo>
                <a:lnTo>
                  <a:pt x="5746221" y="0"/>
                </a:lnTo>
                <a:lnTo>
                  <a:pt x="5771092" y="1588"/>
                </a:lnTo>
                <a:lnTo>
                  <a:pt x="5779029" y="3175"/>
                </a:lnTo>
                <a:lnTo>
                  <a:pt x="5786438" y="4763"/>
                </a:lnTo>
                <a:lnTo>
                  <a:pt x="5791729" y="6350"/>
                </a:lnTo>
                <a:lnTo>
                  <a:pt x="5795963" y="9525"/>
                </a:lnTo>
                <a:lnTo>
                  <a:pt x="5803371" y="17463"/>
                </a:lnTo>
                <a:lnTo>
                  <a:pt x="5811309" y="28575"/>
                </a:lnTo>
                <a:lnTo>
                  <a:pt x="5815542" y="38100"/>
                </a:lnTo>
                <a:lnTo>
                  <a:pt x="5852584" y="38100"/>
                </a:lnTo>
                <a:lnTo>
                  <a:pt x="5877454" y="38100"/>
                </a:lnTo>
                <a:lnTo>
                  <a:pt x="5894388" y="36513"/>
                </a:lnTo>
                <a:lnTo>
                  <a:pt x="5904971" y="35719"/>
                </a:lnTo>
                <a:lnTo>
                  <a:pt x="5913967" y="33338"/>
                </a:lnTo>
                <a:lnTo>
                  <a:pt x="5924021" y="31750"/>
                </a:lnTo>
                <a:lnTo>
                  <a:pt x="5937250" y="30956"/>
                </a:lnTo>
                <a:lnTo>
                  <a:pt x="5958417" y="30163"/>
                </a:lnTo>
                <a:lnTo>
                  <a:pt x="6230409" y="53181"/>
                </a:lnTo>
                <a:lnTo>
                  <a:pt x="6251575" y="53181"/>
                </a:lnTo>
                <a:lnTo>
                  <a:pt x="6267979" y="52388"/>
                </a:lnTo>
                <a:lnTo>
                  <a:pt x="6281738" y="50006"/>
                </a:lnTo>
                <a:lnTo>
                  <a:pt x="6294438" y="46831"/>
                </a:lnTo>
                <a:lnTo>
                  <a:pt x="6308725" y="42863"/>
                </a:lnTo>
                <a:lnTo>
                  <a:pt x="6326717" y="38100"/>
                </a:lnTo>
                <a:lnTo>
                  <a:pt x="6349471" y="33338"/>
                </a:lnTo>
                <a:lnTo>
                  <a:pt x="6379104" y="28575"/>
                </a:lnTo>
                <a:lnTo>
                  <a:pt x="6381221" y="31750"/>
                </a:lnTo>
                <a:lnTo>
                  <a:pt x="6382279" y="34131"/>
                </a:lnTo>
                <a:lnTo>
                  <a:pt x="6382279" y="36513"/>
                </a:lnTo>
                <a:lnTo>
                  <a:pt x="6381221" y="38100"/>
                </a:lnTo>
                <a:lnTo>
                  <a:pt x="6380163" y="39688"/>
                </a:lnTo>
                <a:lnTo>
                  <a:pt x="6378046" y="41275"/>
                </a:lnTo>
                <a:lnTo>
                  <a:pt x="6378575" y="42069"/>
                </a:lnTo>
                <a:lnTo>
                  <a:pt x="6382279" y="42863"/>
                </a:lnTo>
                <a:lnTo>
                  <a:pt x="6392334" y="43656"/>
                </a:lnTo>
                <a:lnTo>
                  <a:pt x="6409267" y="44450"/>
                </a:lnTo>
                <a:lnTo>
                  <a:pt x="6430434" y="47625"/>
                </a:lnTo>
                <a:lnTo>
                  <a:pt x="6442075" y="49213"/>
                </a:lnTo>
                <a:lnTo>
                  <a:pt x="6448425" y="51594"/>
                </a:lnTo>
                <a:lnTo>
                  <a:pt x="6451071" y="53181"/>
                </a:lnTo>
                <a:lnTo>
                  <a:pt x="6455304" y="55563"/>
                </a:lnTo>
                <a:lnTo>
                  <a:pt x="6463771" y="57944"/>
                </a:lnTo>
                <a:lnTo>
                  <a:pt x="6479646" y="61119"/>
                </a:lnTo>
                <a:lnTo>
                  <a:pt x="6507692" y="65881"/>
                </a:lnTo>
                <a:lnTo>
                  <a:pt x="6501871" y="57944"/>
                </a:lnTo>
                <a:lnTo>
                  <a:pt x="6497109" y="51594"/>
                </a:lnTo>
                <a:lnTo>
                  <a:pt x="6494463" y="47625"/>
                </a:lnTo>
                <a:lnTo>
                  <a:pt x="6490759" y="44450"/>
                </a:lnTo>
                <a:lnTo>
                  <a:pt x="6481234" y="38894"/>
                </a:lnTo>
                <a:lnTo>
                  <a:pt x="6462713" y="27781"/>
                </a:lnTo>
                <a:lnTo>
                  <a:pt x="6492346" y="30163"/>
                </a:lnTo>
                <a:lnTo>
                  <a:pt x="6517746" y="31750"/>
                </a:lnTo>
                <a:lnTo>
                  <a:pt x="6539971" y="31750"/>
                </a:lnTo>
                <a:lnTo>
                  <a:pt x="6559021" y="30956"/>
                </a:lnTo>
                <a:lnTo>
                  <a:pt x="6576484" y="30163"/>
                </a:lnTo>
                <a:lnTo>
                  <a:pt x="6591829" y="27781"/>
                </a:lnTo>
                <a:lnTo>
                  <a:pt x="6605588" y="26194"/>
                </a:lnTo>
                <a:lnTo>
                  <a:pt x="6619875" y="23019"/>
                </a:lnTo>
                <a:lnTo>
                  <a:pt x="6633634" y="21431"/>
                </a:lnTo>
                <a:lnTo>
                  <a:pt x="6648450" y="19844"/>
                </a:lnTo>
                <a:lnTo>
                  <a:pt x="6663796" y="17463"/>
                </a:lnTo>
                <a:lnTo>
                  <a:pt x="6680729" y="16669"/>
                </a:lnTo>
                <a:lnTo>
                  <a:pt x="6700309" y="15875"/>
                </a:lnTo>
                <a:lnTo>
                  <a:pt x="6722004" y="16669"/>
                </a:lnTo>
                <a:lnTo>
                  <a:pt x="6747934" y="18256"/>
                </a:lnTo>
                <a:lnTo>
                  <a:pt x="6777038" y="21431"/>
                </a:lnTo>
                <a:lnTo>
                  <a:pt x="6835775" y="26988"/>
                </a:lnTo>
                <a:lnTo>
                  <a:pt x="6899804" y="32544"/>
                </a:lnTo>
                <a:lnTo>
                  <a:pt x="6967009" y="37306"/>
                </a:lnTo>
                <a:lnTo>
                  <a:pt x="7035271" y="39688"/>
                </a:lnTo>
                <a:lnTo>
                  <a:pt x="7101946" y="42069"/>
                </a:lnTo>
                <a:lnTo>
                  <a:pt x="7166504" y="42069"/>
                </a:lnTo>
                <a:lnTo>
                  <a:pt x="7197196" y="41275"/>
                </a:lnTo>
                <a:lnTo>
                  <a:pt x="7226300" y="38894"/>
                </a:lnTo>
                <a:lnTo>
                  <a:pt x="7253288" y="37306"/>
                </a:lnTo>
                <a:lnTo>
                  <a:pt x="7278688" y="34131"/>
                </a:lnTo>
                <a:lnTo>
                  <a:pt x="7315200" y="30956"/>
                </a:lnTo>
                <a:lnTo>
                  <a:pt x="7344304" y="28575"/>
                </a:lnTo>
                <a:lnTo>
                  <a:pt x="7368646" y="27781"/>
                </a:lnTo>
                <a:lnTo>
                  <a:pt x="7391929" y="28575"/>
                </a:lnTo>
                <a:lnTo>
                  <a:pt x="7416800" y="30163"/>
                </a:lnTo>
                <a:lnTo>
                  <a:pt x="7445375" y="30956"/>
                </a:lnTo>
                <a:lnTo>
                  <a:pt x="7482417" y="30956"/>
                </a:lnTo>
                <a:lnTo>
                  <a:pt x="7530042" y="30956"/>
                </a:lnTo>
                <a:lnTo>
                  <a:pt x="7531100" y="32544"/>
                </a:lnTo>
                <a:lnTo>
                  <a:pt x="7532688" y="34131"/>
                </a:lnTo>
                <a:lnTo>
                  <a:pt x="7595129" y="69056"/>
                </a:lnTo>
                <a:lnTo>
                  <a:pt x="7743825" y="64294"/>
                </a:lnTo>
                <a:lnTo>
                  <a:pt x="7785629" y="68263"/>
                </a:lnTo>
                <a:lnTo>
                  <a:pt x="7821613" y="70644"/>
                </a:lnTo>
                <a:lnTo>
                  <a:pt x="7852834" y="73025"/>
                </a:lnTo>
                <a:lnTo>
                  <a:pt x="7880350" y="73025"/>
                </a:lnTo>
                <a:lnTo>
                  <a:pt x="7903634" y="73025"/>
                </a:lnTo>
                <a:lnTo>
                  <a:pt x="7923213" y="70644"/>
                </a:lnTo>
                <a:lnTo>
                  <a:pt x="7941204" y="69056"/>
                </a:lnTo>
                <a:lnTo>
                  <a:pt x="7956550" y="66675"/>
                </a:lnTo>
                <a:lnTo>
                  <a:pt x="7982479" y="62706"/>
                </a:lnTo>
                <a:lnTo>
                  <a:pt x="8007879" y="58738"/>
                </a:lnTo>
                <a:lnTo>
                  <a:pt x="8020050" y="57150"/>
                </a:lnTo>
                <a:lnTo>
                  <a:pt x="8033809" y="55563"/>
                </a:lnTo>
                <a:lnTo>
                  <a:pt x="8049154" y="55563"/>
                </a:lnTo>
                <a:lnTo>
                  <a:pt x="8067675" y="55563"/>
                </a:lnTo>
                <a:lnTo>
                  <a:pt x="8093604" y="57944"/>
                </a:lnTo>
                <a:lnTo>
                  <a:pt x="8102071" y="59531"/>
                </a:lnTo>
                <a:lnTo>
                  <a:pt x="8100483" y="60325"/>
                </a:lnTo>
                <a:lnTo>
                  <a:pt x="8094663" y="62706"/>
                </a:lnTo>
                <a:lnTo>
                  <a:pt x="8092017" y="62706"/>
                </a:lnTo>
                <a:lnTo>
                  <a:pt x="8090429" y="63500"/>
                </a:lnTo>
                <a:lnTo>
                  <a:pt x="8092017" y="63500"/>
                </a:lnTo>
                <a:lnTo>
                  <a:pt x="8095721" y="64294"/>
                </a:lnTo>
                <a:lnTo>
                  <a:pt x="8114771" y="65088"/>
                </a:lnTo>
                <a:lnTo>
                  <a:pt x="8154459" y="65881"/>
                </a:lnTo>
                <a:lnTo>
                  <a:pt x="8168217" y="65881"/>
                </a:lnTo>
                <a:lnTo>
                  <a:pt x="8176683" y="65088"/>
                </a:lnTo>
                <a:lnTo>
                  <a:pt x="8181446" y="65088"/>
                </a:lnTo>
                <a:lnTo>
                  <a:pt x="8185679" y="64294"/>
                </a:lnTo>
                <a:lnTo>
                  <a:pt x="8192559" y="64294"/>
                </a:lnTo>
                <a:lnTo>
                  <a:pt x="8202613" y="64294"/>
                </a:lnTo>
                <a:lnTo>
                  <a:pt x="8219546" y="65088"/>
                </a:lnTo>
                <a:lnTo>
                  <a:pt x="8244946" y="66675"/>
                </a:lnTo>
                <a:lnTo>
                  <a:pt x="8546042" y="76994"/>
                </a:lnTo>
                <a:lnTo>
                  <a:pt x="8577792" y="75406"/>
                </a:lnTo>
                <a:lnTo>
                  <a:pt x="8606896" y="73819"/>
                </a:lnTo>
                <a:lnTo>
                  <a:pt x="8634412" y="73025"/>
                </a:lnTo>
                <a:lnTo>
                  <a:pt x="8661400" y="71438"/>
                </a:lnTo>
                <a:lnTo>
                  <a:pt x="8688917" y="70644"/>
                </a:lnTo>
                <a:lnTo>
                  <a:pt x="8716962" y="70644"/>
                </a:lnTo>
                <a:lnTo>
                  <a:pt x="8747125" y="71438"/>
                </a:lnTo>
                <a:lnTo>
                  <a:pt x="8779404" y="73819"/>
                </a:lnTo>
                <a:lnTo>
                  <a:pt x="8969904" y="84138"/>
                </a:lnTo>
                <a:lnTo>
                  <a:pt x="8994246" y="85725"/>
                </a:lnTo>
                <a:lnTo>
                  <a:pt x="9015942" y="85725"/>
                </a:lnTo>
                <a:lnTo>
                  <a:pt x="9034462" y="85725"/>
                </a:lnTo>
                <a:lnTo>
                  <a:pt x="9051396" y="84931"/>
                </a:lnTo>
                <a:lnTo>
                  <a:pt x="9078912" y="81756"/>
                </a:lnTo>
                <a:lnTo>
                  <a:pt x="9104842" y="76994"/>
                </a:lnTo>
                <a:lnTo>
                  <a:pt x="9118071" y="75406"/>
                </a:lnTo>
                <a:lnTo>
                  <a:pt x="9131300" y="73819"/>
                </a:lnTo>
                <a:lnTo>
                  <a:pt x="9145588" y="73025"/>
                </a:lnTo>
                <a:lnTo>
                  <a:pt x="9161992" y="73025"/>
                </a:lnTo>
                <a:lnTo>
                  <a:pt x="9181042" y="73819"/>
                </a:lnTo>
                <a:lnTo>
                  <a:pt x="9202208" y="74613"/>
                </a:lnTo>
                <a:lnTo>
                  <a:pt x="9226550" y="76994"/>
                </a:lnTo>
                <a:lnTo>
                  <a:pt x="9255125" y="81756"/>
                </a:lnTo>
                <a:lnTo>
                  <a:pt x="9279996" y="87313"/>
                </a:lnTo>
                <a:lnTo>
                  <a:pt x="9316508" y="92869"/>
                </a:lnTo>
                <a:lnTo>
                  <a:pt x="9339792" y="96838"/>
                </a:lnTo>
                <a:lnTo>
                  <a:pt x="9353021" y="98425"/>
                </a:lnTo>
                <a:lnTo>
                  <a:pt x="9360429" y="97631"/>
                </a:lnTo>
                <a:lnTo>
                  <a:pt x="9365721" y="96838"/>
                </a:lnTo>
                <a:lnTo>
                  <a:pt x="9373129" y="94456"/>
                </a:lnTo>
                <a:lnTo>
                  <a:pt x="9385829" y="90488"/>
                </a:lnTo>
                <a:lnTo>
                  <a:pt x="9408583" y="87313"/>
                </a:lnTo>
                <a:lnTo>
                  <a:pt x="9432925" y="84931"/>
                </a:lnTo>
                <a:lnTo>
                  <a:pt x="9451446" y="84138"/>
                </a:lnTo>
                <a:lnTo>
                  <a:pt x="9465204" y="84931"/>
                </a:lnTo>
                <a:lnTo>
                  <a:pt x="9477904" y="85725"/>
                </a:lnTo>
                <a:lnTo>
                  <a:pt x="9490075" y="87313"/>
                </a:lnTo>
                <a:lnTo>
                  <a:pt x="9503833" y="90488"/>
                </a:lnTo>
                <a:lnTo>
                  <a:pt x="9522354" y="92075"/>
                </a:lnTo>
                <a:lnTo>
                  <a:pt x="9545638" y="94456"/>
                </a:lnTo>
                <a:lnTo>
                  <a:pt x="9565746" y="95250"/>
                </a:lnTo>
                <a:lnTo>
                  <a:pt x="9586383" y="96044"/>
                </a:lnTo>
                <a:lnTo>
                  <a:pt x="9605962" y="96044"/>
                </a:lnTo>
                <a:lnTo>
                  <a:pt x="9626600" y="96044"/>
                </a:lnTo>
                <a:lnTo>
                  <a:pt x="9646708" y="95250"/>
                </a:lnTo>
                <a:lnTo>
                  <a:pt x="9667346" y="95250"/>
                </a:lnTo>
                <a:lnTo>
                  <a:pt x="9687983" y="94456"/>
                </a:lnTo>
                <a:lnTo>
                  <a:pt x="9708621" y="94456"/>
                </a:lnTo>
                <a:lnTo>
                  <a:pt x="9710208" y="96838"/>
                </a:lnTo>
                <a:lnTo>
                  <a:pt x="9710738" y="100013"/>
                </a:lnTo>
                <a:lnTo>
                  <a:pt x="9709150" y="101600"/>
                </a:lnTo>
                <a:lnTo>
                  <a:pt x="9707033" y="102394"/>
                </a:lnTo>
                <a:lnTo>
                  <a:pt x="9700683" y="105569"/>
                </a:lnTo>
                <a:lnTo>
                  <a:pt x="9693804" y="107156"/>
                </a:lnTo>
                <a:lnTo>
                  <a:pt x="9688512" y="107950"/>
                </a:lnTo>
                <a:lnTo>
                  <a:pt x="9687983" y="107950"/>
                </a:lnTo>
                <a:lnTo>
                  <a:pt x="9694862" y="108744"/>
                </a:lnTo>
                <a:lnTo>
                  <a:pt x="9709150" y="109538"/>
                </a:lnTo>
                <a:lnTo>
                  <a:pt x="9710208" y="111919"/>
                </a:lnTo>
                <a:lnTo>
                  <a:pt x="9710208" y="113506"/>
                </a:lnTo>
                <a:lnTo>
                  <a:pt x="9739842" y="111919"/>
                </a:lnTo>
                <a:lnTo>
                  <a:pt x="9769475" y="108744"/>
                </a:lnTo>
                <a:lnTo>
                  <a:pt x="9798050" y="105569"/>
                </a:lnTo>
                <a:lnTo>
                  <a:pt x="9826625" y="101600"/>
                </a:lnTo>
                <a:lnTo>
                  <a:pt x="9855729" y="97631"/>
                </a:lnTo>
                <a:lnTo>
                  <a:pt x="9885892" y="92869"/>
                </a:lnTo>
                <a:lnTo>
                  <a:pt x="9916583" y="89694"/>
                </a:lnTo>
                <a:lnTo>
                  <a:pt x="9950450" y="85725"/>
                </a:lnTo>
                <a:lnTo>
                  <a:pt x="9986962" y="82550"/>
                </a:lnTo>
                <a:lnTo>
                  <a:pt x="10016067" y="81756"/>
                </a:lnTo>
                <a:lnTo>
                  <a:pt x="10041467" y="82550"/>
                </a:lnTo>
                <a:lnTo>
                  <a:pt x="10063692" y="84931"/>
                </a:lnTo>
                <a:lnTo>
                  <a:pt x="10087504" y="88106"/>
                </a:lnTo>
                <a:lnTo>
                  <a:pt x="10113962" y="91281"/>
                </a:lnTo>
                <a:lnTo>
                  <a:pt x="10147300" y="94456"/>
                </a:lnTo>
                <a:lnTo>
                  <a:pt x="10190162" y="96838"/>
                </a:lnTo>
                <a:lnTo>
                  <a:pt x="10229321" y="97631"/>
                </a:lnTo>
                <a:lnTo>
                  <a:pt x="10261600" y="100806"/>
                </a:lnTo>
                <a:lnTo>
                  <a:pt x="10288058" y="103188"/>
                </a:lnTo>
                <a:lnTo>
                  <a:pt x="10310812" y="105569"/>
                </a:lnTo>
                <a:lnTo>
                  <a:pt x="10333038" y="106363"/>
                </a:lnTo>
                <a:lnTo>
                  <a:pt x="10356321" y="106363"/>
                </a:lnTo>
                <a:lnTo>
                  <a:pt x="10382250" y="103981"/>
                </a:lnTo>
                <a:lnTo>
                  <a:pt x="10413471" y="100806"/>
                </a:lnTo>
                <a:lnTo>
                  <a:pt x="10438342" y="97631"/>
                </a:lnTo>
                <a:lnTo>
                  <a:pt x="10464271" y="96044"/>
                </a:lnTo>
                <a:lnTo>
                  <a:pt x="10491258" y="95250"/>
                </a:lnTo>
                <a:lnTo>
                  <a:pt x="10518775" y="94456"/>
                </a:lnTo>
                <a:lnTo>
                  <a:pt x="10576983" y="96044"/>
                </a:lnTo>
                <a:lnTo>
                  <a:pt x="10637838" y="98425"/>
                </a:lnTo>
                <a:lnTo>
                  <a:pt x="10700279" y="101600"/>
                </a:lnTo>
                <a:lnTo>
                  <a:pt x="10763250" y="103188"/>
                </a:lnTo>
                <a:lnTo>
                  <a:pt x="10793942" y="103188"/>
                </a:lnTo>
                <a:lnTo>
                  <a:pt x="10824633" y="102394"/>
                </a:lnTo>
                <a:lnTo>
                  <a:pt x="10855325" y="101600"/>
                </a:lnTo>
                <a:lnTo>
                  <a:pt x="10884958" y="98425"/>
                </a:lnTo>
                <a:lnTo>
                  <a:pt x="11070696" y="90488"/>
                </a:lnTo>
                <a:lnTo>
                  <a:pt x="11095038" y="92869"/>
                </a:lnTo>
                <a:lnTo>
                  <a:pt x="11119379" y="94456"/>
                </a:lnTo>
                <a:lnTo>
                  <a:pt x="11144250" y="94456"/>
                </a:lnTo>
                <a:lnTo>
                  <a:pt x="11170708" y="94456"/>
                </a:lnTo>
                <a:lnTo>
                  <a:pt x="11223096" y="92075"/>
                </a:lnTo>
                <a:lnTo>
                  <a:pt x="11276542" y="88106"/>
                </a:lnTo>
                <a:lnTo>
                  <a:pt x="11330517" y="85725"/>
                </a:lnTo>
                <a:lnTo>
                  <a:pt x="11382375" y="84138"/>
                </a:lnTo>
                <a:lnTo>
                  <a:pt x="11407246" y="84138"/>
                </a:lnTo>
                <a:lnTo>
                  <a:pt x="11431588" y="84931"/>
                </a:lnTo>
                <a:lnTo>
                  <a:pt x="11455400" y="86519"/>
                </a:lnTo>
                <a:lnTo>
                  <a:pt x="11478154" y="89694"/>
                </a:lnTo>
                <a:lnTo>
                  <a:pt x="11499321" y="92869"/>
                </a:lnTo>
                <a:lnTo>
                  <a:pt x="11512550" y="95250"/>
                </a:lnTo>
                <a:lnTo>
                  <a:pt x="11519429" y="96838"/>
                </a:lnTo>
                <a:lnTo>
                  <a:pt x="11523133" y="98425"/>
                </a:lnTo>
                <a:lnTo>
                  <a:pt x="11524721" y="101600"/>
                </a:lnTo>
                <a:lnTo>
                  <a:pt x="11526838" y="105569"/>
                </a:lnTo>
                <a:lnTo>
                  <a:pt x="11531071" y="111125"/>
                </a:lnTo>
                <a:lnTo>
                  <a:pt x="11540067" y="119063"/>
                </a:lnTo>
                <a:lnTo>
                  <a:pt x="11688762" y="257969"/>
                </a:lnTo>
                <a:lnTo>
                  <a:pt x="11701992" y="280194"/>
                </a:lnTo>
                <a:lnTo>
                  <a:pt x="11712046" y="301625"/>
                </a:lnTo>
                <a:lnTo>
                  <a:pt x="11716279" y="311944"/>
                </a:lnTo>
                <a:lnTo>
                  <a:pt x="11719454" y="321469"/>
                </a:lnTo>
                <a:lnTo>
                  <a:pt x="11722100" y="330994"/>
                </a:lnTo>
                <a:lnTo>
                  <a:pt x="11723688" y="338931"/>
                </a:lnTo>
                <a:lnTo>
                  <a:pt x="11725275" y="347663"/>
                </a:lnTo>
                <a:lnTo>
                  <a:pt x="11725275" y="354806"/>
                </a:lnTo>
                <a:lnTo>
                  <a:pt x="11724746" y="361950"/>
                </a:lnTo>
                <a:lnTo>
                  <a:pt x="11722100" y="369094"/>
                </a:lnTo>
                <a:lnTo>
                  <a:pt x="11719454" y="375444"/>
                </a:lnTo>
                <a:lnTo>
                  <a:pt x="11715750" y="381794"/>
                </a:lnTo>
                <a:lnTo>
                  <a:pt x="11710458" y="387350"/>
                </a:lnTo>
                <a:lnTo>
                  <a:pt x="11704638" y="392113"/>
                </a:lnTo>
                <a:lnTo>
                  <a:pt x="11697229" y="396875"/>
                </a:lnTo>
                <a:lnTo>
                  <a:pt x="11689292" y="401638"/>
                </a:lnTo>
                <a:lnTo>
                  <a:pt x="11679767" y="404813"/>
                </a:lnTo>
                <a:lnTo>
                  <a:pt x="11668654" y="408782"/>
                </a:lnTo>
                <a:lnTo>
                  <a:pt x="11656483" y="411956"/>
                </a:lnTo>
                <a:lnTo>
                  <a:pt x="11643254" y="414338"/>
                </a:lnTo>
                <a:lnTo>
                  <a:pt x="11627908" y="416719"/>
                </a:lnTo>
                <a:lnTo>
                  <a:pt x="11611504" y="418307"/>
                </a:lnTo>
                <a:lnTo>
                  <a:pt x="11594042" y="419894"/>
                </a:lnTo>
                <a:lnTo>
                  <a:pt x="11574992" y="420688"/>
                </a:lnTo>
                <a:lnTo>
                  <a:pt x="11554354" y="422275"/>
                </a:lnTo>
                <a:lnTo>
                  <a:pt x="11531600" y="422275"/>
                </a:lnTo>
                <a:lnTo>
                  <a:pt x="11482917" y="420688"/>
                </a:lnTo>
                <a:lnTo>
                  <a:pt x="11426825" y="419100"/>
                </a:lnTo>
                <a:lnTo>
                  <a:pt x="11368617" y="416719"/>
                </a:lnTo>
                <a:lnTo>
                  <a:pt x="11308292" y="413544"/>
                </a:lnTo>
                <a:lnTo>
                  <a:pt x="11246908" y="411956"/>
                </a:lnTo>
                <a:lnTo>
                  <a:pt x="11184467" y="409575"/>
                </a:lnTo>
                <a:lnTo>
                  <a:pt x="11121496" y="408782"/>
                </a:lnTo>
                <a:lnTo>
                  <a:pt x="11057467" y="407988"/>
                </a:lnTo>
                <a:lnTo>
                  <a:pt x="10993967" y="407194"/>
                </a:lnTo>
                <a:lnTo>
                  <a:pt x="10929408" y="407194"/>
                </a:lnTo>
                <a:lnTo>
                  <a:pt x="10864321" y="406400"/>
                </a:lnTo>
                <a:lnTo>
                  <a:pt x="10799762" y="406400"/>
                </a:lnTo>
                <a:lnTo>
                  <a:pt x="10735204" y="406400"/>
                </a:lnTo>
                <a:lnTo>
                  <a:pt x="10670646" y="406400"/>
                </a:lnTo>
                <a:lnTo>
                  <a:pt x="10607146" y="406400"/>
                </a:lnTo>
                <a:lnTo>
                  <a:pt x="10544175" y="406400"/>
                </a:lnTo>
                <a:lnTo>
                  <a:pt x="10482262" y="406400"/>
                </a:lnTo>
                <a:lnTo>
                  <a:pt x="10420879" y="406400"/>
                </a:lnTo>
                <a:lnTo>
                  <a:pt x="9417579" y="411956"/>
                </a:lnTo>
                <a:lnTo>
                  <a:pt x="9337675" y="412750"/>
                </a:lnTo>
                <a:lnTo>
                  <a:pt x="9282642" y="411163"/>
                </a:lnTo>
                <a:lnTo>
                  <a:pt x="9246129" y="408782"/>
                </a:lnTo>
                <a:lnTo>
                  <a:pt x="9223375" y="406400"/>
                </a:lnTo>
                <a:lnTo>
                  <a:pt x="9207500" y="402432"/>
                </a:lnTo>
                <a:lnTo>
                  <a:pt x="9193212" y="400844"/>
                </a:lnTo>
                <a:lnTo>
                  <a:pt x="9185275" y="398463"/>
                </a:lnTo>
                <a:lnTo>
                  <a:pt x="9175750" y="398463"/>
                </a:lnTo>
                <a:lnTo>
                  <a:pt x="9163050" y="397669"/>
                </a:lnTo>
                <a:lnTo>
                  <a:pt x="9147704" y="397669"/>
                </a:lnTo>
                <a:lnTo>
                  <a:pt x="9130242" y="398463"/>
                </a:lnTo>
                <a:lnTo>
                  <a:pt x="9114896" y="399256"/>
                </a:lnTo>
                <a:lnTo>
                  <a:pt x="9101138" y="401638"/>
                </a:lnTo>
                <a:lnTo>
                  <a:pt x="9086850" y="403225"/>
                </a:lnTo>
                <a:lnTo>
                  <a:pt x="9070975" y="404813"/>
                </a:lnTo>
                <a:lnTo>
                  <a:pt x="9051925" y="406400"/>
                </a:lnTo>
                <a:lnTo>
                  <a:pt x="9028642" y="407988"/>
                </a:lnTo>
                <a:lnTo>
                  <a:pt x="8999008" y="408782"/>
                </a:lnTo>
                <a:lnTo>
                  <a:pt x="8617479" y="407194"/>
                </a:lnTo>
                <a:lnTo>
                  <a:pt x="8569854" y="406400"/>
                </a:lnTo>
                <a:lnTo>
                  <a:pt x="8528050" y="406400"/>
                </a:lnTo>
                <a:lnTo>
                  <a:pt x="8489950" y="407988"/>
                </a:lnTo>
                <a:lnTo>
                  <a:pt x="8453967" y="409575"/>
                </a:lnTo>
                <a:lnTo>
                  <a:pt x="8417454" y="413544"/>
                </a:lnTo>
                <a:lnTo>
                  <a:pt x="8379354" y="416719"/>
                </a:lnTo>
                <a:lnTo>
                  <a:pt x="8337550" y="418307"/>
                </a:lnTo>
                <a:lnTo>
                  <a:pt x="8289925" y="419894"/>
                </a:lnTo>
                <a:lnTo>
                  <a:pt x="7835371" y="430213"/>
                </a:lnTo>
                <a:lnTo>
                  <a:pt x="7823200" y="431007"/>
                </a:lnTo>
                <a:lnTo>
                  <a:pt x="7815792" y="432594"/>
                </a:lnTo>
                <a:lnTo>
                  <a:pt x="7812088" y="432594"/>
                </a:lnTo>
                <a:lnTo>
                  <a:pt x="7809971" y="433388"/>
                </a:lnTo>
                <a:lnTo>
                  <a:pt x="7806796" y="433388"/>
                </a:lnTo>
                <a:lnTo>
                  <a:pt x="7801504" y="434975"/>
                </a:lnTo>
                <a:lnTo>
                  <a:pt x="7793038" y="438150"/>
                </a:lnTo>
                <a:lnTo>
                  <a:pt x="7778221" y="441325"/>
                </a:lnTo>
                <a:lnTo>
                  <a:pt x="7772400" y="443706"/>
                </a:lnTo>
                <a:lnTo>
                  <a:pt x="7764463" y="446088"/>
                </a:lnTo>
                <a:lnTo>
                  <a:pt x="7757054" y="447675"/>
                </a:lnTo>
                <a:lnTo>
                  <a:pt x="7752821" y="450056"/>
                </a:lnTo>
                <a:lnTo>
                  <a:pt x="7727950" y="457994"/>
                </a:lnTo>
                <a:lnTo>
                  <a:pt x="7734829" y="460375"/>
                </a:lnTo>
                <a:lnTo>
                  <a:pt x="7741709" y="461169"/>
                </a:lnTo>
                <a:lnTo>
                  <a:pt x="7748059" y="462757"/>
                </a:lnTo>
                <a:lnTo>
                  <a:pt x="7755467" y="463550"/>
                </a:lnTo>
                <a:lnTo>
                  <a:pt x="7762346" y="465931"/>
                </a:lnTo>
                <a:lnTo>
                  <a:pt x="7769225" y="467519"/>
                </a:lnTo>
                <a:lnTo>
                  <a:pt x="7890934" y="477044"/>
                </a:lnTo>
                <a:lnTo>
                  <a:pt x="7886171" y="476250"/>
                </a:lnTo>
                <a:lnTo>
                  <a:pt x="7875059" y="472281"/>
                </a:lnTo>
                <a:lnTo>
                  <a:pt x="7868179" y="468313"/>
                </a:lnTo>
                <a:lnTo>
                  <a:pt x="7861829" y="462757"/>
                </a:lnTo>
                <a:lnTo>
                  <a:pt x="7858654" y="459581"/>
                </a:lnTo>
                <a:lnTo>
                  <a:pt x="7856009" y="455613"/>
                </a:lnTo>
                <a:lnTo>
                  <a:pt x="7853892" y="450850"/>
                </a:lnTo>
                <a:lnTo>
                  <a:pt x="7852304" y="446088"/>
                </a:lnTo>
                <a:lnTo>
                  <a:pt x="7868179" y="449263"/>
                </a:lnTo>
                <a:lnTo>
                  <a:pt x="7886171" y="451644"/>
                </a:lnTo>
                <a:lnTo>
                  <a:pt x="7904163" y="454819"/>
                </a:lnTo>
                <a:lnTo>
                  <a:pt x="7922684" y="456406"/>
                </a:lnTo>
                <a:lnTo>
                  <a:pt x="7942263" y="457994"/>
                </a:lnTo>
                <a:lnTo>
                  <a:pt x="7961313" y="460375"/>
                </a:lnTo>
                <a:lnTo>
                  <a:pt x="7980363" y="461963"/>
                </a:lnTo>
                <a:lnTo>
                  <a:pt x="7999413" y="463550"/>
                </a:lnTo>
                <a:lnTo>
                  <a:pt x="8001529" y="466725"/>
                </a:lnTo>
                <a:lnTo>
                  <a:pt x="8002588" y="469107"/>
                </a:lnTo>
                <a:lnTo>
                  <a:pt x="8002588" y="471488"/>
                </a:lnTo>
                <a:lnTo>
                  <a:pt x="8001000" y="473075"/>
                </a:lnTo>
                <a:lnTo>
                  <a:pt x="7996767" y="473869"/>
                </a:lnTo>
                <a:lnTo>
                  <a:pt x="7989888" y="473869"/>
                </a:lnTo>
                <a:lnTo>
                  <a:pt x="7983538" y="473869"/>
                </a:lnTo>
                <a:lnTo>
                  <a:pt x="7979304" y="474663"/>
                </a:lnTo>
                <a:lnTo>
                  <a:pt x="7977717" y="476250"/>
                </a:lnTo>
                <a:lnTo>
                  <a:pt x="7976659" y="477838"/>
                </a:lnTo>
                <a:lnTo>
                  <a:pt x="7978246" y="479425"/>
                </a:lnTo>
                <a:lnTo>
                  <a:pt x="7980363" y="483394"/>
                </a:lnTo>
                <a:lnTo>
                  <a:pt x="8004704" y="482600"/>
                </a:lnTo>
                <a:lnTo>
                  <a:pt x="8023225" y="482600"/>
                </a:lnTo>
                <a:lnTo>
                  <a:pt x="8037513" y="481013"/>
                </a:lnTo>
                <a:lnTo>
                  <a:pt x="8050213" y="478631"/>
                </a:lnTo>
                <a:lnTo>
                  <a:pt x="8061325" y="476250"/>
                </a:lnTo>
                <a:lnTo>
                  <a:pt x="8071909" y="472281"/>
                </a:lnTo>
                <a:lnTo>
                  <a:pt x="8085137" y="467519"/>
                </a:lnTo>
                <a:lnTo>
                  <a:pt x="8102071" y="461169"/>
                </a:lnTo>
                <a:lnTo>
                  <a:pt x="8117417" y="454819"/>
                </a:lnTo>
                <a:lnTo>
                  <a:pt x="8124524" y="451858"/>
                </a:lnTo>
                <a:lnTo>
                  <a:pt x="8128529" y="455613"/>
                </a:lnTo>
                <a:lnTo>
                  <a:pt x="8130646" y="457994"/>
                </a:lnTo>
                <a:lnTo>
                  <a:pt x="8130646" y="459581"/>
                </a:lnTo>
                <a:lnTo>
                  <a:pt x="8130117" y="461169"/>
                </a:lnTo>
                <a:lnTo>
                  <a:pt x="8128000" y="461963"/>
                </a:lnTo>
                <a:lnTo>
                  <a:pt x="8124825" y="465138"/>
                </a:lnTo>
                <a:lnTo>
                  <a:pt x="8122709" y="468313"/>
                </a:lnTo>
                <a:lnTo>
                  <a:pt x="8119533" y="474663"/>
                </a:lnTo>
                <a:lnTo>
                  <a:pt x="8115829" y="484981"/>
                </a:lnTo>
                <a:lnTo>
                  <a:pt x="8112654" y="493713"/>
                </a:lnTo>
                <a:lnTo>
                  <a:pt x="8111067" y="497682"/>
                </a:lnTo>
                <a:lnTo>
                  <a:pt x="8110009" y="500063"/>
                </a:lnTo>
                <a:lnTo>
                  <a:pt x="8111067" y="502444"/>
                </a:lnTo>
                <a:lnTo>
                  <a:pt x="8112654" y="504032"/>
                </a:lnTo>
                <a:lnTo>
                  <a:pt x="8115300" y="505619"/>
                </a:lnTo>
                <a:lnTo>
                  <a:pt x="8119533" y="506413"/>
                </a:lnTo>
                <a:lnTo>
                  <a:pt x="8125354" y="508000"/>
                </a:lnTo>
                <a:lnTo>
                  <a:pt x="8134350" y="508794"/>
                </a:lnTo>
                <a:lnTo>
                  <a:pt x="8157104" y="509588"/>
                </a:lnTo>
                <a:lnTo>
                  <a:pt x="8190971" y="509588"/>
                </a:lnTo>
                <a:lnTo>
                  <a:pt x="8195733" y="500856"/>
                </a:lnTo>
                <a:lnTo>
                  <a:pt x="8198909" y="493713"/>
                </a:lnTo>
                <a:lnTo>
                  <a:pt x="8201025" y="490538"/>
                </a:lnTo>
                <a:lnTo>
                  <a:pt x="8204200" y="488950"/>
                </a:lnTo>
                <a:lnTo>
                  <a:pt x="8207904" y="487363"/>
                </a:lnTo>
                <a:lnTo>
                  <a:pt x="8213725" y="486569"/>
                </a:lnTo>
                <a:lnTo>
                  <a:pt x="8221663" y="484981"/>
                </a:lnTo>
                <a:lnTo>
                  <a:pt x="8232775" y="484981"/>
                </a:lnTo>
                <a:lnTo>
                  <a:pt x="8246533" y="484981"/>
                </a:lnTo>
                <a:lnTo>
                  <a:pt x="8263467" y="487363"/>
                </a:lnTo>
                <a:lnTo>
                  <a:pt x="8311091" y="490538"/>
                </a:lnTo>
                <a:lnTo>
                  <a:pt x="8378296" y="496094"/>
                </a:lnTo>
                <a:lnTo>
                  <a:pt x="8374063" y="492919"/>
                </a:lnTo>
                <a:lnTo>
                  <a:pt x="8369829" y="488950"/>
                </a:lnTo>
                <a:lnTo>
                  <a:pt x="8365067" y="486569"/>
                </a:lnTo>
                <a:lnTo>
                  <a:pt x="8360304" y="483394"/>
                </a:lnTo>
                <a:lnTo>
                  <a:pt x="8349191" y="478631"/>
                </a:lnTo>
                <a:lnTo>
                  <a:pt x="8337550" y="476250"/>
                </a:lnTo>
                <a:lnTo>
                  <a:pt x="8307917" y="472281"/>
                </a:lnTo>
                <a:lnTo>
                  <a:pt x="8271933" y="469107"/>
                </a:lnTo>
                <a:lnTo>
                  <a:pt x="8280929" y="466725"/>
                </a:lnTo>
                <a:lnTo>
                  <a:pt x="8290983" y="465138"/>
                </a:lnTo>
                <a:lnTo>
                  <a:pt x="8303683" y="463550"/>
                </a:lnTo>
                <a:lnTo>
                  <a:pt x="8316913" y="463550"/>
                </a:lnTo>
                <a:lnTo>
                  <a:pt x="8347604" y="463550"/>
                </a:lnTo>
                <a:lnTo>
                  <a:pt x="8380413" y="465931"/>
                </a:lnTo>
                <a:lnTo>
                  <a:pt x="8414279" y="469107"/>
                </a:lnTo>
                <a:lnTo>
                  <a:pt x="8447088" y="473075"/>
                </a:lnTo>
                <a:lnTo>
                  <a:pt x="8478308" y="478631"/>
                </a:lnTo>
                <a:lnTo>
                  <a:pt x="8503179" y="484981"/>
                </a:lnTo>
                <a:lnTo>
                  <a:pt x="8460317" y="492125"/>
                </a:lnTo>
                <a:lnTo>
                  <a:pt x="8456612" y="493713"/>
                </a:lnTo>
                <a:lnTo>
                  <a:pt x="8454496" y="495300"/>
                </a:lnTo>
                <a:lnTo>
                  <a:pt x="8453438" y="497682"/>
                </a:lnTo>
                <a:lnTo>
                  <a:pt x="8451850" y="499269"/>
                </a:lnTo>
                <a:lnTo>
                  <a:pt x="8448675" y="504825"/>
                </a:lnTo>
                <a:lnTo>
                  <a:pt x="8443912" y="514350"/>
                </a:lnTo>
                <a:lnTo>
                  <a:pt x="8559271" y="500063"/>
                </a:lnTo>
                <a:lnTo>
                  <a:pt x="8593138" y="490538"/>
                </a:lnTo>
                <a:lnTo>
                  <a:pt x="8620125" y="483394"/>
                </a:lnTo>
                <a:lnTo>
                  <a:pt x="8641292" y="478631"/>
                </a:lnTo>
                <a:lnTo>
                  <a:pt x="8658225" y="474663"/>
                </a:lnTo>
                <a:lnTo>
                  <a:pt x="8670925" y="473869"/>
                </a:lnTo>
                <a:lnTo>
                  <a:pt x="8680979" y="473075"/>
                </a:lnTo>
                <a:lnTo>
                  <a:pt x="8688917" y="473869"/>
                </a:lnTo>
                <a:lnTo>
                  <a:pt x="8695796" y="476250"/>
                </a:lnTo>
                <a:lnTo>
                  <a:pt x="8709554" y="482600"/>
                </a:lnTo>
                <a:lnTo>
                  <a:pt x="8729662" y="488950"/>
                </a:lnTo>
                <a:lnTo>
                  <a:pt x="8743950" y="492919"/>
                </a:lnTo>
                <a:lnTo>
                  <a:pt x="8763000" y="495300"/>
                </a:lnTo>
                <a:lnTo>
                  <a:pt x="8787342" y="498475"/>
                </a:lnTo>
                <a:lnTo>
                  <a:pt x="8817504" y="499269"/>
                </a:lnTo>
                <a:lnTo>
                  <a:pt x="8841846" y="499269"/>
                </a:lnTo>
                <a:lnTo>
                  <a:pt x="8871479" y="498475"/>
                </a:lnTo>
                <a:lnTo>
                  <a:pt x="8905875" y="497682"/>
                </a:lnTo>
                <a:lnTo>
                  <a:pt x="8941858" y="496094"/>
                </a:lnTo>
                <a:lnTo>
                  <a:pt x="8977312" y="495300"/>
                </a:lnTo>
                <a:lnTo>
                  <a:pt x="9009592" y="496094"/>
                </a:lnTo>
                <a:lnTo>
                  <a:pt x="9023879" y="497682"/>
                </a:lnTo>
                <a:lnTo>
                  <a:pt x="9037108" y="499269"/>
                </a:lnTo>
                <a:lnTo>
                  <a:pt x="9048221" y="500856"/>
                </a:lnTo>
                <a:lnTo>
                  <a:pt x="9057217" y="504032"/>
                </a:lnTo>
                <a:lnTo>
                  <a:pt x="9069388" y="515144"/>
                </a:lnTo>
                <a:lnTo>
                  <a:pt x="9082088" y="509588"/>
                </a:lnTo>
                <a:lnTo>
                  <a:pt x="9095317" y="504825"/>
                </a:lnTo>
                <a:lnTo>
                  <a:pt x="9109075" y="500856"/>
                </a:lnTo>
                <a:lnTo>
                  <a:pt x="9123892" y="498475"/>
                </a:lnTo>
                <a:lnTo>
                  <a:pt x="9138179" y="496094"/>
                </a:lnTo>
                <a:lnTo>
                  <a:pt x="9153525" y="494506"/>
                </a:lnTo>
                <a:lnTo>
                  <a:pt x="9169929" y="494506"/>
                </a:lnTo>
                <a:lnTo>
                  <a:pt x="9186862" y="494506"/>
                </a:lnTo>
                <a:lnTo>
                  <a:pt x="9221788" y="495300"/>
                </a:lnTo>
                <a:lnTo>
                  <a:pt x="9259358" y="497682"/>
                </a:lnTo>
                <a:lnTo>
                  <a:pt x="9299046" y="499269"/>
                </a:lnTo>
                <a:lnTo>
                  <a:pt x="9340850" y="500856"/>
                </a:lnTo>
                <a:lnTo>
                  <a:pt x="9338204" y="471488"/>
                </a:lnTo>
                <a:lnTo>
                  <a:pt x="9463088" y="469107"/>
                </a:lnTo>
                <a:lnTo>
                  <a:pt x="9454092" y="483394"/>
                </a:lnTo>
                <a:lnTo>
                  <a:pt x="9449329" y="489744"/>
                </a:lnTo>
                <a:lnTo>
                  <a:pt x="9447742" y="490538"/>
                </a:lnTo>
                <a:lnTo>
                  <a:pt x="9446154" y="490538"/>
                </a:lnTo>
                <a:lnTo>
                  <a:pt x="9445625" y="489744"/>
                </a:lnTo>
                <a:lnTo>
                  <a:pt x="9444567" y="488950"/>
                </a:lnTo>
                <a:lnTo>
                  <a:pt x="9444038" y="488950"/>
                </a:lnTo>
                <a:lnTo>
                  <a:pt x="9442450" y="488950"/>
                </a:lnTo>
                <a:lnTo>
                  <a:pt x="9440862" y="489744"/>
                </a:lnTo>
                <a:lnTo>
                  <a:pt x="9435042" y="496094"/>
                </a:lnTo>
                <a:lnTo>
                  <a:pt x="9424988" y="509588"/>
                </a:lnTo>
                <a:lnTo>
                  <a:pt x="9463617" y="509588"/>
                </a:lnTo>
                <a:lnTo>
                  <a:pt x="9488488" y="509588"/>
                </a:lnTo>
                <a:lnTo>
                  <a:pt x="9497483" y="509588"/>
                </a:lnTo>
                <a:lnTo>
                  <a:pt x="9503833" y="510381"/>
                </a:lnTo>
                <a:lnTo>
                  <a:pt x="9508596" y="511969"/>
                </a:lnTo>
                <a:lnTo>
                  <a:pt x="9512300" y="513557"/>
                </a:lnTo>
                <a:lnTo>
                  <a:pt x="9514417" y="515144"/>
                </a:lnTo>
                <a:lnTo>
                  <a:pt x="9516004" y="516731"/>
                </a:lnTo>
                <a:lnTo>
                  <a:pt x="9516533" y="519907"/>
                </a:lnTo>
                <a:lnTo>
                  <a:pt x="9518121" y="521494"/>
                </a:lnTo>
                <a:lnTo>
                  <a:pt x="9519708" y="525463"/>
                </a:lnTo>
                <a:lnTo>
                  <a:pt x="9522354" y="529431"/>
                </a:lnTo>
                <a:lnTo>
                  <a:pt x="9526058" y="532606"/>
                </a:lnTo>
                <a:lnTo>
                  <a:pt x="9531350" y="536575"/>
                </a:lnTo>
                <a:lnTo>
                  <a:pt x="9644062" y="521494"/>
                </a:lnTo>
                <a:lnTo>
                  <a:pt x="9685338" y="520700"/>
                </a:lnTo>
                <a:lnTo>
                  <a:pt x="9707562" y="519907"/>
                </a:lnTo>
                <a:lnTo>
                  <a:pt x="9716558" y="519907"/>
                </a:lnTo>
                <a:lnTo>
                  <a:pt x="9717088" y="519113"/>
                </a:lnTo>
                <a:lnTo>
                  <a:pt x="9716029" y="519113"/>
                </a:lnTo>
                <a:lnTo>
                  <a:pt x="9714971" y="517525"/>
                </a:lnTo>
                <a:lnTo>
                  <a:pt x="9713912" y="516731"/>
                </a:lnTo>
                <a:lnTo>
                  <a:pt x="9714442" y="515938"/>
                </a:lnTo>
                <a:lnTo>
                  <a:pt x="9716558" y="514350"/>
                </a:lnTo>
                <a:lnTo>
                  <a:pt x="9720792" y="511175"/>
                </a:lnTo>
                <a:lnTo>
                  <a:pt x="9728200" y="508794"/>
                </a:lnTo>
                <a:lnTo>
                  <a:pt x="9739842" y="505619"/>
                </a:lnTo>
                <a:lnTo>
                  <a:pt x="9756775" y="500856"/>
                </a:lnTo>
                <a:lnTo>
                  <a:pt x="9775825" y="497682"/>
                </a:lnTo>
                <a:lnTo>
                  <a:pt x="9794875" y="494506"/>
                </a:lnTo>
                <a:lnTo>
                  <a:pt x="9815512" y="492125"/>
                </a:lnTo>
                <a:lnTo>
                  <a:pt x="9857846" y="488156"/>
                </a:lnTo>
                <a:lnTo>
                  <a:pt x="9902825" y="486569"/>
                </a:lnTo>
                <a:lnTo>
                  <a:pt x="9948333" y="486569"/>
                </a:lnTo>
                <a:lnTo>
                  <a:pt x="9993842" y="486569"/>
                </a:lnTo>
                <a:lnTo>
                  <a:pt x="10038292" y="487363"/>
                </a:lnTo>
                <a:lnTo>
                  <a:pt x="10080096" y="487363"/>
                </a:lnTo>
                <a:lnTo>
                  <a:pt x="10095971" y="487363"/>
                </a:lnTo>
                <a:lnTo>
                  <a:pt x="10110258" y="488156"/>
                </a:lnTo>
                <a:lnTo>
                  <a:pt x="10121900" y="488950"/>
                </a:lnTo>
                <a:lnTo>
                  <a:pt x="10131954" y="490538"/>
                </a:lnTo>
                <a:lnTo>
                  <a:pt x="10148888" y="493713"/>
                </a:lnTo>
                <a:lnTo>
                  <a:pt x="10165821" y="495300"/>
                </a:lnTo>
                <a:lnTo>
                  <a:pt x="10174817" y="496094"/>
                </a:lnTo>
                <a:lnTo>
                  <a:pt x="10184871" y="497682"/>
                </a:lnTo>
                <a:lnTo>
                  <a:pt x="10196512" y="496094"/>
                </a:lnTo>
                <a:lnTo>
                  <a:pt x="10210271" y="496094"/>
                </a:lnTo>
                <a:lnTo>
                  <a:pt x="10227204" y="494506"/>
                </a:lnTo>
                <a:lnTo>
                  <a:pt x="10247842" y="492125"/>
                </a:lnTo>
                <a:lnTo>
                  <a:pt x="10271125" y="488156"/>
                </a:lnTo>
                <a:lnTo>
                  <a:pt x="10299171" y="483394"/>
                </a:lnTo>
                <a:lnTo>
                  <a:pt x="10321925" y="481013"/>
                </a:lnTo>
                <a:lnTo>
                  <a:pt x="10342562" y="477838"/>
                </a:lnTo>
                <a:lnTo>
                  <a:pt x="10361612" y="477044"/>
                </a:lnTo>
                <a:lnTo>
                  <a:pt x="10377488" y="477044"/>
                </a:lnTo>
                <a:lnTo>
                  <a:pt x="10392304" y="478631"/>
                </a:lnTo>
                <a:lnTo>
                  <a:pt x="10406062" y="481013"/>
                </a:lnTo>
                <a:lnTo>
                  <a:pt x="10417704" y="483394"/>
                </a:lnTo>
                <a:lnTo>
                  <a:pt x="10428817" y="488156"/>
                </a:lnTo>
                <a:lnTo>
                  <a:pt x="10438342" y="492919"/>
                </a:lnTo>
                <a:lnTo>
                  <a:pt x="10447338" y="498475"/>
                </a:lnTo>
                <a:lnTo>
                  <a:pt x="10455804" y="504825"/>
                </a:lnTo>
                <a:lnTo>
                  <a:pt x="10464271" y="511969"/>
                </a:lnTo>
                <a:lnTo>
                  <a:pt x="10480146" y="527844"/>
                </a:lnTo>
                <a:lnTo>
                  <a:pt x="10497079" y="546894"/>
                </a:lnTo>
                <a:lnTo>
                  <a:pt x="10606088" y="656431"/>
                </a:lnTo>
                <a:lnTo>
                  <a:pt x="10634662" y="656431"/>
                </a:lnTo>
                <a:lnTo>
                  <a:pt x="10662708" y="655638"/>
                </a:lnTo>
                <a:lnTo>
                  <a:pt x="10690754" y="654050"/>
                </a:lnTo>
                <a:lnTo>
                  <a:pt x="10716683" y="653257"/>
                </a:lnTo>
                <a:lnTo>
                  <a:pt x="10741554" y="650875"/>
                </a:lnTo>
                <a:lnTo>
                  <a:pt x="10763250" y="650081"/>
                </a:lnTo>
                <a:lnTo>
                  <a:pt x="10782300" y="649288"/>
                </a:lnTo>
                <a:lnTo>
                  <a:pt x="10796058" y="648494"/>
                </a:lnTo>
                <a:lnTo>
                  <a:pt x="10813521" y="648494"/>
                </a:lnTo>
                <a:lnTo>
                  <a:pt x="10832571" y="648494"/>
                </a:lnTo>
                <a:lnTo>
                  <a:pt x="10853208" y="649288"/>
                </a:lnTo>
                <a:lnTo>
                  <a:pt x="10875962" y="650081"/>
                </a:lnTo>
                <a:lnTo>
                  <a:pt x="10900833" y="650081"/>
                </a:lnTo>
                <a:lnTo>
                  <a:pt x="10926233" y="650875"/>
                </a:lnTo>
                <a:lnTo>
                  <a:pt x="10953750" y="650875"/>
                </a:lnTo>
                <a:lnTo>
                  <a:pt x="10982325" y="650875"/>
                </a:lnTo>
                <a:lnTo>
                  <a:pt x="11010900" y="650081"/>
                </a:lnTo>
                <a:lnTo>
                  <a:pt x="11037888" y="650081"/>
                </a:lnTo>
                <a:lnTo>
                  <a:pt x="11064346" y="649288"/>
                </a:lnTo>
                <a:lnTo>
                  <a:pt x="11089746" y="650081"/>
                </a:lnTo>
                <a:lnTo>
                  <a:pt x="11114088" y="650875"/>
                </a:lnTo>
                <a:lnTo>
                  <a:pt x="11136842" y="654050"/>
                </a:lnTo>
                <a:lnTo>
                  <a:pt x="11147954" y="655638"/>
                </a:lnTo>
                <a:lnTo>
                  <a:pt x="11158538" y="657225"/>
                </a:lnTo>
                <a:lnTo>
                  <a:pt x="11169650" y="660400"/>
                </a:lnTo>
                <a:lnTo>
                  <a:pt x="11180233" y="664369"/>
                </a:lnTo>
                <a:lnTo>
                  <a:pt x="11194521" y="669925"/>
                </a:lnTo>
                <a:lnTo>
                  <a:pt x="11205104" y="674688"/>
                </a:lnTo>
                <a:lnTo>
                  <a:pt x="11211454" y="677863"/>
                </a:lnTo>
                <a:lnTo>
                  <a:pt x="11216217" y="681832"/>
                </a:lnTo>
                <a:lnTo>
                  <a:pt x="11220979" y="688975"/>
                </a:lnTo>
                <a:lnTo>
                  <a:pt x="11224154" y="696913"/>
                </a:lnTo>
                <a:lnTo>
                  <a:pt x="11228917" y="706438"/>
                </a:lnTo>
                <a:lnTo>
                  <a:pt x="11229975" y="709613"/>
                </a:lnTo>
                <a:lnTo>
                  <a:pt x="11228388" y="708819"/>
                </a:lnTo>
                <a:lnTo>
                  <a:pt x="11224683" y="707231"/>
                </a:lnTo>
                <a:lnTo>
                  <a:pt x="11222567" y="704057"/>
                </a:lnTo>
                <a:lnTo>
                  <a:pt x="11222038" y="704850"/>
                </a:lnTo>
                <a:lnTo>
                  <a:pt x="11224683" y="709613"/>
                </a:lnTo>
                <a:lnTo>
                  <a:pt x="11233679" y="720725"/>
                </a:lnTo>
                <a:lnTo>
                  <a:pt x="11242146" y="733425"/>
                </a:lnTo>
                <a:lnTo>
                  <a:pt x="11243204" y="733425"/>
                </a:lnTo>
                <a:lnTo>
                  <a:pt x="11242146" y="731838"/>
                </a:lnTo>
                <a:lnTo>
                  <a:pt x="11243204" y="731044"/>
                </a:lnTo>
                <a:lnTo>
                  <a:pt x="11245850" y="733425"/>
                </a:lnTo>
                <a:lnTo>
                  <a:pt x="11252729" y="737394"/>
                </a:lnTo>
                <a:lnTo>
                  <a:pt x="11296650" y="777875"/>
                </a:lnTo>
                <a:lnTo>
                  <a:pt x="11314642" y="791369"/>
                </a:lnTo>
                <a:lnTo>
                  <a:pt x="11329458" y="800894"/>
                </a:lnTo>
                <a:lnTo>
                  <a:pt x="11340571" y="807244"/>
                </a:lnTo>
                <a:lnTo>
                  <a:pt x="11349567" y="812007"/>
                </a:lnTo>
                <a:lnTo>
                  <a:pt x="11352742" y="815975"/>
                </a:lnTo>
                <a:lnTo>
                  <a:pt x="11356446" y="819944"/>
                </a:lnTo>
                <a:lnTo>
                  <a:pt x="11360150" y="823119"/>
                </a:lnTo>
                <a:lnTo>
                  <a:pt x="11363854" y="828675"/>
                </a:lnTo>
                <a:lnTo>
                  <a:pt x="11368617" y="836613"/>
                </a:lnTo>
                <a:lnTo>
                  <a:pt x="11371792" y="844550"/>
                </a:lnTo>
                <a:lnTo>
                  <a:pt x="11376554" y="854869"/>
                </a:lnTo>
                <a:lnTo>
                  <a:pt x="11381317" y="867569"/>
                </a:lnTo>
                <a:lnTo>
                  <a:pt x="11384492" y="876300"/>
                </a:lnTo>
                <a:lnTo>
                  <a:pt x="11387667" y="889000"/>
                </a:lnTo>
                <a:lnTo>
                  <a:pt x="11388725" y="895350"/>
                </a:lnTo>
                <a:lnTo>
                  <a:pt x="11389783" y="902494"/>
                </a:lnTo>
                <a:lnTo>
                  <a:pt x="11389783" y="910432"/>
                </a:lnTo>
                <a:lnTo>
                  <a:pt x="11389783" y="917575"/>
                </a:lnTo>
                <a:lnTo>
                  <a:pt x="11388725" y="925513"/>
                </a:lnTo>
                <a:lnTo>
                  <a:pt x="11387667" y="933450"/>
                </a:lnTo>
                <a:lnTo>
                  <a:pt x="11386079" y="939800"/>
                </a:lnTo>
                <a:lnTo>
                  <a:pt x="11382375" y="946944"/>
                </a:lnTo>
                <a:lnTo>
                  <a:pt x="11378671" y="954088"/>
                </a:lnTo>
                <a:lnTo>
                  <a:pt x="11373379" y="959644"/>
                </a:lnTo>
                <a:lnTo>
                  <a:pt x="11367558" y="964407"/>
                </a:lnTo>
                <a:lnTo>
                  <a:pt x="11360150" y="967582"/>
                </a:lnTo>
                <a:lnTo>
                  <a:pt x="11349567" y="971550"/>
                </a:lnTo>
                <a:lnTo>
                  <a:pt x="11333162" y="973932"/>
                </a:lnTo>
                <a:lnTo>
                  <a:pt x="11311996" y="976313"/>
                </a:lnTo>
                <a:lnTo>
                  <a:pt x="11286067" y="977900"/>
                </a:lnTo>
                <a:lnTo>
                  <a:pt x="11222038" y="981075"/>
                </a:lnTo>
                <a:lnTo>
                  <a:pt x="11142662" y="981869"/>
                </a:lnTo>
                <a:lnTo>
                  <a:pt x="11051117" y="981869"/>
                </a:lnTo>
                <a:lnTo>
                  <a:pt x="10950046" y="981075"/>
                </a:lnTo>
                <a:lnTo>
                  <a:pt x="10841567" y="978694"/>
                </a:lnTo>
                <a:lnTo>
                  <a:pt x="10729383" y="977107"/>
                </a:lnTo>
                <a:lnTo>
                  <a:pt x="10615083" y="975519"/>
                </a:lnTo>
                <a:lnTo>
                  <a:pt x="10501312" y="973138"/>
                </a:lnTo>
                <a:lnTo>
                  <a:pt x="10390717" y="971550"/>
                </a:lnTo>
                <a:lnTo>
                  <a:pt x="10286471" y="970757"/>
                </a:lnTo>
                <a:lnTo>
                  <a:pt x="10191221" y="970757"/>
                </a:lnTo>
                <a:lnTo>
                  <a:pt x="10106554" y="972344"/>
                </a:lnTo>
                <a:lnTo>
                  <a:pt x="10068983" y="973138"/>
                </a:lnTo>
                <a:lnTo>
                  <a:pt x="10036175" y="975519"/>
                </a:lnTo>
                <a:lnTo>
                  <a:pt x="10006012" y="977107"/>
                </a:lnTo>
                <a:lnTo>
                  <a:pt x="9981142" y="980282"/>
                </a:lnTo>
                <a:lnTo>
                  <a:pt x="9983258" y="987425"/>
                </a:lnTo>
                <a:lnTo>
                  <a:pt x="9986433" y="993775"/>
                </a:lnTo>
                <a:lnTo>
                  <a:pt x="9989079" y="1000125"/>
                </a:lnTo>
                <a:lnTo>
                  <a:pt x="9992254" y="1005682"/>
                </a:lnTo>
                <a:lnTo>
                  <a:pt x="9999662" y="1016794"/>
                </a:lnTo>
                <a:lnTo>
                  <a:pt x="10007600" y="1026319"/>
                </a:lnTo>
                <a:lnTo>
                  <a:pt x="10016067" y="1035050"/>
                </a:lnTo>
                <a:lnTo>
                  <a:pt x="10025062" y="1042194"/>
                </a:lnTo>
                <a:lnTo>
                  <a:pt x="10034588" y="1050132"/>
                </a:lnTo>
                <a:lnTo>
                  <a:pt x="10044112" y="1055688"/>
                </a:lnTo>
                <a:lnTo>
                  <a:pt x="10053108" y="1062038"/>
                </a:lnTo>
                <a:lnTo>
                  <a:pt x="10061046" y="1068388"/>
                </a:lnTo>
                <a:lnTo>
                  <a:pt x="10068983" y="1074738"/>
                </a:lnTo>
                <a:lnTo>
                  <a:pt x="10075862" y="1081088"/>
                </a:lnTo>
                <a:lnTo>
                  <a:pt x="10078508" y="1085057"/>
                </a:lnTo>
                <a:lnTo>
                  <a:pt x="10081683" y="1089025"/>
                </a:lnTo>
                <a:lnTo>
                  <a:pt x="10083800" y="1092994"/>
                </a:lnTo>
                <a:lnTo>
                  <a:pt x="10085388" y="1096963"/>
                </a:lnTo>
                <a:lnTo>
                  <a:pt x="10086446" y="1100932"/>
                </a:lnTo>
                <a:lnTo>
                  <a:pt x="10088033" y="1105694"/>
                </a:lnTo>
                <a:lnTo>
                  <a:pt x="10088033" y="1111250"/>
                </a:lnTo>
                <a:lnTo>
                  <a:pt x="10088033" y="1116013"/>
                </a:lnTo>
                <a:lnTo>
                  <a:pt x="10087504" y="1123157"/>
                </a:lnTo>
                <a:lnTo>
                  <a:pt x="10085388" y="1129507"/>
                </a:lnTo>
                <a:lnTo>
                  <a:pt x="10085388" y="1132682"/>
                </a:lnTo>
                <a:lnTo>
                  <a:pt x="10085388" y="1136650"/>
                </a:lnTo>
                <a:lnTo>
                  <a:pt x="10085917" y="1139825"/>
                </a:lnTo>
                <a:lnTo>
                  <a:pt x="10087504" y="1144588"/>
                </a:lnTo>
                <a:lnTo>
                  <a:pt x="10110788" y="1231107"/>
                </a:lnTo>
                <a:lnTo>
                  <a:pt x="10110258" y="1238250"/>
                </a:lnTo>
                <a:lnTo>
                  <a:pt x="10109200" y="1243807"/>
                </a:lnTo>
                <a:lnTo>
                  <a:pt x="10109200" y="1248569"/>
                </a:lnTo>
                <a:lnTo>
                  <a:pt x="10109200" y="1252538"/>
                </a:lnTo>
                <a:lnTo>
                  <a:pt x="10110258" y="1257300"/>
                </a:lnTo>
                <a:lnTo>
                  <a:pt x="10111846" y="1261269"/>
                </a:lnTo>
                <a:lnTo>
                  <a:pt x="10112904" y="1265238"/>
                </a:lnTo>
                <a:lnTo>
                  <a:pt x="10114492" y="1268413"/>
                </a:lnTo>
                <a:lnTo>
                  <a:pt x="10118725" y="1273969"/>
                </a:lnTo>
                <a:lnTo>
                  <a:pt x="10124017" y="1279525"/>
                </a:lnTo>
                <a:lnTo>
                  <a:pt x="10130896" y="1284288"/>
                </a:lnTo>
                <a:lnTo>
                  <a:pt x="10137246" y="1289050"/>
                </a:lnTo>
                <a:lnTo>
                  <a:pt x="10151004" y="1296988"/>
                </a:lnTo>
                <a:lnTo>
                  <a:pt x="10165821" y="1304925"/>
                </a:lnTo>
                <a:lnTo>
                  <a:pt x="10172171" y="1310482"/>
                </a:lnTo>
                <a:lnTo>
                  <a:pt x="10178521" y="1315244"/>
                </a:lnTo>
                <a:lnTo>
                  <a:pt x="10183283" y="1321594"/>
                </a:lnTo>
                <a:lnTo>
                  <a:pt x="10188046" y="1329532"/>
                </a:lnTo>
                <a:lnTo>
                  <a:pt x="10189104" y="1333500"/>
                </a:lnTo>
                <a:lnTo>
                  <a:pt x="10190162" y="1337469"/>
                </a:lnTo>
                <a:lnTo>
                  <a:pt x="10190162" y="1341438"/>
                </a:lnTo>
                <a:lnTo>
                  <a:pt x="10189104" y="1345407"/>
                </a:lnTo>
                <a:lnTo>
                  <a:pt x="10188046" y="1353344"/>
                </a:lnTo>
                <a:lnTo>
                  <a:pt x="10186458" y="1364457"/>
                </a:lnTo>
                <a:lnTo>
                  <a:pt x="10186458" y="1376363"/>
                </a:lnTo>
                <a:lnTo>
                  <a:pt x="10186458" y="1385888"/>
                </a:lnTo>
                <a:lnTo>
                  <a:pt x="10186458" y="1393825"/>
                </a:lnTo>
                <a:lnTo>
                  <a:pt x="10186988" y="1397794"/>
                </a:lnTo>
                <a:lnTo>
                  <a:pt x="10188046" y="1401763"/>
                </a:lnTo>
                <a:lnTo>
                  <a:pt x="10189104" y="1403350"/>
                </a:lnTo>
                <a:lnTo>
                  <a:pt x="10190692" y="1405732"/>
                </a:lnTo>
                <a:lnTo>
                  <a:pt x="10192808" y="1405732"/>
                </a:lnTo>
                <a:lnTo>
                  <a:pt x="10198100" y="1405732"/>
                </a:lnTo>
                <a:lnTo>
                  <a:pt x="10204450" y="1406525"/>
                </a:lnTo>
                <a:lnTo>
                  <a:pt x="10209212" y="1408113"/>
                </a:lnTo>
                <a:lnTo>
                  <a:pt x="10213446" y="1411288"/>
                </a:lnTo>
                <a:lnTo>
                  <a:pt x="10217679" y="1416050"/>
                </a:lnTo>
                <a:lnTo>
                  <a:pt x="10222971" y="1422400"/>
                </a:lnTo>
                <a:lnTo>
                  <a:pt x="10226146" y="1427163"/>
                </a:lnTo>
                <a:lnTo>
                  <a:pt x="10227204" y="1431132"/>
                </a:lnTo>
                <a:lnTo>
                  <a:pt x="10228792" y="1435100"/>
                </a:lnTo>
                <a:lnTo>
                  <a:pt x="10229321" y="1439069"/>
                </a:lnTo>
                <a:lnTo>
                  <a:pt x="10229321" y="1445419"/>
                </a:lnTo>
                <a:lnTo>
                  <a:pt x="10228262" y="1452563"/>
                </a:lnTo>
                <a:lnTo>
                  <a:pt x="10226675" y="1458913"/>
                </a:lnTo>
                <a:lnTo>
                  <a:pt x="10225088" y="1466057"/>
                </a:lnTo>
                <a:lnTo>
                  <a:pt x="10224558" y="1470025"/>
                </a:lnTo>
                <a:lnTo>
                  <a:pt x="10224558" y="1474788"/>
                </a:lnTo>
                <a:lnTo>
                  <a:pt x="10225088" y="1479550"/>
                </a:lnTo>
                <a:lnTo>
                  <a:pt x="10226146" y="1483519"/>
                </a:lnTo>
                <a:lnTo>
                  <a:pt x="10191221" y="1486694"/>
                </a:lnTo>
                <a:lnTo>
                  <a:pt x="10172171" y="1489075"/>
                </a:lnTo>
                <a:lnTo>
                  <a:pt x="10167408" y="1490663"/>
                </a:lnTo>
                <a:lnTo>
                  <a:pt x="10164233" y="1491457"/>
                </a:lnTo>
                <a:lnTo>
                  <a:pt x="10162117" y="1493044"/>
                </a:lnTo>
                <a:lnTo>
                  <a:pt x="10161588" y="1493838"/>
                </a:lnTo>
                <a:lnTo>
                  <a:pt x="10159471" y="1496219"/>
                </a:lnTo>
                <a:lnTo>
                  <a:pt x="10152592" y="1497807"/>
                </a:lnTo>
                <a:lnTo>
                  <a:pt x="10137246" y="1498600"/>
                </a:lnTo>
                <a:lnTo>
                  <a:pt x="10107083" y="1500982"/>
                </a:lnTo>
                <a:lnTo>
                  <a:pt x="10082742" y="1500982"/>
                </a:lnTo>
                <a:lnTo>
                  <a:pt x="10057871" y="1499394"/>
                </a:lnTo>
                <a:lnTo>
                  <a:pt x="10035117" y="1498600"/>
                </a:lnTo>
                <a:lnTo>
                  <a:pt x="10015008" y="1499394"/>
                </a:lnTo>
                <a:lnTo>
                  <a:pt x="10006012" y="1499394"/>
                </a:lnTo>
                <a:lnTo>
                  <a:pt x="9998075" y="1500982"/>
                </a:lnTo>
                <a:lnTo>
                  <a:pt x="9991196" y="1502569"/>
                </a:lnTo>
                <a:lnTo>
                  <a:pt x="9986433" y="1504157"/>
                </a:lnTo>
                <a:lnTo>
                  <a:pt x="9984317" y="1506538"/>
                </a:lnTo>
                <a:lnTo>
                  <a:pt x="9981671" y="1507332"/>
                </a:lnTo>
                <a:lnTo>
                  <a:pt x="9980612" y="1508919"/>
                </a:lnTo>
                <a:lnTo>
                  <a:pt x="9979554" y="1510507"/>
                </a:lnTo>
                <a:lnTo>
                  <a:pt x="9979025" y="1513682"/>
                </a:lnTo>
                <a:lnTo>
                  <a:pt x="9979025" y="1515269"/>
                </a:lnTo>
                <a:lnTo>
                  <a:pt x="9979554" y="1518444"/>
                </a:lnTo>
                <a:lnTo>
                  <a:pt x="9980612" y="1520826"/>
                </a:lnTo>
                <a:lnTo>
                  <a:pt x="9983258" y="1530351"/>
                </a:lnTo>
                <a:lnTo>
                  <a:pt x="9986962" y="1537494"/>
                </a:lnTo>
                <a:lnTo>
                  <a:pt x="9990667" y="1544638"/>
                </a:lnTo>
                <a:lnTo>
                  <a:pt x="9993842" y="1550194"/>
                </a:lnTo>
                <a:lnTo>
                  <a:pt x="9997017" y="1554957"/>
                </a:lnTo>
                <a:lnTo>
                  <a:pt x="10000721" y="1558926"/>
                </a:lnTo>
                <a:lnTo>
                  <a:pt x="10005483" y="1562894"/>
                </a:lnTo>
                <a:lnTo>
                  <a:pt x="10009717" y="1566863"/>
                </a:lnTo>
                <a:lnTo>
                  <a:pt x="10032471" y="1581944"/>
                </a:lnTo>
                <a:lnTo>
                  <a:pt x="10066867" y="1601788"/>
                </a:lnTo>
                <a:lnTo>
                  <a:pt x="10083800" y="1734344"/>
                </a:lnTo>
                <a:lnTo>
                  <a:pt x="10085917" y="1735138"/>
                </a:lnTo>
                <a:lnTo>
                  <a:pt x="10085917" y="1737519"/>
                </a:lnTo>
                <a:lnTo>
                  <a:pt x="10084329" y="1739107"/>
                </a:lnTo>
                <a:lnTo>
                  <a:pt x="10082212" y="1740694"/>
                </a:lnTo>
                <a:lnTo>
                  <a:pt x="10077979" y="1743869"/>
                </a:lnTo>
                <a:lnTo>
                  <a:pt x="10071100" y="1746251"/>
                </a:lnTo>
                <a:lnTo>
                  <a:pt x="10063162" y="1749426"/>
                </a:lnTo>
                <a:lnTo>
                  <a:pt x="10052050" y="1751807"/>
                </a:lnTo>
                <a:lnTo>
                  <a:pt x="10039879" y="1754982"/>
                </a:lnTo>
                <a:lnTo>
                  <a:pt x="10024533" y="1757363"/>
                </a:lnTo>
                <a:lnTo>
                  <a:pt x="10006012" y="1759744"/>
                </a:lnTo>
                <a:lnTo>
                  <a:pt x="9984846" y="1762126"/>
                </a:lnTo>
                <a:lnTo>
                  <a:pt x="9961562" y="1762919"/>
                </a:lnTo>
                <a:lnTo>
                  <a:pt x="9934046" y="1765301"/>
                </a:lnTo>
                <a:lnTo>
                  <a:pt x="9903354" y="1765301"/>
                </a:lnTo>
                <a:lnTo>
                  <a:pt x="9869488" y="1765301"/>
                </a:lnTo>
                <a:lnTo>
                  <a:pt x="9850438" y="1765301"/>
                </a:lnTo>
                <a:lnTo>
                  <a:pt x="9832975" y="1765301"/>
                </a:lnTo>
                <a:lnTo>
                  <a:pt x="9815512" y="1765301"/>
                </a:lnTo>
                <a:lnTo>
                  <a:pt x="9799638" y="1766094"/>
                </a:lnTo>
                <a:lnTo>
                  <a:pt x="9782704" y="1766094"/>
                </a:lnTo>
                <a:lnTo>
                  <a:pt x="9766300" y="1766888"/>
                </a:lnTo>
                <a:lnTo>
                  <a:pt x="9748838" y="1767682"/>
                </a:lnTo>
                <a:lnTo>
                  <a:pt x="9730317" y="1768476"/>
                </a:lnTo>
                <a:lnTo>
                  <a:pt x="9670521" y="1770857"/>
                </a:lnTo>
                <a:lnTo>
                  <a:pt x="9609667" y="1770857"/>
                </a:lnTo>
                <a:lnTo>
                  <a:pt x="9548283" y="1770857"/>
                </a:lnTo>
                <a:lnTo>
                  <a:pt x="9486371" y="1768476"/>
                </a:lnTo>
                <a:lnTo>
                  <a:pt x="9425517" y="1766888"/>
                </a:lnTo>
                <a:lnTo>
                  <a:pt x="9364662" y="1765301"/>
                </a:lnTo>
                <a:lnTo>
                  <a:pt x="9304867" y="1762919"/>
                </a:lnTo>
                <a:lnTo>
                  <a:pt x="9245600" y="1762126"/>
                </a:lnTo>
                <a:lnTo>
                  <a:pt x="9213321" y="1762126"/>
                </a:lnTo>
                <a:lnTo>
                  <a:pt x="9181571" y="1762919"/>
                </a:lnTo>
                <a:lnTo>
                  <a:pt x="9151408" y="1765301"/>
                </a:lnTo>
                <a:lnTo>
                  <a:pt x="9120717" y="1767682"/>
                </a:lnTo>
                <a:lnTo>
                  <a:pt x="9090025" y="1770857"/>
                </a:lnTo>
                <a:lnTo>
                  <a:pt x="9058275" y="1773238"/>
                </a:lnTo>
                <a:lnTo>
                  <a:pt x="9026525" y="1775619"/>
                </a:lnTo>
                <a:lnTo>
                  <a:pt x="8992658" y="1778001"/>
                </a:lnTo>
                <a:lnTo>
                  <a:pt x="9157229" y="1938338"/>
                </a:lnTo>
                <a:lnTo>
                  <a:pt x="9167812" y="1959769"/>
                </a:lnTo>
                <a:lnTo>
                  <a:pt x="9178925" y="1982788"/>
                </a:lnTo>
                <a:lnTo>
                  <a:pt x="9184746" y="1996282"/>
                </a:lnTo>
                <a:lnTo>
                  <a:pt x="9188979" y="2008982"/>
                </a:lnTo>
                <a:lnTo>
                  <a:pt x="9190567" y="2015332"/>
                </a:lnTo>
                <a:lnTo>
                  <a:pt x="9191625" y="2022476"/>
                </a:lnTo>
                <a:lnTo>
                  <a:pt x="9192683" y="2028032"/>
                </a:lnTo>
                <a:lnTo>
                  <a:pt x="9193212" y="2034382"/>
                </a:lnTo>
                <a:lnTo>
                  <a:pt x="9193212" y="2039938"/>
                </a:lnTo>
                <a:lnTo>
                  <a:pt x="9192683" y="2046288"/>
                </a:lnTo>
                <a:lnTo>
                  <a:pt x="9191096" y="2051844"/>
                </a:lnTo>
                <a:lnTo>
                  <a:pt x="9188979" y="2057401"/>
                </a:lnTo>
                <a:lnTo>
                  <a:pt x="9185804" y="2062957"/>
                </a:lnTo>
                <a:lnTo>
                  <a:pt x="9182100" y="2067719"/>
                </a:lnTo>
                <a:lnTo>
                  <a:pt x="9177867" y="2072482"/>
                </a:lnTo>
                <a:lnTo>
                  <a:pt x="9172575" y="2077244"/>
                </a:lnTo>
                <a:lnTo>
                  <a:pt x="9166225" y="2082007"/>
                </a:lnTo>
                <a:lnTo>
                  <a:pt x="9158817" y="2085182"/>
                </a:lnTo>
                <a:lnTo>
                  <a:pt x="9150350" y="2089151"/>
                </a:lnTo>
                <a:lnTo>
                  <a:pt x="9140825" y="2092326"/>
                </a:lnTo>
                <a:lnTo>
                  <a:pt x="9129712" y="2094707"/>
                </a:lnTo>
                <a:lnTo>
                  <a:pt x="9118071" y="2097088"/>
                </a:lnTo>
                <a:lnTo>
                  <a:pt x="9103783" y="2098676"/>
                </a:lnTo>
                <a:lnTo>
                  <a:pt x="9089496" y="2099469"/>
                </a:lnTo>
                <a:lnTo>
                  <a:pt x="9052454" y="2101057"/>
                </a:lnTo>
                <a:lnTo>
                  <a:pt x="9015412" y="2101057"/>
                </a:lnTo>
                <a:lnTo>
                  <a:pt x="8977842" y="2101057"/>
                </a:lnTo>
                <a:lnTo>
                  <a:pt x="8940271" y="2100263"/>
                </a:lnTo>
                <a:lnTo>
                  <a:pt x="8903229" y="2100263"/>
                </a:lnTo>
                <a:lnTo>
                  <a:pt x="8867246" y="2101057"/>
                </a:lnTo>
                <a:lnTo>
                  <a:pt x="8849783" y="2102644"/>
                </a:lnTo>
                <a:lnTo>
                  <a:pt x="8832321" y="2104232"/>
                </a:lnTo>
                <a:lnTo>
                  <a:pt x="8814329" y="2105026"/>
                </a:lnTo>
                <a:lnTo>
                  <a:pt x="8797396" y="2108201"/>
                </a:lnTo>
                <a:lnTo>
                  <a:pt x="8761942" y="2112963"/>
                </a:lnTo>
                <a:lnTo>
                  <a:pt x="8739717" y="2114551"/>
                </a:lnTo>
                <a:lnTo>
                  <a:pt x="8729662" y="2115344"/>
                </a:lnTo>
                <a:lnTo>
                  <a:pt x="8726488" y="2115344"/>
                </a:lnTo>
                <a:lnTo>
                  <a:pt x="8728604" y="2116138"/>
                </a:lnTo>
                <a:lnTo>
                  <a:pt x="8730721" y="2119313"/>
                </a:lnTo>
                <a:lnTo>
                  <a:pt x="8731779" y="2121694"/>
                </a:lnTo>
                <a:lnTo>
                  <a:pt x="8730721" y="2124869"/>
                </a:lnTo>
                <a:lnTo>
                  <a:pt x="8729662" y="2129632"/>
                </a:lnTo>
                <a:lnTo>
                  <a:pt x="8725958" y="2134394"/>
                </a:lnTo>
                <a:lnTo>
                  <a:pt x="8722254" y="2139951"/>
                </a:lnTo>
                <a:lnTo>
                  <a:pt x="8719079" y="2143126"/>
                </a:lnTo>
                <a:lnTo>
                  <a:pt x="8717492" y="2147094"/>
                </a:lnTo>
                <a:lnTo>
                  <a:pt x="8716433" y="2148682"/>
                </a:lnTo>
                <a:lnTo>
                  <a:pt x="8716433" y="2151857"/>
                </a:lnTo>
                <a:lnTo>
                  <a:pt x="8717492" y="2153444"/>
                </a:lnTo>
                <a:lnTo>
                  <a:pt x="8719079" y="2155032"/>
                </a:lnTo>
                <a:lnTo>
                  <a:pt x="8721196" y="2157413"/>
                </a:lnTo>
                <a:lnTo>
                  <a:pt x="8729662" y="2159794"/>
                </a:lnTo>
                <a:lnTo>
                  <a:pt x="8739717" y="2164557"/>
                </a:lnTo>
                <a:lnTo>
                  <a:pt x="8753475" y="2172494"/>
                </a:lnTo>
                <a:lnTo>
                  <a:pt x="8769879" y="2182813"/>
                </a:lnTo>
                <a:lnTo>
                  <a:pt x="8781521" y="2190751"/>
                </a:lnTo>
                <a:lnTo>
                  <a:pt x="8792633" y="2201069"/>
                </a:lnTo>
                <a:lnTo>
                  <a:pt x="8803746" y="2212976"/>
                </a:lnTo>
                <a:lnTo>
                  <a:pt x="8813271" y="2227263"/>
                </a:lnTo>
                <a:lnTo>
                  <a:pt x="8817504" y="2233613"/>
                </a:lnTo>
                <a:lnTo>
                  <a:pt x="8821738" y="2240757"/>
                </a:lnTo>
                <a:lnTo>
                  <a:pt x="8825442" y="2248694"/>
                </a:lnTo>
                <a:lnTo>
                  <a:pt x="8828617" y="2255838"/>
                </a:lnTo>
                <a:lnTo>
                  <a:pt x="8831262" y="2263776"/>
                </a:lnTo>
                <a:lnTo>
                  <a:pt x="8833379" y="2270919"/>
                </a:lnTo>
                <a:lnTo>
                  <a:pt x="8834438" y="2278063"/>
                </a:lnTo>
                <a:lnTo>
                  <a:pt x="8835496" y="2285207"/>
                </a:lnTo>
                <a:lnTo>
                  <a:pt x="8835496" y="2292351"/>
                </a:lnTo>
                <a:lnTo>
                  <a:pt x="8834967" y="2299494"/>
                </a:lnTo>
                <a:lnTo>
                  <a:pt x="8833379" y="2306638"/>
                </a:lnTo>
                <a:lnTo>
                  <a:pt x="8831262" y="2312988"/>
                </a:lnTo>
                <a:lnTo>
                  <a:pt x="8827558" y="2319338"/>
                </a:lnTo>
                <a:lnTo>
                  <a:pt x="8823854" y="2324894"/>
                </a:lnTo>
                <a:lnTo>
                  <a:pt x="8819092" y="2330451"/>
                </a:lnTo>
                <a:lnTo>
                  <a:pt x="8812212" y="2336007"/>
                </a:lnTo>
                <a:lnTo>
                  <a:pt x="8805862" y="2340769"/>
                </a:lnTo>
                <a:lnTo>
                  <a:pt x="8796867" y="2345532"/>
                </a:lnTo>
                <a:lnTo>
                  <a:pt x="8787342" y="2349501"/>
                </a:lnTo>
                <a:lnTo>
                  <a:pt x="8777288" y="2352676"/>
                </a:lnTo>
                <a:lnTo>
                  <a:pt x="8764588" y="2355057"/>
                </a:lnTo>
                <a:lnTo>
                  <a:pt x="8751358" y="2357438"/>
                </a:lnTo>
                <a:lnTo>
                  <a:pt x="8737600" y="2358232"/>
                </a:lnTo>
                <a:lnTo>
                  <a:pt x="8721196" y="2359026"/>
                </a:lnTo>
                <a:lnTo>
                  <a:pt x="8032750" y="2360613"/>
                </a:lnTo>
                <a:lnTo>
                  <a:pt x="7984067" y="2360613"/>
                </a:lnTo>
                <a:lnTo>
                  <a:pt x="7943321" y="2360613"/>
                </a:lnTo>
                <a:lnTo>
                  <a:pt x="7906279" y="2359026"/>
                </a:lnTo>
                <a:lnTo>
                  <a:pt x="7874000" y="2359026"/>
                </a:lnTo>
                <a:lnTo>
                  <a:pt x="7842779" y="2359026"/>
                </a:lnTo>
                <a:lnTo>
                  <a:pt x="7811029" y="2359026"/>
                </a:lnTo>
                <a:lnTo>
                  <a:pt x="7776634" y="2360613"/>
                </a:lnTo>
                <a:lnTo>
                  <a:pt x="7738534" y="2361407"/>
                </a:lnTo>
                <a:lnTo>
                  <a:pt x="7722659" y="2362201"/>
                </a:lnTo>
                <a:lnTo>
                  <a:pt x="7708900" y="2362201"/>
                </a:lnTo>
                <a:lnTo>
                  <a:pt x="7696200" y="2362201"/>
                </a:lnTo>
                <a:lnTo>
                  <a:pt x="7684559" y="2362201"/>
                </a:lnTo>
                <a:lnTo>
                  <a:pt x="7671859" y="2362201"/>
                </a:lnTo>
                <a:lnTo>
                  <a:pt x="7658100" y="2362201"/>
                </a:lnTo>
                <a:lnTo>
                  <a:pt x="7641696" y="2362201"/>
                </a:lnTo>
                <a:lnTo>
                  <a:pt x="7622646" y="2362201"/>
                </a:lnTo>
                <a:lnTo>
                  <a:pt x="7208309" y="2368551"/>
                </a:lnTo>
                <a:lnTo>
                  <a:pt x="7172325" y="2371726"/>
                </a:lnTo>
                <a:lnTo>
                  <a:pt x="7133167" y="2374107"/>
                </a:lnTo>
                <a:lnTo>
                  <a:pt x="7091363" y="2376488"/>
                </a:lnTo>
                <a:lnTo>
                  <a:pt x="7047442" y="2378076"/>
                </a:lnTo>
                <a:lnTo>
                  <a:pt x="7001934" y="2379663"/>
                </a:lnTo>
                <a:lnTo>
                  <a:pt x="6955367" y="2382044"/>
                </a:lnTo>
                <a:lnTo>
                  <a:pt x="6907742" y="2382838"/>
                </a:lnTo>
                <a:lnTo>
                  <a:pt x="6858529" y="2383632"/>
                </a:lnTo>
                <a:lnTo>
                  <a:pt x="6809317" y="2384426"/>
                </a:lnTo>
                <a:lnTo>
                  <a:pt x="6761163" y="2385219"/>
                </a:lnTo>
                <a:lnTo>
                  <a:pt x="6712479" y="2385219"/>
                </a:lnTo>
                <a:lnTo>
                  <a:pt x="6664854" y="2386807"/>
                </a:lnTo>
                <a:lnTo>
                  <a:pt x="6619875" y="2387601"/>
                </a:lnTo>
                <a:lnTo>
                  <a:pt x="6574896" y="2388394"/>
                </a:lnTo>
                <a:lnTo>
                  <a:pt x="6532563" y="2389188"/>
                </a:lnTo>
                <a:lnTo>
                  <a:pt x="6492875" y="2389982"/>
                </a:lnTo>
                <a:lnTo>
                  <a:pt x="6165321" y="2393951"/>
                </a:lnTo>
                <a:lnTo>
                  <a:pt x="6108700" y="2395538"/>
                </a:lnTo>
                <a:lnTo>
                  <a:pt x="6051021" y="2397919"/>
                </a:lnTo>
                <a:lnTo>
                  <a:pt x="5991754" y="2399507"/>
                </a:lnTo>
                <a:lnTo>
                  <a:pt x="5931429" y="2400301"/>
                </a:lnTo>
                <a:lnTo>
                  <a:pt x="5872692" y="2401094"/>
                </a:lnTo>
                <a:lnTo>
                  <a:pt x="5815013" y="2401094"/>
                </a:lnTo>
                <a:lnTo>
                  <a:pt x="5759450" y="2400301"/>
                </a:lnTo>
                <a:lnTo>
                  <a:pt x="5706534" y="2398713"/>
                </a:lnTo>
                <a:lnTo>
                  <a:pt x="5680076" y="2396332"/>
                </a:lnTo>
                <a:lnTo>
                  <a:pt x="5655734" y="2396332"/>
                </a:lnTo>
                <a:lnTo>
                  <a:pt x="5632451" y="2396332"/>
                </a:lnTo>
                <a:lnTo>
                  <a:pt x="5609696" y="2396332"/>
                </a:lnTo>
                <a:lnTo>
                  <a:pt x="5566834" y="2398713"/>
                </a:lnTo>
                <a:lnTo>
                  <a:pt x="5523442" y="2401094"/>
                </a:lnTo>
                <a:lnTo>
                  <a:pt x="5478463" y="2403476"/>
                </a:lnTo>
                <a:lnTo>
                  <a:pt x="5430838" y="2405063"/>
                </a:lnTo>
                <a:lnTo>
                  <a:pt x="5405438" y="2405063"/>
                </a:lnTo>
                <a:lnTo>
                  <a:pt x="5377392" y="2405063"/>
                </a:lnTo>
                <a:lnTo>
                  <a:pt x="5348817" y="2404269"/>
                </a:lnTo>
                <a:lnTo>
                  <a:pt x="5317596" y="2401888"/>
                </a:lnTo>
                <a:lnTo>
                  <a:pt x="5299604" y="2400301"/>
                </a:lnTo>
                <a:lnTo>
                  <a:pt x="5284259" y="2397919"/>
                </a:lnTo>
                <a:lnTo>
                  <a:pt x="5271029" y="2394744"/>
                </a:lnTo>
                <a:lnTo>
                  <a:pt x="5258859" y="2392363"/>
                </a:lnTo>
                <a:lnTo>
                  <a:pt x="5247217" y="2388394"/>
                </a:lnTo>
                <a:lnTo>
                  <a:pt x="5234517" y="2385219"/>
                </a:lnTo>
                <a:lnTo>
                  <a:pt x="5220759" y="2382838"/>
                </a:lnTo>
                <a:lnTo>
                  <a:pt x="5205413" y="2380457"/>
                </a:lnTo>
                <a:lnTo>
                  <a:pt x="5188479" y="2379663"/>
                </a:lnTo>
                <a:lnTo>
                  <a:pt x="5161492" y="2380457"/>
                </a:lnTo>
                <a:lnTo>
                  <a:pt x="5126038" y="2382838"/>
                </a:lnTo>
                <a:lnTo>
                  <a:pt x="5085821" y="2384426"/>
                </a:lnTo>
                <a:lnTo>
                  <a:pt x="5041900" y="2385219"/>
                </a:lnTo>
                <a:lnTo>
                  <a:pt x="4998509" y="2387601"/>
                </a:lnTo>
                <a:lnTo>
                  <a:pt x="4957763" y="2387601"/>
                </a:lnTo>
                <a:lnTo>
                  <a:pt x="4922309" y="2386807"/>
                </a:lnTo>
                <a:lnTo>
                  <a:pt x="4887384" y="2385219"/>
                </a:lnTo>
                <a:lnTo>
                  <a:pt x="4855104" y="2384426"/>
                </a:lnTo>
                <a:lnTo>
                  <a:pt x="4824942" y="2384426"/>
                </a:lnTo>
                <a:lnTo>
                  <a:pt x="4797954" y="2384426"/>
                </a:lnTo>
                <a:lnTo>
                  <a:pt x="4772025" y="2385219"/>
                </a:lnTo>
                <a:lnTo>
                  <a:pt x="4748742" y="2385219"/>
                </a:lnTo>
                <a:lnTo>
                  <a:pt x="4725459" y="2385219"/>
                </a:lnTo>
                <a:lnTo>
                  <a:pt x="4702704" y="2385219"/>
                </a:lnTo>
                <a:lnTo>
                  <a:pt x="4655079" y="2383632"/>
                </a:lnTo>
                <a:lnTo>
                  <a:pt x="4616979" y="2382044"/>
                </a:lnTo>
                <a:lnTo>
                  <a:pt x="4585229" y="2378869"/>
                </a:lnTo>
                <a:lnTo>
                  <a:pt x="4558242" y="2374901"/>
                </a:lnTo>
                <a:lnTo>
                  <a:pt x="4533371" y="2372519"/>
                </a:lnTo>
                <a:lnTo>
                  <a:pt x="4506384" y="2370932"/>
                </a:lnTo>
                <a:lnTo>
                  <a:pt x="4474634" y="2368551"/>
                </a:lnTo>
                <a:lnTo>
                  <a:pt x="4436534" y="2367757"/>
                </a:lnTo>
                <a:lnTo>
                  <a:pt x="4442884" y="2356644"/>
                </a:lnTo>
                <a:lnTo>
                  <a:pt x="4446588" y="2351088"/>
                </a:lnTo>
                <a:lnTo>
                  <a:pt x="4449234" y="2347913"/>
                </a:lnTo>
                <a:lnTo>
                  <a:pt x="4451879" y="2347913"/>
                </a:lnTo>
                <a:lnTo>
                  <a:pt x="4455584" y="2347913"/>
                </a:lnTo>
                <a:lnTo>
                  <a:pt x="4462992" y="2346326"/>
                </a:lnTo>
                <a:lnTo>
                  <a:pt x="4475163" y="2339976"/>
                </a:lnTo>
                <a:lnTo>
                  <a:pt x="4495271" y="2328863"/>
                </a:lnTo>
                <a:lnTo>
                  <a:pt x="4441826" y="2328863"/>
                </a:lnTo>
                <a:lnTo>
                  <a:pt x="4382559" y="2329657"/>
                </a:lnTo>
                <a:lnTo>
                  <a:pt x="4316942" y="2329657"/>
                </a:lnTo>
                <a:lnTo>
                  <a:pt x="4249209" y="2330451"/>
                </a:lnTo>
                <a:lnTo>
                  <a:pt x="4177242" y="2329657"/>
                </a:lnTo>
                <a:lnTo>
                  <a:pt x="4103688" y="2329657"/>
                </a:lnTo>
                <a:lnTo>
                  <a:pt x="4029075" y="2328863"/>
                </a:lnTo>
                <a:lnTo>
                  <a:pt x="3956050" y="2325688"/>
                </a:lnTo>
                <a:lnTo>
                  <a:pt x="3883026" y="2323307"/>
                </a:lnTo>
                <a:lnTo>
                  <a:pt x="3813705" y="2319338"/>
                </a:lnTo>
                <a:lnTo>
                  <a:pt x="3747559" y="2313782"/>
                </a:lnTo>
                <a:lnTo>
                  <a:pt x="3686175" y="2307432"/>
                </a:lnTo>
                <a:lnTo>
                  <a:pt x="3657600" y="2302669"/>
                </a:lnTo>
                <a:lnTo>
                  <a:pt x="3631142" y="2298701"/>
                </a:lnTo>
                <a:lnTo>
                  <a:pt x="3606271" y="2293938"/>
                </a:lnTo>
                <a:lnTo>
                  <a:pt x="3582988" y="2288382"/>
                </a:lnTo>
                <a:lnTo>
                  <a:pt x="3561292" y="2282826"/>
                </a:lnTo>
                <a:lnTo>
                  <a:pt x="3543300" y="2276476"/>
                </a:lnTo>
                <a:lnTo>
                  <a:pt x="3526367" y="2270126"/>
                </a:lnTo>
                <a:lnTo>
                  <a:pt x="3512608" y="2262188"/>
                </a:lnTo>
                <a:lnTo>
                  <a:pt x="3495675" y="2253457"/>
                </a:lnTo>
                <a:lnTo>
                  <a:pt x="3480330" y="2243138"/>
                </a:lnTo>
                <a:lnTo>
                  <a:pt x="3466042" y="2233613"/>
                </a:lnTo>
                <a:lnTo>
                  <a:pt x="3453871" y="2224088"/>
                </a:lnTo>
                <a:lnTo>
                  <a:pt x="3442230" y="2215357"/>
                </a:lnTo>
                <a:lnTo>
                  <a:pt x="3431646" y="2205832"/>
                </a:lnTo>
                <a:lnTo>
                  <a:pt x="3422121" y="2196307"/>
                </a:lnTo>
                <a:lnTo>
                  <a:pt x="3413654" y="2186782"/>
                </a:lnTo>
                <a:lnTo>
                  <a:pt x="3406246" y="2178844"/>
                </a:lnTo>
                <a:lnTo>
                  <a:pt x="3398838" y="2170113"/>
                </a:lnTo>
                <a:lnTo>
                  <a:pt x="3393017" y="2161382"/>
                </a:lnTo>
                <a:lnTo>
                  <a:pt x="3387725" y="2152651"/>
                </a:lnTo>
                <a:lnTo>
                  <a:pt x="3383492" y="2143919"/>
                </a:lnTo>
                <a:lnTo>
                  <a:pt x="3379259" y="2135982"/>
                </a:lnTo>
                <a:lnTo>
                  <a:pt x="3375555" y="2128044"/>
                </a:lnTo>
                <a:lnTo>
                  <a:pt x="3372380" y="2120107"/>
                </a:lnTo>
                <a:lnTo>
                  <a:pt x="3368146" y="2104232"/>
                </a:lnTo>
                <a:lnTo>
                  <a:pt x="3364442" y="2088357"/>
                </a:lnTo>
                <a:lnTo>
                  <a:pt x="3362325" y="2073276"/>
                </a:lnTo>
                <a:lnTo>
                  <a:pt x="3359150" y="2059782"/>
                </a:lnTo>
                <a:lnTo>
                  <a:pt x="3357033" y="2044701"/>
                </a:lnTo>
                <a:lnTo>
                  <a:pt x="3353330" y="2030413"/>
                </a:lnTo>
                <a:lnTo>
                  <a:pt x="3351213" y="2024063"/>
                </a:lnTo>
                <a:lnTo>
                  <a:pt x="3349096" y="2016919"/>
                </a:lnTo>
                <a:lnTo>
                  <a:pt x="3345921" y="2009776"/>
                </a:lnTo>
                <a:lnTo>
                  <a:pt x="3343275" y="2003426"/>
                </a:lnTo>
                <a:lnTo>
                  <a:pt x="3284009" y="2004219"/>
                </a:lnTo>
                <a:lnTo>
                  <a:pt x="3218392" y="2006601"/>
                </a:lnTo>
                <a:lnTo>
                  <a:pt x="3149071" y="2007394"/>
                </a:lnTo>
                <a:lnTo>
                  <a:pt x="3076575" y="2008982"/>
                </a:lnTo>
                <a:lnTo>
                  <a:pt x="3000905" y="2011363"/>
                </a:lnTo>
                <a:lnTo>
                  <a:pt x="2924175" y="2012157"/>
                </a:lnTo>
                <a:lnTo>
                  <a:pt x="2846388" y="2013744"/>
                </a:lnTo>
                <a:lnTo>
                  <a:pt x="2768600" y="2014538"/>
                </a:lnTo>
                <a:lnTo>
                  <a:pt x="2692400" y="2015332"/>
                </a:lnTo>
                <a:lnTo>
                  <a:pt x="2619375" y="2016919"/>
                </a:lnTo>
                <a:lnTo>
                  <a:pt x="2548996" y="2016919"/>
                </a:lnTo>
                <a:lnTo>
                  <a:pt x="2482850" y="2016919"/>
                </a:lnTo>
                <a:lnTo>
                  <a:pt x="2421996" y="2015332"/>
                </a:lnTo>
                <a:lnTo>
                  <a:pt x="2368021" y="2014538"/>
                </a:lnTo>
                <a:lnTo>
                  <a:pt x="2320396" y="2012157"/>
                </a:lnTo>
                <a:lnTo>
                  <a:pt x="2281238" y="2008982"/>
                </a:lnTo>
                <a:lnTo>
                  <a:pt x="2246842" y="2004219"/>
                </a:lnTo>
                <a:lnTo>
                  <a:pt x="2215092" y="1998663"/>
                </a:lnTo>
                <a:lnTo>
                  <a:pt x="2185988" y="1992313"/>
                </a:lnTo>
                <a:lnTo>
                  <a:pt x="2159530" y="1985169"/>
                </a:lnTo>
                <a:lnTo>
                  <a:pt x="2147359" y="1980407"/>
                </a:lnTo>
                <a:lnTo>
                  <a:pt x="2136246" y="1975644"/>
                </a:lnTo>
                <a:lnTo>
                  <a:pt x="2125134" y="1970882"/>
                </a:lnTo>
                <a:lnTo>
                  <a:pt x="2115080" y="1966119"/>
                </a:lnTo>
                <a:lnTo>
                  <a:pt x="2104496" y="1960563"/>
                </a:lnTo>
                <a:lnTo>
                  <a:pt x="2096029" y="1955007"/>
                </a:lnTo>
                <a:lnTo>
                  <a:pt x="2087034" y="1949451"/>
                </a:lnTo>
                <a:lnTo>
                  <a:pt x="2079096" y="1943894"/>
                </a:lnTo>
                <a:lnTo>
                  <a:pt x="2071688" y="1937544"/>
                </a:lnTo>
                <a:lnTo>
                  <a:pt x="2064279" y="1931194"/>
                </a:lnTo>
                <a:lnTo>
                  <a:pt x="2057929" y="1925638"/>
                </a:lnTo>
                <a:lnTo>
                  <a:pt x="2052109" y="1917701"/>
                </a:lnTo>
                <a:lnTo>
                  <a:pt x="2046288" y="1911351"/>
                </a:lnTo>
                <a:lnTo>
                  <a:pt x="2041525" y="1905001"/>
                </a:lnTo>
                <a:lnTo>
                  <a:pt x="2036763" y="1897063"/>
                </a:lnTo>
                <a:lnTo>
                  <a:pt x="2033059" y="1889919"/>
                </a:lnTo>
                <a:lnTo>
                  <a:pt x="2029354" y="1883569"/>
                </a:lnTo>
                <a:lnTo>
                  <a:pt x="2026179" y="1874838"/>
                </a:lnTo>
                <a:lnTo>
                  <a:pt x="2023534" y="1867694"/>
                </a:lnTo>
                <a:lnTo>
                  <a:pt x="2020888" y="1859757"/>
                </a:lnTo>
                <a:lnTo>
                  <a:pt x="2018771" y="1852613"/>
                </a:lnTo>
                <a:lnTo>
                  <a:pt x="2017713" y="1844676"/>
                </a:lnTo>
                <a:lnTo>
                  <a:pt x="2016125" y="1836738"/>
                </a:lnTo>
                <a:lnTo>
                  <a:pt x="2015067" y="1828801"/>
                </a:lnTo>
                <a:lnTo>
                  <a:pt x="2014009" y="1815307"/>
                </a:lnTo>
                <a:lnTo>
                  <a:pt x="2010304" y="1809751"/>
                </a:lnTo>
                <a:lnTo>
                  <a:pt x="2006600" y="1804988"/>
                </a:lnTo>
                <a:lnTo>
                  <a:pt x="2001309" y="1799432"/>
                </a:lnTo>
                <a:lnTo>
                  <a:pt x="1995488" y="1794669"/>
                </a:lnTo>
                <a:lnTo>
                  <a:pt x="1983846" y="1785938"/>
                </a:lnTo>
                <a:lnTo>
                  <a:pt x="1972734" y="1775619"/>
                </a:lnTo>
                <a:lnTo>
                  <a:pt x="1968500" y="1770063"/>
                </a:lnTo>
                <a:lnTo>
                  <a:pt x="1963738" y="1762919"/>
                </a:lnTo>
                <a:lnTo>
                  <a:pt x="1960563" y="1756569"/>
                </a:lnTo>
                <a:lnTo>
                  <a:pt x="1957917" y="1749426"/>
                </a:lnTo>
                <a:lnTo>
                  <a:pt x="1957917" y="1745457"/>
                </a:lnTo>
                <a:lnTo>
                  <a:pt x="1957388" y="1741488"/>
                </a:lnTo>
                <a:lnTo>
                  <a:pt x="1957388" y="1737519"/>
                </a:lnTo>
                <a:lnTo>
                  <a:pt x="1957917" y="1732757"/>
                </a:lnTo>
                <a:lnTo>
                  <a:pt x="1960563" y="1723232"/>
                </a:lnTo>
                <a:lnTo>
                  <a:pt x="1963738" y="1712119"/>
                </a:lnTo>
                <a:lnTo>
                  <a:pt x="1934634" y="1712119"/>
                </a:lnTo>
                <a:lnTo>
                  <a:pt x="1911350" y="1712119"/>
                </a:lnTo>
                <a:lnTo>
                  <a:pt x="1891242" y="1711326"/>
                </a:lnTo>
                <a:lnTo>
                  <a:pt x="1875367" y="1710532"/>
                </a:lnTo>
                <a:lnTo>
                  <a:pt x="1858963" y="1708944"/>
                </a:lnTo>
                <a:lnTo>
                  <a:pt x="1843088" y="1708944"/>
                </a:lnTo>
                <a:lnTo>
                  <a:pt x="1824567" y="1708944"/>
                </a:lnTo>
                <a:lnTo>
                  <a:pt x="1802871" y="1708944"/>
                </a:lnTo>
                <a:lnTo>
                  <a:pt x="1335088" y="1712119"/>
                </a:lnTo>
                <a:lnTo>
                  <a:pt x="1286934" y="1711326"/>
                </a:lnTo>
                <a:lnTo>
                  <a:pt x="1251479" y="1708944"/>
                </a:lnTo>
                <a:lnTo>
                  <a:pt x="1238250" y="1708151"/>
                </a:lnTo>
                <a:lnTo>
                  <a:pt x="1227667" y="1706563"/>
                </a:lnTo>
                <a:lnTo>
                  <a:pt x="1218142" y="1704976"/>
                </a:lnTo>
                <a:lnTo>
                  <a:pt x="1210734" y="1702594"/>
                </a:lnTo>
                <a:lnTo>
                  <a:pt x="1203854" y="1700213"/>
                </a:lnTo>
                <a:lnTo>
                  <a:pt x="1198034" y="1697038"/>
                </a:lnTo>
                <a:lnTo>
                  <a:pt x="1192213" y="1693069"/>
                </a:lnTo>
                <a:lnTo>
                  <a:pt x="1186921" y="1689894"/>
                </a:lnTo>
                <a:lnTo>
                  <a:pt x="1174221" y="1680369"/>
                </a:lnTo>
                <a:lnTo>
                  <a:pt x="1156229" y="1669257"/>
                </a:lnTo>
                <a:lnTo>
                  <a:pt x="1123421" y="1649413"/>
                </a:lnTo>
                <a:lnTo>
                  <a:pt x="1103842" y="1637507"/>
                </a:lnTo>
                <a:lnTo>
                  <a:pt x="1098550" y="1633538"/>
                </a:lnTo>
                <a:lnTo>
                  <a:pt x="1094846" y="1631157"/>
                </a:lnTo>
                <a:lnTo>
                  <a:pt x="1092729" y="1628776"/>
                </a:lnTo>
                <a:lnTo>
                  <a:pt x="1091671" y="1627188"/>
                </a:lnTo>
                <a:lnTo>
                  <a:pt x="1091142" y="1623219"/>
                </a:lnTo>
                <a:lnTo>
                  <a:pt x="1089025" y="1616869"/>
                </a:lnTo>
                <a:lnTo>
                  <a:pt x="1085850" y="1611313"/>
                </a:lnTo>
                <a:lnTo>
                  <a:pt x="1081088" y="1604963"/>
                </a:lnTo>
                <a:lnTo>
                  <a:pt x="1073679" y="1596232"/>
                </a:lnTo>
                <a:lnTo>
                  <a:pt x="1063096" y="1585119"/>
                </a:lnTo>
                <a:lnTo>
                  <a:pt x="1055159" y="1576388"/>
                </a:lnTo>
                <a:lnTo>
                  <a:pt x="1047750" y="1567657"/>
                </a:lnTo>
                <a:lnTo>
                  <a:pt x="1042988" y="1560513"/>
                </a:lnTo>
                <a:lnTo>
                  <a:pt x="1037696" y="1553369"/>
                </a:lnTo>
                <a:lnTo>
                  <a:pt x="1031875" y="1540669"/>
                </a:lnTo>
                <a:lnTo>
                  <a:pt x="1026584" y="1529557"/>
                </a:lnTo>
                <a:lnTo>
                  <a:pt x="1022350" y="1517651"/>
                </a:lnTo>
                <a:lnTo>
                  <a:pt x="1016529" y="1504157"/>
                </a:lnTo>
                <a:lnTo>
                  <a:pt x="1012296" y="1497013"/>
                </a:lnTo>
                <a:lnTo>
                  <a:pt x="1007533" y="1488282"/>
                </a:lnTo>
                <a:lnTo>
                  <a:pt x="1001183" y="1479550"/>
                </a:lnTo>
                <a:lnTo>
                  <a:pt x="993246" y="1469232"/>
                </a:lnTo>
                <a:lnTo>
                  <a:pt x="984779" y="1458119"/>
                </a:lnTo>
                <a:lnTo>
                  <a:pt x="980017" y="1450182"/>
                </a:lnTo>
                <a:lnTo>
                  <a:pt x="977371" y="1446213"/>
                </a:lnTo>
                <a:lnTo>
                  <a:pt x="975255" y="1444625"/>
                </a:lnTo>
                <a:lnTo>
                  <a:pt x="971550" y="1443832"/>
                </a:lnTo>
                <a:lnTo>
                  <a:pt x="965200" y="1443038"/>
                </a:lnTo>
                <a:lnTo>
                  <a:pt x="954617" y="1440657"/>
                </a:lnTo>
                <a:lnTo>
                  <a:pt x="937154" y="1436688"/>
                </a:lnTo>
                <a:lnTo>
                  <a:pt x="923925" y="1433513"/>
                </a:lnTo>
                <a:lnTo>
                  <a:pt x="895350" y="1427163"/>
                </a:lnTo>
                <a:lnTo>
                  <a:pt x="866775" y="1420813"/>
                </a:lnTo>
                <a:lnTo>
                  <a:pt x="853017" y="1417638"/>
                </a:lnTo>
                <a:lnTo>
                  <a:pt x="832380" y="1412875"/>
                </a:lnTo>
                <a:lnTo>
                  <a:pt x="811213" y="1408113"/>
                </a:lnTo>
                <a:lnTo>
                  <a:pt x="801688" y="1405732"/>
                </a:lnTo>
                <a:lnTo>
                  <a:pt x="792163" y="1402557"/>
                </a:lnTo>
                <a:lnTo>
                  <a:pt x="783167" y="1399382"/>
                </a:lnTo>
                <a:lnTo>
                  <a:pt x="775230" y="1395413"/>
                </a:lnTo>
                <a:lnTo>
                  <a:pt x="758296" y="1385888"/>
                </a:lnTo>
                <a:lnTo>
                  <a:pt x="749830" y="1381125"/>
                </a:lnTo>
                <a:lnTo>
                  <a:pt x="748242" y="1380332"/>
                </a:lnTo>
                <a:lnTo>
                  <a:pt x="747713" y="1379538"/>
                </a:lnTo>
                <a:lnTo>
                  <a:pt x="747713" y="1378744"/>
                </a:lnTo>
                <a:lnTo>
                  <a:pt x="748242" y="1378744"/>
                </a:lnTo>
                <a:lnTo>
                  <a:pt x="749830" y="1378744"/>
                </a:lnTo>
                <a:lnTo>
                  <a:pt x="750888" y="1378744"/>
                </a:lnTo>
                <a:lnTo>
                  <a:pt x="751946" y="1377950"/>
                </a:lnTo>
                <a:lnTo>
                  <a:pt x="752475" y="1375569"/>
                </a:lnTo>
                <a:lnTo>
                  <a:pt x="751946" y="1373982"/>
                </a:lnTo>
                <a:lnTo>
                  <a:pt x="750358" y="1370807"/>
                </a:lnTo>
                <a:lnTo>
                  <a:pt x="746654" y="1367632"/>
                </a:lnTo>
                <a:lnTo>
                  <a:pt x="741363" y="1362075"/>
                </a:lnTo>
                <a:lnTo>
                  <a:pt x="737130" y="1357313"/>
                </a:lnTo>
                <a:lnTo>
                  <a:pt x="731838" y="1353344"/>
                </a:lnTo>
                <a:lnTo>
                  <a:pt x="725488" y="1348582"/>
                </a:lnTo>
                <a:lnTo>
                  <a:pt x="719138" y="1345407"/>
                </a:lnTo>
                <a:lnTo>
                  <a:pt x="704321" y="1337469"/>
                </a:lnTo>
                <a:lnTo>
                  <a:pt x="688975" y="1330325"/>
                </a:lnTo>
                <a:lnTo>
                  <a:pt x="673629" y="1321594"/>
                </a:lnTo>
                <a:lnTo>
                  <a:pt x="658284" y="1313657"/>
                </a:lnTo>
                <a:lnTo>
                  <a:pt x="650875" y="1308894"/>
                </a:lnTo>
                <a:lnTo>
                  <a:pt x="643996" y="1304925"/>
                </a:lnTo>
                <a:lnTo>
                  <a:pt x="638175" y="1300163"/>
                </a:lnTo>
                <a:lnTo>
                  <a:pt x="632354" y="1294607"/>
                </a:lnTo>
                <a:lnTo>
                  <a:pt x="624417" y="1286669"/>
                </a:lnTo>
                <a:lnTo>
                  <a:pt x="619125" y="1279525"/>
                </a:lnTo>
                <a:lnTo>
                  <a:pt x="617009" y="1275557"/>
                </a:lnTo>
                <a:lnTo>
                  <a:pt x="615421" y="1270794"/>
                </a:lnTo>
                <a:lnTo>
                  <a:pt x="614892" y="1266825"/>
                </a:lnTo>
                <a:lnTo>
                  <a:pt x="614363" y="1262063"/>
                </a:lnTo>
                <a:lnTo>
                  <a:pt x="611188" y="1256507"/>
                </a:lnTo>
                <a:lnTo>
                  <a:pt x="605896" y="1246982"/>
                </a:lnTo>
                <a:lnTo>
                  <a:pt x="601663" y="1241425"/>
                </a:lnTo>
                <a:lnTo>
                  <a:pt x="597959" y="1236663"/>
                </a:lnTo>
                <a:lnTo>
                  <a:pt x="593725" y="1232694"/>
                </a:lnTo>
                <a:lnTo>
                  <a:pt x="588434" y="1228725"/>
                </a:lnTo>
                <a:lnTo>
                  <a:pt x="583142" y="1224757"/>
                </a:lnTo>
                <a:lnTo>
                  <a:pt x="577321" y="1222375"/>
                </a:lnTo>
                <a:lnTo>
                  <a:pt x="571500" y="1219200"/>
                </a:lnTo>
                <a:lnTo>
                  <a:pt x="565150" y="1216819"/>
                </a:lnTo>
                <a:lnTo>
                  <a:pt x="549804" y="1212850"/>
                </a:lnTo>
                <a:lnTo>
                  <a:pt x="531283" y="1209675"/>
                </a:lnTo>
                <a:lnTo>
                  <a:pt x="510117" y="1208088"/>
                </a:lnTo>
                <a:lnTo>
                  <a:pt x="484188" y="1207294"/>
                </a:lnTo>
                <a:lnTo>
                  <a:pt x="458788" y="1207294"/>
                </a:lnTo>
                <a:lnTo>
                  <a:pt x="431800" y="1208088"/>
                </a:lnTo>
                <a:lnTo>
                  <a:pt x="405342" y="1208882"/>
                </a:lnTo>
                <a:lnTo>
                  <a:pt x="378884" y="1208882"/>
                </a:lnTo>
                <a:lnTo>
                  <a:pt x="340254" y="1208882"/>
                </a:lnTo>
                <a:lnTo>
                  <a:pt x="305329" y="1206500"/>
                </a:lnTo>
                <a:lnTo>
                  <a:pt x="289454" y="1205707"/>
                </a:lnTo>
                <a:lnTo>
                  <a:pt x="274638" y="1203325"/>
                </a:lnTo>
                <a:lnTo>
                  <a:pt x="260350" y="1200944"/>
                </a:lnTo>
                <a:lnTo>
                  <a:pt x="247121" y="1197769"/>
                </a:lnTo>
                <a:lnTo>
                  <a:pt x="234421" y="1193800"/>
                </a:lnTo>
                <a:lnTo>
                  <a:pt x="222779" y="1190625"/>
                </a:lnTo>
                <a:lnTo>
                  <a:pt x="211667" y="1185863"/>
                </a:lnTo>
                <a:lnTo>
                  <a:pt x="201613" y="1181100"/>
                </a:lnTo>
                <a:lnTo>
                  <a:pt x="192088" y="1175544"/>
                </a:lnTo>
                <a:lnTo>
                  <a:pt x="183092" y="1169194"/>
                </a:lnTo>
                <a:lnTo>
                  <a:pt x="174625" y="1162844"/>
                </a:lnTo>
                <a:lnTo>
                  <a:pt x="166159" y="1154907"/>
                </a:lnTo>
                <a:lnTo>
                  <a:pt x="161396" y="1149350"/>
                </a:lnTo>
                <a:lnTo>
                  <a:pt x="156634" y="1143794"/>
                </a:lnTo>
                <a:lnTo>
                  <a:pt x="153988" y="1139825"/>
                </a:lnTo>
                <a:lnTo>
                  <a:pt x="152400" y="1135857"/>
                </a:lnTo>
                <a:lnTo>
                  <a:pt x="151871" y="1132682"/>
                </a:lnTo>
                <a:lnTo>
                  <a:pt x="152400" y="1128713"/>
                </a:lnTo>
                <a:lnTo>
                  <a:pt x="153988" y="1126332"/>
                </a:lnTo>
                <a:lnTo>
                  <a:pt x="156634" y="1123157"/>
                </a:lnTo>
                <a:lnTo>
                  <a:pt x="174625" y="1112044"/>
                </a:lnTo>
                <a:lnTo>
                  <a:pt x="203200" y="1095375"/>
                </a:lnTo>
                <a:lnTo>
                  <a:pt x="165629" y="1095375"/>
                </a:lnTo>
                <a:lnTo>
                  <a:pt x="140759" y="1096169"/>
                </a:lnTo>
                <a:lnTo>
                  <a:pt x="124354" y="1096963"/>
                </a:lnTo>
                <a:lnTo>
                  <a:pt x="114300" y="1096169"/>
                </a:lnTo>
                <a:lnTo>
                  <a:pt x="110067" y="1096169"/>
                </a:lnTo>
                <a:lnTo>
                  <a:pt x="106892" y="1095375"/>
                </a:lnTo>
                <a:lnTo>
                  <a:pt x="104246" y="1093788"/>
                </a:lnTo>
                <a:lnTo>
                  <a:pt x="100542" y="1091407"/>
                </a:lnTo>
                <a:lnTo>
                  <a:pt x="91546" y="1085057"/>
                </a:lnTo>
                <a:lnTo>
                  <a:pt x="77788" y="1077119"/>
                </a:lnTo>
                <a:lnTo>
                  <a:pt x="47625" y="1050132"/>
                </a:lnTo>
                <a:lnTo>
                  <a:pt x="41275" y="1042988"/>
                </a:lnTo>
                <a:lnTo>
                  <a:pt x="34396" y="1034257"/>
                </a:lnTo>
                <a:lnTo>
                  <a:pt x="26988" y="1024732"/>
                </a:lnTo>
                <a:lnTo>
                  <a:pt x="20638" y="1013619"/>
                </a:lnTo>
                <a:lnTo>
                  <a:pt x="13759" y="1001713"/>
                </a:lnTo>
                <a:lnTo>
                  <a:pt x="8996" y="989013"/>
                </a:lnTo>
                <a:lnTo>
                  <a:pt x="4233" y="977107"/>
                </a:lnTo>
                <a:lnTo>
                  <a:pt x="1588" y="964407"/>
                </a:lnTo>
                <a:lnTo>
                  <a:pt x="0" y="957263"/>
                </a:lnTo>
                <a:lnTo>
                  <a:pt x="0" y="951707"/>
                </a:lnTo>
                <a:lnTo>
                  <a:pt x="0" y="945357"/>
                </a:lnTo>
                <a:lnTo>
                  <a:pt x="529" y="939800"/>
                </a:lnTo>
                <a:lnTo>
                  <a:pt x="2117" y="934244"/>
                </a:lnTo>
                <a:lnTo>
                  <a:pt x="4233" y="928688"/>
                </a:lnTo>
                <a:lnTo>
                  <a:pt x="6350" y="923925"/>
                </a:lnTo>
                <a:lnTo>
                  <a:pt x="10054" y="918369"/>
                </a:lnTo>
                <a:lnTo>
                  <a:pt x="14817" y="913607"/>
                </a:lnTo>
                <a:lnTo>
                  <a:pt x="19579" y="910432"/>
                </a:lnTo>
                <a:lnTo>
                  <a:pt x="24871" y="906463"/>
                </a:lnTo>
                <a:lnTo>
                  <a:pt x="32279" y="902494"/>
                </a:lnTo>
                <a:lnTo>
                  <a:pt x="39688" y="900113"/>
                </a:lnTo>
                <a:lnTo>
                  <a:pt x="48154" y="896938"/>
                </a:lnTo>
                <a:lnTo>
                  <a:pt x="57679" y="895350"/>
                </a:lnTo>
                <a:lnTo>
                  <a:pt x="68263" y="892969"/>
                </a:lnTo>
                <a:lnTo>
                  <a:pt x="78317" y="892175"/>
                </a:lnTo>
                <a:lnTo>
                  <a:pt x="83609" y="891382"/>
                </a:lnTo>
                <a:lnTo>
                  <a:pt x="84138" y="891382"/>
                </a:lnTo>
                <a:lnTo>
                  <a:pt x="85196" y="891382"/>
                </a:lnTo>
                <a:lnTo>
                  <a:pt x="86254" y="891382"/>
                </a:lnTo>
                <a:lnTo>
                  <a:pt x="93134" y="891382"/>
                </a:lnTo>
                <a:lnTo>
                  <a:pt x="104775" y="890588"/>
                </a:lnTo>
                <a:lnTo>
                  <a:pt x="668867" y="881857"/>
                </a:lnTo>
                <a:lnTo>
                  <a:pt x="659342" y="873125"/>
                </a:lnTo>
                <a:lnTo>
                  <a:pt x="653521" y="867569"/>
                </a:lnTo>
                <a:lnTo>
                  <a:pt x="650875" y="862807"/>
                </a:lnTo>
                <a:lnTo>
                  <a:pt x="649817" y="859632"/>
                </a:lnTo>
                <a:lnTo>
                  <a:pt x="649288" y="855663"/>
                </a:lnTo>
                <a:lnTo>
                  <a:pt x="648758" y="852488"/>
                </a:lnTo>
                <a:lnTo>
                  <a:pt x="646113" y="844550"/>
                </a:lnTo>
                <a:lnTo>
                  <a:pt x="641879" y="834232"/>
                </a:lnTo>
                <a:lnTo>
                  <a:pt x="635529" y="820738"/>
                </a:lnTo>
                <a:lnTo>
                  <a:pt x="629709" y="809625"/>
                </a:lnTo>
                <a:lnTo>
                  <a:pt x="626004" y="799307"/>
                </a:lnTo>
                <a:lnTo>
                  <a:pt x="622829" y="790575"/>
                </a:lnTo>
                <a:lnTo>
                  <a:pt x="620713" y="784225"/>
                </a:lnTo>
                <a:lnTo>
                  <a:pt x="620184" y="777875"/>
                </a:lnTo>
                <a:lnTo>
                  <a:pt x="620184" y="772319"/>
                </a:lnTo>
                <a:lnTo>
                  <a:pt x="620184" y="766763"/>
                </a:lnTo>
                <a:lnTo>
                  <a:pt x="622829" y="754857"/>
                </a:lnTo>
                <a:lnTo>
                  <a:pt x="627063" y="740569"/>
                </a:lnTo>
                <a:lnTo>
                  <a:pt x="629709" y="731838"/>
                </a:lnTo>
                <a:lnTo>
                  <a:pt x="631825" y="721519"/>
                </a:lnTo>
                <a:lnTo>
                  <a:pt x="633942" y="710407"/>
                </a:lnTo>
                <a:lnTo>
                  <a:pt x="635529" y="696913"/>
                </a:lnTo>
                <a:lnTo>
                  <a:pt x="674158" y="696119"/>
                </a:lnTo>
                <a:lnTo>
                  <a:pt x="706438" y="693738"/>
                </a:lnTo>
                <a:lnTo>
                  <a:pt x="734483" y="692944"/>
                </a:lnTo>
                <a:lnTo>
                  <a:pt x="759354" y="691356"/>
                </a:lnTo>
                <a:lnTo>
                  <a:pt x="782638" y="690563"/>
                </a:lnTo>
                <a:lnTo>
                  <a:pt x="806979" y="691356"/>
                </a:lnTo>
                <a:lnTo>
                  <a:pt x="832380" y="692150"/>
                </a:lnTo>
                <a:lnTo>
                  <a:pt x="862542" y="694531"/>
                </a:lnTo>
                <a:lnTo>
                  <a:pt x="867833" y="696119"/>
                </a:lnTo>
                <a:lnTo>
                  <a:pt x="870480" y="696913"/>
                </a:lnTo>
                <a:lnTo>
                  <a:pt x="881063" y="697706"/>
                </a:lnTo>
                <a:lnTo>
                  <a:pt x="910167" y="700088"/>
                </a:lnTo>
                <a:lnTo>
                  <a:pt x="923396" y="700088"/>
                </a:lnTo>
                <a:lnTo>
                  <a:pt x="937154" y="701675"/>
                </a:lnTo>
                <a:lnTo>
                  <a:pt x="952500" y="702469"/>
                </a:lnTo>
                <a:lnTo>
                  <a:pt x="967846" y="702469"/>
                </a:lnTo>
                <a:lnTo>
                  <a:pt x="984250" y="702469"/>
                </a:lnTo>
                <a:lnTo>
                  <a:pt x="999596" y="703263"/>
                </a:lnTo>
                <a:lnTo>
                  <a:pt x="1014413" y="703263"/>
                </a:lnTo>
                <a:lnTo>
                  <a:pt x="1027642" y="704057"/>
                </a:lnTo>
                <a:lnTo>
                  <a:pt x="1058334" y="703263"/>
                </a:lnTo>
                <a:lnTo>
                  <a:pt x="1101196" y="702469"/>
                </a:lnTo>
                <a:lnTo>
                  <a:pt x="1151996" y="699294"/>
                </a:lnTo>
                <a:lnTo>
                  <a:pt x="1206500" y="696119"/>
                </a:lnTo>
                <a:lnTo>
                  <a:pt x="1261004" y="691356"/>
                </a:lnTo>
                <a:lnTo>
                  <a:pt x="1311804" y="686594"/>
                </a:lnTo>
                <a:lnTo>
                  <a:pt x="1334559" y="683419"/>
                </a:lnTo>
                <a:lnTo>
                  <a:pt x="1355196" y="681038"/>
                </a:lnTo>
                <a:lnTo>
                  <a:pt x="1372659" y="677863"/>
                </a:lnTo>
                <a:lnTo>
                  <a:pt x="1386417" y="675481"/>
                </a:lnTo>
                <a:lnTo>
                  <a:pt x="1395413" y="681832"/>
                </a:lnTo>
                <a:lnTo>
                  <a:pt x="1394354" y="681832"/>
                </a:lnTo>
                <a:lnTo>
                  <a:pt x="1391709" y="682625"/>
                </a:lnTo>
                <a:lnTo>
                  <a:pt x="1388004" y="686594"/>
                </a:lnTo>
                <a:lnTo>
                  <a:pt x="1383771" y="692944"/>
                </a:lnTo>
                <a:lnTo>
                  <a:pt x="1381125" y="693738"/>
                </a:lnTo>
                <a:lnTo>
                  <a:pt x="1374246" y="693738"/>
                </a:lnTo>
                <a:lnTo>
                  <a:pt x="1365250" y="694531"/>
                </a:lnTo>
                <a:lnTo>
                  <a:pt x="1357313" y="696119"/>
                </a:lnTo>
                <a:lnTo>
                  <a:pt x="1354138" y="696913"/>
                </a:lnTo>
                <a:lnTo>
                  <a:pt x="1352021" y="697706"/>
                </a:lnTo>
                <a:lnTo>
                  <a:pt x="1351492" y="698500"/>
                </a:lnTo>
                <a:lnTo>
                  <a:pt x="1350434" y="698500"/>
                </a:lnTo>
                <a:lnTo>
                  <a:pt x="1351492" y="699294"/>
                </a:lnTo>
                <a:lnTo>
                  <a:pt x="1351492" y="700088"/>
                </a:lnTo>
                <a:lnTo>
                  <a:pt x="1353609" y="701675"/>
                </a:lnTo>
                <a:lnTo>
                  <a:pt x="1358900" y="703263"/>
                </a:lnTo>
                <a:lnTo>
                  <a:pt x="1365250" y="704850"/>
                </a:lnTo>
                <a:lnTo>
                  <a:pt x="1374775" y="707231"/>
                </a:lnTo>
                <a:lnTo>
                  <a:pt x="1376363" y="707231"/>
                </a:lnTo>
                <a:lnTo>
                  <a:pt x="1376363" y="708025"/>
                </a:lnTo>
                <a:lnTo>
                  <a:pt x="1375304" y="708819"/>
                </a:lnTo>
                <a:lnTo>
                  <a:pt x="1374246" y="709613"/>
                </a:lnTo>
                <a:lnTo>
                  <a:pt x="1371071" y="711994"/>
                </a:lnTo>
                <a:lnTo>
                  <a:pt x="1368954" y="714375"/>
                </a:lnTo>
                <a:lnTo>
                  <a:pt x="1406525" y="709613"/>
                </a:lnTo>
                <a:lnTo>
                  <a:pt x="1424517" y="708025"/>
                </a:lnTo>
                <a:lnTo>
                  <a:pt x="1427012" y="707685"/>
                </a:lnTo>
                <a:lnTo>
                  <a:pt x="1426104" y="708025"/>
                </a:lnTo>
                <a:lnTo>
                  <a:pt x="1424517" y="708819"/>
                </a:lnTo>
                <a:lnTo>
                  <a:pt x="1424517" y="709613"/>
                </a:lnTo>
                <a:lnTo>
                  <a:pt x="1424517" y="710407"/>
                </a:lnTo>
                <a:lnTo>
                  <a:pt x="1426104" y="711994"/>
                </a:lnTo>
                <a:lnTo>
                  <a:pt x="1429809" y="712788"/>
                </a:lnTo>
                <a:lnTo>
                  <a:pt x="1437217" y="714375"/>
                </a:lnTo>
                <a:lnTo>
                  <a:pt x="1448859" y="715169"/>
                </a:lnTo>
                <a:lnTo>
                  <a:pt x="1464204" y="717550"/>
                </a:lnTo>
                <a:lnTo>
                  <a:pt x="1764771" y="698500"/>
                </a:lnTo>
                <a:lnTo>
                  <a:pt x="1728259" y="687388"/>
                </a:lnTo>
                <a:lnTo>
                  <a:pt x="1701800" y="681038"/>
                </a:lnTo>
                <a:lnTo>
                  <a:pt x="1683809" y="677069"/>
                </a:lnTo>
                <a:lnTo>
                  <a:pt x="1669521" y="675481"/>
                </a:lnTo>
                <a:lnTo>
                  <a:pt x="1655234" y="674688"/>
                </a:lnTo>
                <a:lnTo>
                  <a:pt x="1639359" y="673100"/>
                </a:lnTo>
                <a:lnTo>
                  <a:pt x="1616075" y="671513"/>
                </a:lnTo>
                <a:lnTo>
                  <a:pt x="1582209" y="669131"/>
                </a:lnTo>
                <a:lnTo>
                  <a:pt x="1578504" y="667544"/>
                </a:lnTo>
                <a:lnTo>
                  <a:pt x="1574800" y="666750"/>
                </a:lnTo>
                <a:lnTo>
                  <a:pt x="1553634" y="664369"/>
                </a:lnTo>
                <a:lnTo>
                  <a:pt x="1527175" y="661194"/>
                </a:lnTo>
                <a:lnTo>
                  <a:pt x="1497013" y="658813"/>
                </a:lnTo>
                <a:lnTo>
                  <a:pt x="1462617" y="656431"/>
                </a:lnTo>
                <a:lnTo>
                  <a:pt x="1426104" y="654050"/>
                </a:lnTo>
                <a:lnTo>
                  <a:pt x="1387475" y="651669"/>
                </a:lnTo>
                <a:lnTo>
                  <a:pt x="1346729" y="650081"/>
                </a:lnTo>
                <a:lnTo>
                  <a:pt x="1306513" y="648494"/>
                </a:lnTo>
                <a:lnTo>
                  <a:pt x="1265767" y="646113"/>
                </a:lnTo>
                <a:lnTo>
                  <a:pt x="1226079" y="645319"/>
                </a:lnTo>
                <a:lnTo>
                  <a:pt x="1187979" y="643732"/>
                </a:lnTo>
                <a:lnTo>
                  <a:pt x="1152525" y="642938"/>
                </a:lnTo>
                <a:lnTo>
                  <a:pt x="1120246" y="642144"/>
                </a:lnTo>
                <a:lnTo>
                  <a:pt x="1091671" y="640556"/>
                </a:lnTo>
                <a:lnTo>
                  <a:pt x="1068388" y="640556"/>
                </a:lnTo>
                <a:lnTo>
                  <a:pt x="1050396" y="640556"/>
                </a:lnTo>
                <a:lnTo>
                  <a:pt x="891646" y="640556"/>
                </a:lnTo>
                <a:lnTo>
                  <a:pt x="759354" y="640556"/>
                </a:lnTo>
                <a:lnTo>
                  <a:pt x="650875" y="639763"/>
                </a:lnTo>
                <a:lnTo>
                  <a:pt x="561975" y="638969"/>
                </a:lnTo>
                <a:lnTo>
                  <a:pt x="492654" y="637382"/>
                </a:lnTo>
                <a:lnTo>
                  <a:pt x="438150" y="634206"/>
                </a:lnTo>
                <a:lnTo>
                  <a:pt x="415396" y="632619"/>
                </a:lnTo>
                <a:lnTo>
                  <a:pt x="396346" y="630238"/>
                </a:lnTo>
                <a:lnTo>
                  <a:pt x="380471" y="628650"/>
                </a:lnTo>
                <a:lnTo>
                  <a:pt x="365654" y="627063"/>
                </a:lnTo>
                <a:lnTo>
                  <a:pt x="353484" y="623888"/>
                </a:lnTo>
                <a:lnTo>
                  <a:pt x="342900" y="621507"/>
                </a:lnTo>
                <a:lnTo>
                  <a:pt x="333375" y="618331"/>
                </a:lnTo>
                <a:lnTo>
                  <a:pt x="325438" y="615950"/>
                </a:lnTo>
                <a:lnTo>
                  <a:pt x="310092" y="608013"/>
                </a:lnTo>
                <a:lnTo>
                  <a:pt x="295275" y="600869"/>
                </a:lnTo>
                <a:lnTo>
                  <a:pt x="278342" y="591344"/>
                </a:lnTo>
                <a:lnTo>
                  <a:pt x="255588" y="581025"/>
                </a:lnTo>
                <a:lnTo>
                  <a:pt x="242359" y="575469"/>
                </a:lnTo>
                <a:lnTo>
                  <a:pt x="226484" y="569913"/>
                </a:lnTo>
                <a:lnTo>
                  <a:pt x="207434" y="563563"/>
                </a:lnTo>
                <a:lnTo>
                  <a:pt x="186267" y="557213"/>
                </a:lnTo>
                <a:lnTo>
                  <a:pt x="188913" y="542132"/>
                </a:lnTo>
                <a:lnTo>
                  <a:pt x="190500" y="534988"/>
                </a:lnTo>
                <a:lnTo>
                  <a:pt x="191029" y="531813"/>
                </a:lnTo>
                <a:lnTo>
                  <a:pt x="192088" y="531019"/>
                </a:lnTo>
                <a:lnTo>
                  <a:pt x="192617" y="530225"/>
                </a:lnTo>
                <a:lnTo>
                  <a:pt x="193675" y="530225"/>
                </a:lnTo>
                <a:lnTo>
                  <a:pt x="194734" y="531019"/>
                </a:lnTo>
                <a:lnTo>
                  <a:pt x="197379" y="531813"/>
                </a:lnTo>
                <a:lnTo>
                  <a:pt x="198438" y="531813"/>
                </a:lnTo>
                <a:lnTo>
                  <a:pt x="200025" y="531019"/>
                </a:lnTo>
                <a:lnTo>
                  <a:pt x="202142" y="530225"/>
                </a:lnTo>
                <a:lnTo>
                  <a:pt x="204259" y="527050"/>
                </a:lnTo>
                <a:lnTo>
                  <a:pt x="217488" y="514350"/>
                </a:lnTo>
                <a:lnTo>
                  <a:pt x="220663" y="511969"/>
                </a:lnTo>
                <a:lnTo>
                  <a:pt x="222779" y="511175"/>
                </a:lnTo>
                <a:lnTo>
                  <a:pt x="223308" y="509588"/>
                </a:lnTo>
                <a:lnTo>
                  <a:pt x="224367" y="508000"/>
                </a:lnTo>
                <a:lnTo>
                  <a:pt x="139171" y="488950"/>
                </a:lnTo>
                <a:lnTo>
                  <a:pt x="152929" y="483394"/>
                </a:lnTo>
                <a:lnTo>
                  <a:pt x="161396" y="478631"/>
                </a:lnTo>
                <a:lnTo>
                  <a:pt x="161396" y="477044"/>
                </a:lnTo>
                <a:lnTo>
                  <a:pt x="161396" y="473869"/>
                </a:lnTo>
                <a:lnTo>
                  <a:pt x="159808" y="470694"/>
                </a:lnTo>
                <a:lnTo>
                  <a:pt x="157692" y="465931"/>
                </a:lnTo>
                <a:lnTo>
                  <a:pt x="149754" y="451644"/>
                </a:lnTo>
                <a:lnTo>
                  <a:pt x="136525" y="431007"/>
                </a:lnTo>
                <a:lnTo>
                  <a:pt x="127000" y="418307"/>
                </a:lnTo>
                <a:lnTo>
                  <a:pt x="121709" y="411163"/>
                </a:lnTo>
                <a:lnTo>
                  <a:pt x="120121" y="407988"/>
                </a:lnTo>
                <a:lnTo>
                  <a:pt x="119592" y="407194"/>
                </a:lnTo>
                <a:lnTo>
                  <a:pt x="118534" y="404813"/>
                </a:lnTo>
                <a:lnTo>
                  <a:pt x="119592" y="404019"/>
                </a:lnTo>
                <a:lnTo>
                  <a:pt x="121709" y="402432"/>
                </a:lnTo>
                <a:lnTo>
                  <a:pt x="124354" y="397669"/>
                </a:lnTo>
                <a:lnTo>
                  <a:pt x="127000" y="393700"/>
                </a:lnTo>
                <a:lnTo>
                  <a:pt x="129117" y="388144"/>
                </a:lnTo>
                <a:lnTo>
                  <a:pt x="130704" y="381794"/>
                </a:lnTo>
                <a:lnTo>
                  <a:pt x="132821" y="372269"/>
                </a:lnTo>
                <a:lnTo>
                  <a:pt x="463021" y="355600"/>
                </a:lnTo>
                <a:lnTo>
                  <a:pt x="503238" y="354013"/>
                </a:lnTo>
                <a:lnTo>
                  <a:pt x="535517" y="350838"/>
                </a:lnTo>
                <a:lnTo>
                  <a:pt x="560388" y="349250"/>
                </a:lnTo>
                <a:lnTo>
                  <a:pt x="579438" y="347663"/>
                </a:lnTo>
                <a:lnTo>
                  <a:pt x="594254" y="346869"/>
                </a:lnTo>
                <a:lnTo>
                  <a:pt x="604838" y="345281"/>
                </a:lnTo>
                <a:lnTo>
                  <a:pt x="611717" y="345281"/>
                </a:lnTo>
                <a:lnTo>
                  <a:pt x="617538" y="346869"/>
                </a:lnTo>
                <a:lnTo>
                  <a:pt x="622300" y="347663"/>
                </a:lnTo>
                <a:lnTo>
                  <a:pt x="627063" y="349250"/>
                </a:lnTo>
                <a:lnTo>
                  <a:pt x="633413" y="352425"/>
                </a:lnTo>
                <a:lnTo>
                  <a:pt x="641879" y="356394"/>
                </a:lnTo>
                <a:lnTo>
                  <a:pt x="652992" y="361156"/>
                </a:lnTo>
                <a:lnTo>
                  <a:pt x="668867" y="366713"/>
                </a:lnTo>
                <a:lnTo>
                  <a:pt x="689504" y="374650"/>
                </a:lnTo>
                <a:lnTo>
                  <a:pt x="717550" y="382588"/>
                </a:lnTo>
                <a:lnTo>
                  <a:pt x="735013" y="372269"/>
                </a:lnTo>
                <a:lnTo>
                  <a:pt x="750358" y="364331"/>
                </a:lnTo>
                <a:lnTo>
                  <a:pt x="764117" y="357981"/>
                </a:lnTo>
                <a:lnTo>
                  <a:pt x="778934" y="352425"/>
                </a:lnTo>
                <a:lnTo>
                  <a:pt x="787930" y="349250"/>
                </a:lnTo>
                <a:lnTo>
                  <a:pt x="796396" y="347663"/>
                </a:lnTo>
                <a:lnTo>
                  <a:pt x="806979" y="345281"/>
                </a:lnTo>
                <a:lnTo>
                  <a:pt x="818621" y="344488"/>
                </a:lnTo>
                <a:lnTo>
                  <a:pt x="845608" y="342106"/>
                </a:lnTo>
                <a:lnTo>
                  <a:pt x="881592" y="341313"/>
                </a:lnTo>
                <a:lnTo>
                  <a:pt x="863071" y="369888"/>
                </a:lnTo>
                <a:lnTo>
                  <a:pt x="897467" y="366713"/>
                </a:lnTo>
                <a:lnTo>
                  <a:pt x="921809" y="365125"/>
                </a:lnTo>
                <a:lnTo>
                  <a:pt x="940330" y="365125"/>
                </a:lnTo>
                <a:lnTo>
                  <a:pt x="955675" y="365919"/>
                </a:lnTo>
                <a:lnTo>
                  <a:pt x="970492" y="365919"/>
                </a:lnTo>
                <a:lnTo>
                  <a:pt x="989542" y="365125"/>
                </a:lnTo>
                <a:lnTo>
                  <a:pt x="1014413" y="363538"/>
                </a:lnTo>
                <a:lnTo>
                  <a:pt x="1049338" y="357981"/>
                </a:lnTo>
                <a:lnTo>
                  <a:pt x="1087438" y="353219"/>
                </a:lnTo>
                <a:lnTo>
                  <a:pt x="1130829" y="349250"/>
                </a:lnTo>
                <a:lnTo>
                  <a:pt x="1178454" y="345281"/>
                </a:lnTo>
                <a:lnTo>
                  <a:pt x="1227667" y="342900"/>
                </a:lnTo>
                <a:lnTo>
                  <a:pt x="1276350" y="342106"/>
                </a:lnTo>
                <a:lnTo>
                  <a:pt x="1323975" y="342106"/>
                </a:lnTo>
                <a:lnTo>
                  <a:pt x="1368425" y="342900"/>
                </a:lnTo>
                <a:lnTo>
                  <a:pt x="1406525" y="344488"/>
                </a:lnTo>
                <a:lnTo>
                  <a:pt x="1416579" y="345281"/>
                </a:lnTo>
                <a:lnTo>
                  <a:pt x="1425575" y="347663"/>
                </a:lnTo>
                <a:lnTo>
                  <a:pt x="1433513" y="349250"/>
                </a:lnTo>
                <a:lnTo>
                  <a:pt x="1439863" y="350838"/>
                </a:lnTo>
                <a:lnTo>
                  <a:pt x="1450975" y="355600"/>
                </a:lnTo>
                <a:lnTo>
                  <a:pt x="1462088" y="360363"/>
                </a:lnTo>
                <a:lnTo>
                  <a:pt x="1473200" y="365919"/>
                </a:lnTo>
                <a:lnTo>
                  <a:pt x="1487488" y="370681"/>
                </a:lnTo>
                <a:lnTo>
                  <a:pt x="1496484" y="373856"/>
                </a:lnTo>
                <a:lnTo>
                  <a:pt x="1506538" y="375444"/>
                </a:lnTo>
                <a:lnTo>
                  <a:pt x="1518179" y="377031"/>
                </a:lnTo>
                <a:lnTo>
                  <a:pt x="1532467" y="379413"/>
                </a:lnTo>
                <a:lnTo>
                  <a:pt x="1538817" y="350838"/>
                </a:lnTo>
                <a:lnTo>
                  <a:pt x="1542521" y="346869"/>
                </a:lnTo>
                <a:lnTo>
                  <a:pt x="1547813" y="343694"/>
                </a:lnTo>
                <a:lnTo>
                  <a:pt x="1553104" y="341313"/>
                </a:lnTo>
                <a:lnTo>
                  <a:pt x="1558925" y="338931"/>
                </a:lnTo>
                <a:lnTo>
                  <a:pt x="1572684" y="337344"/>
                </a:lnTo>
                <a:lnTo>
                  <a:pt x="1588029" y="336550"/>
                </a:lnTo>
                <a:lnTo>
                  <a:pt x="1605492" y="336550"/>
                </a:lnTo>
                <a:lnTo>
                  <a:pt x="1622954" y="336550"/>
                </a:lnTo>
                <a:lnTo>
                  <a:pt x="1642534" y="334169"/>
                </a:lnTo>
                <a:lnTo>
                  <a:pt x="1660525" y="331788"/>
                </a:lnTo>
                <a:lnTo>
                  <a:pt x="1675342" y="327819"/>
                </a:lnTo>
                <a:lnTo>
                  <a:pt x="1680634" y="325438"/>
                </a:lnTo>
                <a:lnTo>
                  <a:pt x="1679575" y="323056"/>
                </a:lnTo>
                <a:lnTo>
                  <a:pt x="1677459" y="323056"/>
                </a:lnTo>
                <a:lnTo>
                  <a:pt x="1677988" y="322263"/>
                </a:lnTo>
                <a:lnTo>
                  <a:pt x="1684867" y="321469"/>
                </a:lnTo>
                <a:lnTo>
                  <a:pt x="1702329" y="319881"/>
                </a:lnTo>
                <a:lnTo>
                  <a:pt x="1734079" y="315913"/>
                </a:lnTo>
                <a:lnTo>
                  <a:pt x="1757892" y="313531"/>
                </a:lnTo>
                <a:lnTo>
                  <a:pt x="1778529" y="313531"/>
                </a:lnTo>
                <a:lnTo>
                  <a:pt x="1799167" y="315913"/>
                </a:lnTo>
                <a:lnTo>
                  <a:pt x="1818746" y="317500"/>
                </a:lnTo>
                <a:lnTo>
                  <a:pt x="1839913" y="320675"/>
                </a:lnTo>
                <a:lnTo>
                  <a:pt x="1864254" y="322263"/>
                </a:lnTo>
                <a:lnTo>
                  <a:pt x="1892829" y="323850"/>
                </a:lnTo>
                <a:lnTo>
                  <a:pt x="1925638" y="323850"/>
                </a:lnTo>
                <a:lnTo>
                  <a:pt x="1924579" y="318294"/>
                </a:lnTo>
                <a:lnTo>
                  <a:pt x="1922992" y="311944"/>
                </a:lnTo>
                <a:lnTo>
                  <a:pt x="1919817" y="305594"/>
                </a:lnTo>
                <a:lnTo>
                  <a:pt x="1917171" y="298450"/>
                </a:lnTo>
                <a:lnTo>
                  <a:pt x="1909234" y="283369"/>
                </a:lnTo>
                <a:lnTo>
                  <a:pt x="1898650" y="266700"/>
                </a:lnTo>
                <a:lnTo>
                  <a:pt x="1875896" y="231775"/>
                </a:lnTo>
                <a:lnTo>
                  <a:pt x="1853142" y="195263"/>
                </a:lnTo>
                <a:lnTo>
                  <a:pt x="1843088" y="177006"/>
                </a:lnTo>
                <a:lnTo>
                  <a:pt x="1834092" y="160338"/>
                </a:lnTo>
                <a:lnTo>
                  <a:pt x="1830388" y="150813"/>
                </a:lnTo>
                <a:lnTo>
                  <a:pt x="1827742" y="143669"/>
                </a:lnTo>
                <a:lnTo>
                  <a:pt x="1825625" y="134938"/>
                </a:lnTo>
                <a:lnTo>
                  <a:pt x="1824038" y="127794"/>
                </a:lnTo>
                <a:lnTo>
                  <a:pt x="1823509" y="119856"/>
                </a:lnTo>
                <a:lnTo>
                  <a:pt x="1823509" y="112713"/>
                </a:lnTo>
                <a:lnTo>
                  <a:pt x="1824038" y="106363"/>
                </a:lnTo>
                <a:lnTo>
                  <a:pt x="1826154" y="100806"/>
                </a:lnTo>
                <a:lnTo>
                  <a:pt x="1829329" y="95250"/>
                </a:lnTo>
                <a:lnTo>
                  <a:pt x="1833563" y="89694"/>
                </a:lnTo>
                <a:lnTo>
                  <a:pt x="1838854" y="84931"/>
                </a:lnTo>
                <a:lnTo>
                  <a:pt x="1845204" y="80963"/>
                </a:lnTo>
                <a:lnTo>
                  <a:pt x="1860021" y="78581"/>
                </a:lnTo>
                <a:lnTo>
                  <a:pt x="1882775" y="76200"/>
                </a:lnTo>
                <a:lnTo>
                  <a:pt x="1911879" y="73819"/>
                </a:lnTo>
                <a:lnTo>
                  <a:pt x="1947863" y="70644"/>
                </a:lnTo>
                <a:lnTo>
                  <a:pt x="1988079" y="68263"/>
                </a:lnTo>
                <a:lnTo>
                  <a:pt x="2031471" y="65881"/>
                </a:lnTo>
                <a:lnTo>
                  <a:pt x="2078567" y="63500"/>
                </a:lnTo>
                <a:lnTo>
                  <a:pt x="2126192" y="61119"/>
                </a:lnTo>
                <a:lnTo>
                  <a:pt x="2173817" y="59531"/>
                </a:lnTo>
                <a:lnTo>
                  <a:pt x="2220384" y="58738"/>
                </a:lnTo>
                <a:lnTo>
                  <a:pt x="2265363" y="57150"/>
                </a:lnTo>
                <a:lnTo>
                  <a:pt x="2307167" y="57150"/>
                </a:lnTo>
                <a:lnTo>
                  <a:pt x="2344209" y="55563"/>
                </a:lnTo>
                <a:lnTo>
                  <a:pt x="2375959" y="55563"/>
                </a:lnTo>
                <a:lnTo>
                  <a:pt x="2400830" y="57150"/>
                </a:lnTo>
                <a:lnTo>
                  <a:pt x="2418292" y="57944"/>
                </a:lnTo>
                <a:lnTo>
                  <a:pt x="2430992" y="59531"/>
                </a:lnTo>
                <a:lnTo>
                  <a:pt x="2440517" y="61119"/>
                </a:lnTo>
                <a:lnTo>
                  <a:pt x="2446867" y="63500"/>
                </a:lnTo>
                <a:lnTo>
                  <a:pt x="2451100" y="64294"/>
                </a:lnTo>
                <a:lnTo>
                  <a:pt x="2454805" y="66675"/>
                </a:lnTo>
                <a:lnTo>
                  <a:pt x="2456921" y="69056"/>
                </a:lnTo>
                <a:lnTo>
                  <a:pt x="2460625" y="69056"/>
                </a:lnTo>
                <a:lnTo>
                  <a:pt x="2471738" y="68263"/>
                </a:lnTo>
                <a:lnTo>
                  <a:pt x="2494492" y="65088"/>
                </a:lnTo>
                <a:lnTo>
                  <a:pt x="2532592" y="60325"/>
                </a:lnTo>
                <a:lnTo>
                  <a:pt x="2578100" y="55563"/>
                </a:lnTo>
                <a:lnTo>
                  <a:pt x="2619905" y="53181"/>
                </a:lnTo>
                <a:lnTo>
                  <a:pt x="2658005" y="51594"/>
                </a:lnTo>
                <a:lnTo>
                  <a:pt x="2692930" y="51594"/>
                </a:lnTo>
                <a:lnTo>
                  <a:pt x="2726267" y="52388"/>
                </a:lnTo>
                <a:lnTo>
                  <a:pt x="2757488" y="53181"/>
                </a:lnTo>
                <a:lnTo>
                  <a:pt x="2787650" y="54769"/>
                </a:lnTo>
                <a:lnTo>
                  <a:pt x="2818342" y="57150"/>
                </a:lnTo>
                <a:lnTo>
                  <a:pt x="2848505" y="58738"/>
                </a:lnTo>
                <a:lnTo>
                  <a:pt x="2880783" y="60325"/>
                </a:lnTo>
                <a:lnTo>
                  <a:pt x="2913592" y="61119"/>
                </a:lnTo>
                <a:lnTo>
                  <a:pt x="2949575" y="61119"/>
                </a:lnTo>
                <a:lnTo>
                  <a:pt x="2988733" y="60325"/>
                </a:lnTo>
                <a:lnTo>
                  <a:pt x="3031067" y="58738"/>
                </a:lnTo>
                <a:lnTo>
                  <a:pt x="3077105" y="54769"/>
                </a:lnTo>
                <a:lnTo>
                  <a:pt x="3128434" y="48419"/>
                </a:lnTo>
                <a:lnTo>
                  <a:pt x="3179763" y="42863"/>
                </a:lnTo>
                <a:lnTo>
                  <a:pt x="3227917" y="38100"/>
                </a:lnTo>
                <a:lnTo>
                  <a:pt x="3272896" y="34131"/>
                </a:lnTo>
                <a:lnTo>
                  <a:pt x="3313642" y="32544"/>
                </a:lnTo>
                <a:lnTo>
                  <a:pt x="3351742" y="30956"/>
                </a:lnTo>
                <a:lnTo>
                  <a:pt x="3387196" y="30163"/>
                </a:lnTo>
                <a:lnTo>
                  <a:pt x="3418417" y="30163"/>
                </a:lnTo>
                <a:lnTo>
                  <a:pt x="3448050" y="30956"/>
                </a:lnTo>
                <a:lnTo>
                  <a:pt x="3498321" y="32544"/>
                </a:lnTo>
                <a:lnTo>
                  <a:pt x="3539596" y="35719"/>
                </a:lnTo>
                <a:lnTo>
                  <a:pt x="3570288" y="38100"/>
                </a:lnTo>
                <a:lnTo>
                  <a:pt x="3593571" y="38100"/>
                </a:lnTo>
                <a:lnTo>
                  <a:pt x="3754438" y="25400"/>
                </a:lnTo>
                <a:lnTo>
                  <a:pt x="3793067" y="22225"/>
                </a:lnTo>
                <a:lnTo>
                  <a:pt x="3823230" y="21431"/>
                </a:lnTo>
                <a:lnTo>
                  <a:pt x="3845983" y="20638"/>
                </a:lnTo>
                <a:lnTo>
                  <a:pt x="3863446" y="21431"/>
                </a:lnTo>
                <a:lnTo>
                  <a:pt x="3878792" y="22225"/>
                </a:lnTo>
                <a:lnTo>
                  <a:pt x="3892550" y="23019"/>
                </a:lnTo>
                <a:lnTo>
                  <a:pt x="3908425" y="26194"/>
                </a:lnTo>
                <a:lnTo>
                  <a:pt x="3926417" y="28575"/>
                </a:lnTo>
                <a:lnTo>
                  <a:pt x="3941233" y="30163"/>
                </a:lnTo>
                <a:lnTo>
                  <a:pt x="3956050" y="30163"/>
                </a:lnTo>
                <a:lnTo>
                  <a:pt x="3971925" y="27781"/>
                </a:lnTo>
                <a:lnTo>
                  <a:pt x="3987800" y="26194"/>
                </a:lnTo>
                <a:lnTo>
                  <a:pt x="4006321" y="24606"/>
                </a:lnTo>
                <a:lnTo>
                  <a:pt x="4026429" y="22225"/>
                </a:lnTo>
                <a:lnTo>
                  <a:pt x="4048125" y="20638"/>
                </a:lnTo>
                <a:lnTo>
                  <a:pt x="4072996" y="19844"/>
                </a:lnTo>
                <a:lnTo>
                  <a:pt x="4112683" y="19844"/>
                </a:lnTo>
                <a:lnTo>
                  <a:pt x="4158192" y="22225"/>
                </a:lnTo>
                <a:lnTo>
                  <a:pt x="4208463" y="26194"/>
                </a:lnTo>
                <a:lnTo>
                  <a:pt x="4261909" y="30163"/>
                </a:lnTo>
                <a:lnTo>
                  <a:pt x="4316942" y="33338"/>
                </a:lnTo>
                <a:lnTo>
                  <a:pt x="4373034" y="37306"/>
                </a:lnTo>
                <a:lnTo>
                  <a:pt x="4426479" y="38894"/>
                </a:lnTo>
                <a:lnTo>
                  <a:pt x="4477809" y="38894"/>
                </a:lnTo>
                <a:lnTo>
                  <a:pt x="4512204" y="38100"/>
                </a:lnTo>
                <a:lnTo>
                  <a:pt x="4544484" y="35719"/>
                </a:lnTo>
                <a:lnTo>
                  <a:pt x="4574117" y="32544"/>
                </a:lnTo>
                <a:lnTo>
                  <a:pt x="4604279" y="30163"/>
                </a:lnTo>
                <a:lnTo>
                  <a:pt x="4634971" y="26988"/>
                </a:lnTo>
                <a:lnTo>
                  <a:pt x="4667250" y="25400"/>
                </a:lnTo>
                <a:lnTo>
                  <a:pt x="4685242" y="25400"/>
                </a:lnTo>
                <a:lnTo>
                  <a:pt x="4704292" y="25400"/>
                </a:lnTo>
                <a:lnTo>
                  <a:pt x="4723342" y="25400"/>
                </a:lnTo>
                <a:lnTo>
                  <a:pt x="4744509" y="26988"/>
                </a:lnTo>
                <a:lnTo>
                  <a:pt x="4777317" y="30163"/>
                </a:lnTo>
                <a:lnTo>
                  <a:pt x="4795838" y="32544"/>
                </a:lnTo>
                <a:lnTo>
                  <a:pt x="4804304" y="35719"/>
                </a:lnTo>
                <a:lnTo>
                  <a:pt x="4810125" y="38100"/>
                </a:lnTo>
                <a:lnTo>
                  <a:pt x="4817004" y="39688"/>
                </a:lnTo>
                <a:lnTo>
                  <a:pt x="4830234" y="42069"/>
                </a:lnTo>
                <a:lnTo>
                  <a:pt x="4855104" y="42863"/>
                </a:lnTo>
                <a:lnTo>
                  <a:pt x="4896909" y="42863"/>
                </a:lnTo>
                <a:lnTo>
                  <a:pt x="4891088" y="54769"/>
                </a:lnTo>
                <a:lnTo>
                  <a:pt x="4886325" y="65088"/>
                </a:lnTo>
                <a:lnTo>
                  <a:pt x="4885796" y="74613"/>
                </a:lnTo>
                <a:lnTo>
                  <a:pt x="4886325" y="76200"/>
                </a:lnTo>
                <a:lnTo>
                  <a:pt x="4887384" y="76200"/>
                </a:lnTo>
                <a:lnTo>
                  <a:pt x="4890029" y="76994"/>
                </a:lnTo>
                <a:lnTo>
                  <a:pt x="4893734" y="79375"/>
                </a:lnTo>
                <a:lnTo>
                  <a:pt x="4898496" y="81756"/>
                </a:lnTo>
                <a:lnTo>
                  <a:pt x="4929717" y="80963"/>
                </a:lnTo>
                <a:lnTo>
                  <a:pt x="4954588" y="79375"/>
                </a:lnTo>
                <a:lnTo>
                  <a:pt x="4973109" y="78581"/>
                </a:lnTo>
                <a:lnTo>
                  <a:pt x="4986338" y="76200"/>
                </a:lnTo>
                <a:lnTo>
                  <a:pt x="4994804" y="74613"/>
                </a:lnTo>
                <a:lnTo>
                  <a:pt x="4998509" y="71438"/>
                </a:lnTo>
                <a:lnTo>
                  <a:pt x="4999567" y="70644"/>
                </a:lnTo>
                <a:lnTo>
                  <a:pt x="4999567" y="69850"/>
                </a:lnTo>
                <a:lnTo>
                  <a:pt x="4998509" y="68263"/>
                </a:lnTo>
                <a:lnTo>
                  <a:pt x="4996921" y="66675"/>
                </a:lnTo>
                <a:lnTo>
                  <a:pt x="4986867" y="59531"/>
                </a:lnTo>
                <a:lnTo>
                  <a:pt x="4973109" y="51594"/>
                </a:lnTo>
                <a:lnTo>
                  <a:pt x="4965701" y="46831"/>
                </a:lnTo>
                <a:lnTo>
                  <a:pt x="4959879" y="41275"/>
                </a:lnTo>
                <a:lnTo>
                  <a:pt x="4957763" y="38100"/>
                </a:lnTo>
                <a:lnTo>
                  <a:pt x="4955646" y="35719"/>
                </a:lnTo>
                <a:lnTo>
                  <a:pt x="4954059" y="32544"/>
                </a:lnTo>
                <a:lnTo>
                  <a:pt x="4953000" y="30163"/>
                </a:lnTo>
                <a:lnTo>
                  <a:pt x="4953000" y="16669"/>
                </a:lnTo>
                <a:lnTo>
                  <a:pt x="4953000" y="14288"/>
                </a:lnTo>
                <a:lnTo>
                  <a:pt x="4954059" y="11906"/>
                </a:lnTo>
                <a:lnTo>
                  <a:pt x="4955646" y="3175"/>
                </a:lnTo>
                <a:lnTo>
                  <a:pt x="4971521" y="6350"/>
                </a:lnTo>
                <a:lnTo>
                  <a:pt x="4979459" y="9525"/>
                </a:lnTo>
                <a:lnTo>
                  <a:pt x="4988454" y="11906"/>
                </a:lnTo>
                <a:lnTo>
                  <a:pt x="5006446" y="17463"/>
                </a:lnTo>
                <a:lnTo>
                  <a:pt x="5023379" y="21431"/>
                </a:lnTo>
                <a:lnTo>
                  <a:pt x="5040313" y="24606"/>
                </a:lnTo>
                <a:lnTo>
                  <a:pt x="5058834" y="26988"/>
                </a:lnTo>
                <a:lnTo>
                  <a:pt x="5076825" y="28575"/>
                </a:lnTo>
                <a:lnTo>
                  <a:pt x="5114925" y="30956"/>
                </a:lnTo>
                <a:lnTo>
                  <a:pt x="5152496" y="31750"/>
                </a:lnTo>
                <a:lnTo>
                  <a:pt x="5189009" y="31750"/>
                </a:lnTo>
                <a:lnTo>
                  <a:pt x="5222875" y="30956"/>
                </a:lnTo>
                <a:lnTo>
                  <a:pt x="5253038" y="30163"/>
                </a:lnTo>
                <a:lnTo>
                  <a:pt x="5276850" y="30163"/>
                </a:lnTo>
                <a:lnTo>
                  <a:pt x="5413904" y="25400"/>
                </a:lnTo>
                <a:lnTo>
                  <a:pt x="5421313" y="26194"/>
                </a:lnTo>
                <a:lnTo>
                  <a:pt x="5428192" y="26988"/>
                </a:lnTo>
                <a:lnTo>
                  <a:pt x="5434542" y="27781"/>
                </a:lnTo>
                <a:lnTo>
                  <a:pt x="5441421" y="28575"/>
                </a:lnTo>
                <a:lnTo>
                  <a:pt x="5712354" y="49213"/>
                </a:lnTo>
                <a:lnTo>
                  <a:pt x="5706534" y="44450"/>
                </a:lnTo>
                <a:lnTo>
                  <a:pt x="5700713" y="39688"/>
                </a:lnTo>
                <a:lnTo>
                  <a:pt x="5694892" y="36513"/>
                </a:lnTo>
                <a:lnTo>
                  <a:pt x="5689072" y="33338"/>
                </a:lnTo>
                <a:lnTo>
                  <a:pt x="5675842" y="28575"/>
                </a:lnTo>
                <a:lnTo>
                  <a:pt x="5662084" y="25400"/>
                </a:lnTo>
                <a:lnTo>
                  <a:pt x="5645679" y="22225"/>
                </a:lnTo>
                <a:lnTo>
                  <a:pt x="5627159" y="17463"/>
                </a:lnTo>
                <a:lnTo>
                  <a:pt x="5605992" y="11113"/>
                </a:lnTo>
                <a:lnTo>
                  <a:pt x="5582709" y="3175"/>
                </a:lnTo>
                <a:lnTo>
                  <a:pt x="5655734" y="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34545150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B4E198DF-1355-45EA-9FD2-33DF6056B3D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4630057" y="791031"/>
            <a:ext cx="7561943" cy="5631541"/>
          </a:xfrm>
          <a:prstGeom prst="rect">
            <a:avLst/>
          </a:pr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/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656256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3232E19B-57F2-41F0-A2E6-0D4CA8BB578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12192000" cy="6086710"/>
          </a:xfrm>
          <a:custGeom>
            <a:avLst/>
            <a:gdLst>
              <a:gd name="connsiteX0" fmla="*/ 0 w 12192000"/>
              <a:gd name="connsiteY0" fmla="*/ 0 h 6086710"/>
              <a:gd name="connsiteX1" fmla="*/ 12192000 w 12192000"/>
              <a:gd name="connsiteY1" fmla="*/ 0 h 6086710"/>
              <a:gd name="connsiteX2" fmla="*/ 12192000 w 12192000"/>
              <a:gd name="connsiteY2" fmla="*/ 4278228 h 6086710"/>
              <a:gd name="connsiteX3" fmla="*/ 6096000 w 12192000"/>
              <a:gd name="connsiteY3" fmla="*/ 6086710 h 6086710"/>
              <a:gd name="connsiteX4" fmla="*/ 0 w 12192000"/>
              <a:gd name="connsiteY4" fmla="*/ 4278228 h 60867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6086710">
                <a:moveTo>
                  <a:pt x="0" y="0"/>
                </a:moveTo>
                <a:lnTo>
                  <a:pt x="12192000" y="0"/>
                </a:lnTo>
                <a:lnTo>
                  <a:pt x="12192000" y="4278228"/>
                </a:lnTo>
                <a:lnTo>
                  <a:pt x="6096000" y="6086710"/>
                </a:lnTo>
                <a:lnTo>
                  <a:pt x="0" y="427822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80041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9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4">
            <a:extLst>
              <a:ext uri="{FF2B5EF4-FFF2-40B4-BE49-F238E27FC236}">
                <a16:creationId xmlns:a16="http://schemas.microsoft.com/office/drawing/2014/main" id="{BFC52393-61EA-4558-8CE4-50D9714C2C6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091543" y="680193"/>
            <a:ext cx="6008914" cy="5497614"/>
          </a:xfrm>
          <a:prstGeom prst="rect">
            <a:avLst/>
          </a:prstGeom>
          <a:noFill/>
        </p:spPr>
        <p:txBody>
          <a:bodyPr/>
          <a:lstStyle>
            <a:lvl1pPr marL="0" indent="0" algn="ctr">
              <a:buNone/>
              <a:defRPr sz="12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41014792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AD34E8A8-B4C4-4A80-8915-9AB32BC32BDB}"/>
              </a:ext>
            </a:extLst>
          </p:cNvPr>
          <p:cNvSpPr/>
          <p:nvPr userDrawn="1"/>
        </p:nvSpPr>
        <p:spPr>
          <a:xfrm>
            <a:off x="0" y="3153101"/>
            <a:ext cx="5679355" cy="3704899"/>
          </a:xfrm>
          <a:prstGeom prst="rtTriangle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1E25E996-06DD-43E6-AF42-4587CC1F8AD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" y="-4"/>
            <a:ext cx="8739351" cy="6858000"/>
          </a:xfrm>
          <a:custGeom>
            <a:avLst/>
            <a:gdLst>
              <a:gd name="connsiteX0" fmla="*/ 0 w 8739351"/>
              <a:gd name="connsiteY0" fmla="*/ 0 h 6858000"/>
              <a:gd name="connsiteX1" fmla="*/ 8739351 w 8739351"/>
              <a:gd name="connsiteY1" fmla="*/ 0 h 6858000"/>
              <a:gd name="connsiteX2" fmla="*/ 0 w 8739351"/>
              <a:gd name="connsiteY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8739351" h="6858000">
                <a:moveTo>
                  <a:pt x="0" y="0"/>
                </a:moveTo>
                <a:lnTo>
                  <a:pt x="8739351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38100">
            <a:noFill/>
          </a:ln>
        </p:spPr>
        <p:txBody>
          <a:bodyPr wrap="square">
            <a:noAutofit/>
          </a:bodyPr>
          <a:lstStyle>
            <a:lvl1pPr marL="0" indent="0" algn="ctr">
              <a:buNone/>
              <a:defRPr sz="1067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178528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/>
          <p:cNvSpPr>
            <a:spLocks noGrp="1"/>
          </p:cNvSpPr>
          <p:nvPr>
            <p:ph type="pic" sz="quarter" idx="10"/>
          </p:nvPr>
        </p:nvSpPr>
        <p:spPr>
          <a:xfrm>
            <a:off x="7124700" y="1"/>
            <a:ext cx="506730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/>
          </a:p>
        </p:txBody>
      </p:sp>
      <p:sp>
        <p:nvSpPr>
          <p:cNvPr id="4" name="Picture Placeholder 7"/>
          <p:cNvSpPr>
            <a:spLocks noGrp="1"/>
          </p:cNvSpPr>
          <p:nvPr>
            <p:ph type="pic" sz="quarter" idx="11"/>
          </p:nvPr>
        </p:nvSpPr>
        <p:spPr>
          <a:xfrm>
            <a:off x="1" y="4586515"/>
            <a:ext cx="2362199" cy="15312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/>
          </a:p>
        </p:txBody>
      </p:sp>
      <p:sp>
        <p:nvSpPr>
          <p:cNvPr id="5" name="Picture Placeholder 7"/>
          <p:cNvSpPr>
            <a:spLocks noGrp="1"/>
          </p:cNvSpPr>
          <p:nvPr>
            <p:ph type="pic" sz="quarter" idx="12"/>
          </p:nvPr>
        </p:nvSpPr>
        <p:spPr>
          <a:xfrm>
            <a:off x="2362200" y="4586515"/>
            <a:ext cx="2362199" cy="15312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 dirty="0"/>
          </a:p>
        </p:txBody>
      </p:sp>
      <p:sp>
        <p:nvSpPr>
          <p:cNvPr id="6" name="Picture Placeholder 7"/>
          <p:cNvSpPr>
            <a:spLocks noGrp="1"/>
          </p:cNvSpPr>
          <p:nvPr>
            <p:ph type="pic" sz="quarter" idx="13"/>
          </p:nvPr>
        </p:nvSpPr>
        <p:spPr>
          <a:xfrm>
            <a:off x="4724399" y="4586515"/>
            <a:ext cx="2400301" cy="153125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6117773"/>
            <a:ext cx="7124700" cy="74022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8570115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4" grpId="0" animBg="1"/>
      <p:bldP spid="5" grpId="0" animBg="1"/>
      <p:bldP spid="6" grpId="0" animBg="1"/>
      <p:bldP spid="7" grpId="0" animBg="1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A86A5FA8-C9F1-4F5E-9276-00C20D4CAB2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56385" y="711091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  <p:sp>
        <p:nvSpPr>
          <p:cNvPr id="9" name="Picture Placeholder 10">
            <a:extLst>
              <a:ext uri="{FF2B5EF4-FFF2-40B4-BE49-F238E27FC236}">
                <a16:creationId xmlns:a16="http://schemas.microsoft.com/office/drawing/2014/main" id="{07081930-5780-4322-BB38-AD487DB2A5D1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456385" y="2565814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  <p:sp>
        <p:nvSpPr>
          <p:cNvPr id="10" name="Picture Placeholder 10">
            <a:extLst>
              <a:ext uri="{FF2B5EF4-FFF2-40B4-BE49-F238E27FC236}">
                <a16:creationId xmlns:a16="http://schemas.microsoft.com/office/drawing/2014/main" id="{2AF86BB1-3FC3-4188-A0EA-FF498DF2C96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456385" y="4420537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1976870-ED63-4C9B-A05D-C943A7A5240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2672445" y="1636327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1184B8CD-081E-4920-A143-1189745A8C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672445" y="3493176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ECA7EF3D-334C-4363-A665-955F8E0A331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88505" y="2565814"/>
            <a:ext cx="1639615" cy="1726372"/>
          </a:xfrm>
          <a:custGeom>
            <a:avLst/>
            <a:gdLst>
              <a:gd name="connsiteX0" fmla="*/ 40794 w 1639615"/>
              <a:gd name="connsiteY0" fmla="*/ 0 h 1726372"/>
              <a:gd name="connsiteX1" fmla="*/ 1598821 w 1639615"/>
              <a:gd name="connsiteY1" fmla="*/ 0 h 1726372"/>
              <a:gd name="connsiteX2" fmla="*/ 1639615 w 1639615"/>
              <a:gd name="connsiteY2" fmla="*/ 40794 h 1726372"/>
              <a:gd name="connsiteX3" fmla="*/ 1639615 w 1639615"/>
              <a:gd name="connsiteY3" fmla="*/ 1685578 h 1726372"/>
              <a:gd name="connsiteX4" fmla="*/ 1598821 w 1639615"/>
              <a:gd name="connsiteY4" fmla="*/ 1726372 h 1726372"/>
              <a:gd name="connsiteX5" fmla="*/ 40794 w 1639615"/>
              <a:gd name="connsiteY5" fmla="*/ 1726372 h 1726372"/>
              <a:gd name="connsiteX6" fmla="*/ 0 w 1639615"/>
              <a:gd name="connsiteY6" fmla="*/ 1685578 h 1726372"/>
              <a:gd name="connsiteX7" fmla="*/ 0 w 1639615"/>
              <a:gd name="connsiteY7" fmla="*/ 40794 h 1726372"/>
              <a:gd name="connsiteX8" fmla="*/ 40794 w 1639615"/>
              <a:gd name="connsiteY8" fmla="*/ 0 h 172637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39615" h="1726372">
                <a:moveTo>
                  <a:pt x="40794" y="0"/>
                </a:moveTo>
                <a:lnTo>
                  <a:pt x="1598821" y="0"/>
                </a:lnTo>
                <a:cubicBezTo>
                  <a:pt x="1621351" y="0"/>
                  <a:pt x="1639615" y="18264"/>
                  <a:pt x="1639615" y="40794"/>
                </a:cubicBezTo>
                <a:lnTo>
                  <a:pt x="1639615" y="1685578"/>
                </a:lnTo>
                <a:cubicBezTo>
                  <a:pt x="1639615" y="1708108"/>
                  <a:pt x="1621351" y="1726372"/>
                  <a:pt x="1598821" y="1726372"/>
                </a:cubicBezTo>
                <a:lnTo>
                  <a:pt x="40794" y="1726372"/>
                </a:lnTo>
                <a:cubicBezTo>
                  <a:pt x="18264" y="1726372"/>
                  <a:pt x="0" y="1708108"/>
                  <a:pt x="0" y="1685578"/>
                </a:cubicBezTo>
                <a:lnTo>
                  <a:pt x="0" y="40794"/>
                </a:lnTo>
                <a:cubicBezTo>
                  <a:pt x="0" y="18264"/>
                  <a:pt x="18264" y="0"/>
                  <a:pt x="40794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00"/>
            </a:lvl1pPr>
          </a:lstStyle>
          <a:p>
            <a:endParaRPr lang="id-ID" dirty="0"/>
          </a:p>
        </p:txBody>
      </p:sp>
    </p:spTree>
    <p:extLst>
      <p:ext uri="{BB962C8B-B14F-4D97-AF65-F5344CB8AC3E}">
        <p14:creationId xmlns:p14="http://schemas.microsoft.com/office/powerpoint/2010/main" val="13280656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75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4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75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4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0" grpId="0" animBg="1"/>
      <p:bldP spid="11" grpId="0" animBg="1"/>
      <p:bldP spid="12" grpId="0" animBg="1"/>
      <p:bldP spid="13" grpId="0" animBg="1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923490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5">
            <a:extLst>
              <a:ext uri="{FF2B5EF4-FFF2-40B4-BE49-F238E27FC236}">
                <a16:creationId xmlns:a16="http://schemas.microsoft.com/office/drawing/2014/main" id="{038B2578-13AE-4106-96F4-71DC7CFA59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-2" y="0"/>
            <a:ext cx="10114673" cy="5776687"/>
          </a:xfrm>
          <a:custGeom>
            <a:avLst/>
            <a:gdLst>
              <a:gd name="connsiteX0" fmla="*/ 6026131 w 10114673"/>
              <a:gd name="connsiteY0" fmla="*/ 0 h 5776687"/>
              <a:gd name="connsiteX1" fmla="*/ 10114673 w 10114673"/>
              <a:gd name="connsiteY1" fmla="*/ 0 h 5776687"/>
              <a:gd name="connsiteX2" fmla="*/ 7944780 w 10114673"/>
              <a:gd name="connsiteY2" fmla="*/ 2177143 h 5776687"/>
              <a:gd name="connsiteX3" fmla="*/ 3856238 w 10114673"/>
              <a:gd name="connsiteY3" fmla="*/ 2177143 h 5776687"/>
              <a:gd name="connsiteX4" fmla="*/ 0 w 10114673"/>
              <a:gd name="connsiteY4" fmla="*/ 0 h 5776687"/>
              <a:gd name="connsiteX5" fmla="*/ 5776687 w 10114673"/>
              <a:gd name="connsiteY5" fmla="*/ 0 h 5776687"/>
              <a:gd name="connsiteX6" fmla="*/ 3614057 w 10114673"/>
              <a:gd name="connsiteY6" fmla="*/ 2162630 h 5776687"/>
              <a:gd name="connsiteX7" fmla="*/ 2322287 w 10114673"/>
              <a:gd name="connsiteY7" fmla="*/ 2162630 h 5776687"/>
              <a:gd name="connsiteX8" fmla="*/ 2322287 w 10114673"/>
              <a:gd name="connsiteY8" fmla="*/ 3454400 h 5776687"/>
              <a:gd name="connsiteX9" fmla="*/ 0 w 10114673"/>
              <a:gd name="connsiteY9" fmla="*/ 5776687 h 57766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0114673" h="5776687">
                <a:moveTo>
                  <a:pt x="6026131" y="0"/>
                </a:moveTo>
                <a:lnTo>
                  <a:pt x="10114673" y="0"/>
                </a:lnTo>
                <a:lnTo>
                  <a:pt x="7944780" y="2177143"/>
                </a:lnTo>
                <a:lnTo>
                  <a:pt x="3856238" y="2177143"/>
                </a:lnTo>
                <a:close/>
                <a:moveTo>
                  <a:pt x="0" y="0"/>
                </a:moveTo>
                <a:lnTo>
                  <a:pt x="5776687" y="0"/>
                </a:lnTo>
                <a:lnTo>
                  <a:pt x="3614057" y="2162630"/>
                </a:lnTo>
                <a:lnTo>
                  <a:pt x="2322287" y="2162630"/>
                </a:lnTo>
                <a:lnTo>
                  <a:pt x="2322287" y="3454400"/>
                </a:lnTo>
                <a:lnTo>
                  <a:pt x="0" y="5776687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6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265737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F1E1731E-10C4-4301-B376-ACF3F156546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89634" y="560440"/>
            <a:ext cx="6681018" cy="5737123"/>
          </a:xfrm>
          <a:custGeom>
            <a:avLst/>
            <a:gdLst>
              <a:gd name="connsiteX0" fmla="*/ 0 w 6681018"/>
              <a:gd name="connsiteY0" fmla="*/ 116123 h 5737123"/>
              <a:gd name="connsiteX1" fmla="*/ 6542984 w 6681018"/>
              <a:gd name="connsiteY1" fmla="*/ 5737123 h 5737123"/>
              <a:gd name="connsiteX2" fmla="*/ 0 w 6681018"/>
              <a:gd name="connsiteY2" fmla="*/ 5737123 h 5737123"/>
              <a:gd name="connsiteX3" fmla="*/ 138033 w 6681018"/>
              <a:gd name="connsiteY3" fmla="*/ 0 h 5737123"/>
              <a:gd name="connsiteX4" fmla="*/ 6681018 w 6681018"/>
              <a:gd name="connsiteY4" fmla="*/ 0 h 5737123"/>
              <a:gd name="connsiteX5" fmla="*/ 6681018 w 6681018"/>
              <a:gd name="connsiteY5" fmla="*/ 5621002 h 573712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681018" h="5737123">
                <a:moveTo>
                  <a:pt x="0" y="116123"/>
                </a:moveTo>
                <a:lnTo>
                  <a:pt x="6542984" y="5737123"/>
                </a:lnTo>
                <a:lnTo>
                  <a:pt x="0" y="5737123"/>
                </a:lnTo>
                <a:close/>
                <a:moveTo>
                  <a:pt x="138033" y="0"/>
                </a:moveTo>
                <a:lnTo>
                  <a:pt x="6681018" y="0"/>
                </a:lnTo>
                <a:lnTo>
                  <a:pt x="6681018" y="5621002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251005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9771A6-C62D-4E5A-A6A5-7030CEA5330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522400"/>
            <a:ext cx="10515600" cy="1168288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GB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1B8CEA-F1CF-4AFC-B112-9644EC011A8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833F7A4-2372-4066-A6B6-6DBBF2A00F1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90ADD663-07A3-4522-9D57-50BC6C61BBE4}"/>
              </a:ext>
            </a:extLst>
          </p:cNvPr>
          <p:cNvSpPr/>
          <p:nvPr userDrawn="1"/>
        </p:nvSpPr>
        <p:spPr>
          <a:xfrm>
            <a:off x="-1" y="6426353"/>
            <a:ext cx="12236477" cy="431651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8" name="Footer Placeholder 4">
            <a:extLst>
              <a:ext uri="{FF2B5EF4-FFF2-40B4-BE49-F238E27FC236}">
                <a16:creationId xmlns:a16="http://schemas.microsoft.com/office/drawing/2014/main" id="{78A1619A-F60C-4BD7-86B1-DEEDBF097D3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9" name="Slide Number Placeholder 5">
            <a:extLst>
              <a:ext uri="{FF2B5EF4-FFF2-40B4-BE49-F238E27FC236}">
                <a16:creationId xmlns:a16="http://schemas.microsoft.com/office/drawing/2014/main" id="{DDECC819-3D83-44F5-A824-CEEA73FCE1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0" name="Picture 29">
            <a:extLst>
              <a:ext uri="{FF2B5EF4-FFF2-40B4-BE49-F238E27FC236}">
                <a16:creationId xmlns:a16="http://schemas.microsoft.com/office/drawing/2014/main" id="{188B5BF7-C16B-4F11-875A-11C2CDF0CD3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830417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2_Custom Layout">
    <p:bg>
      <p:bgPr>
        <a:solidFill>
          <a:srgbClr val="21282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0" y="0"/>
            <a:ext cx="12192000" cy="3416300"/>
          </a:xfrm>
          <a:prstGeom prst="rect">
            <a:avLst/>
          </a:prstGeom>
          <a:gradFill>
            <a:gsLst>
              <a:gs pos="0">
                <a:schemeClr val="accent1">
                  <a:lumMod val="75000"/>
                </a:schemeClr>
              </a:gs>
              <a:gs pos="100000">
                <a:schemeClr val="accent1"/>
              </a:gs>
            </a:gsLst>
            <a:lin ang="27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70600" cy="3416300"/>
          </a:xfrm>
          <a:custGeom>
            <a:avLst/>
            <a:gdLst>
              <a:gd name="connsiteX0" fmla="*/ 0 w 6070600"/>
              <a:gd name="connsiteY0" fmla="*/ 0 h 3416300"/>
              <a:gd name="connsiteX1" fmla="*/ 3556000 w 6070600"/>
              <a:gd name="connsiteY1" fmla="*/ 0 h 3416300"/>
              <a:gd name="connsiteX2" fmla="*/ 6070600 w 6070600"/>
              <a:gd name="connsiteY2" fmla="*/ 3416300 h 3416300"/>
              <a:gd name="connsiteX3" fmla="*/ 3556000 w 6070600"/>
              <a:gd name="connsiteY3" fmla="*/ 3416300 h 3416300"/>
              <a:gd name="connsiteX4" fmla="*/ 0 w 6070600"/>
              <a:gd name="connsiteY4" fmla="*/ 3416300 h 341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70600" h="3416300">
                <a:moveTo>
                  <a:pt x="0" y="0"/>
                </a:moveTo>
                <a:lnTo>
                  <a:pt x="3556000" y="0"/>
                </a:lnTo>
                <a:lnTo>
                  <a:pt x="6070600" y="3416300"/>
                </a:lnTo>
                <a:lnTo>
                  <a:pt x="3556000" y="3416300"/>
                </a:lnTo>
                <a:lnTo>
                  <a:pt x="0" y="34163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 dirty="0"/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1"/>
          </p:nvPr>
        </p:nvSpPr>
        <p:spPr>
          <a:xfrm>
            <a:off x="6070600" y="3416300"/>
            <a:ext cx="6121400" cy="3416300"/>
          </a:xfrm>
          <a:custGeom>
            <a:avLst/>
            <a:gdLst>
              <a:gd name="connsiteX0" fmla="*/ 0 w 6121400"/>
              <a:gd name="connsiteY0" fmla="*/ 0 h 3416300"/>
              <a:gd name="connsiteX1" fmla="*/ 2514600 w 6121400"/>
              <a:gd name="connsiteY1" fmla="*/ 0 h 3416300"/>
              <a:gd name="connsiteX2" fmla="*/ 6121400 w 6121400"/>
              <a:gd name="connsiteY2" fmla="*/ 0 h 3416300"/>
              <a:gd name="connsiteX3" fmla="*/ 6121400 w 6121400"/>
              <a:gd name="connsiteY3" fmla="*/ 3416300 h 3416300"/>
              <a:gd name="connsiteX4" fmla="*/ 2514600 w 6121400"/>
              <a:gd name="connsiteY4" fmla="*/ 3416300 h 3416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21400" h="3416300">
                <a:moveTo>
                  <a:pt x="0" y="0"/>
                </a:moveTo>
                <a:lnTo>
                  <a:pt x="2514600" y="0"/>
                </a:lnTo>
                <a:lnTo>
                  <a:pt x="6121400" y="0"/>
                </a:lnTo>
                <a:lnTo>
                  <a:pt x="6121400" y="3416300"/>
                </a:lnTo>
                <a:lnTo>
                  <a:pt x="2514600" y="34163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9988819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2120905 h 6858000"/>
              <a:gd name="connsiteX2" fmla="*/ 12192000 w 12192000"/>
              <a:gd name="connsiteY2" fmla="*/ 6858000 h 6858000"/>
              <a:gd name="connsiteX3" fmla="*/ 0 w 12192000"/>
              <a:gd name="connsiteY3" fmla="*/ 473709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2120905"/>
                </a:lnTo>
                <a:lnTo>
                  <a:pt x="12192000" y="6858000"/>
                </a:lnTo>
                <a:lnTo>
                  <a:pt x="0" y="4737095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2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1995064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/>
          <p:cNvSpPr>
            <a:spLocks noGrp="1"/>
          </p:cNvSpPr>
          <p:nvPr>
            <p:ph type="pic" sz="quarter" idx="10"/>
          </p:nvPr>
        </p:nvSpPr>
        <p:spPr>
          <a:xfrm>
            <a:off x="-35028" y="0"/>
            <a:ext cx="12227028" cy="6851300"/>
          </a:xfrm>
          <a:custGeom>
            <a:avLst/>
            <a:gdLst>
              <a:gd name="connsiteX0" fmla="*/ 6208284 w 12227028"/>
              <a:gd name="connsiteY0" fmla="*/ 0 h 6851300"/>
              <a:gd name="connsiteX1" fmla="*/ 8801378 w 12227028"/>
              <a:gd name="connsiteY1" fmla="*/ 0 h 6851300"/>
              <a:gd name="connsiteX2" fmla="*/ 12227028 w 12227028"/>
              <a:gd name="connsiteY2" fmla="*/ 3425650 h 6851300"/>
              <a:gd name="connsiteX3" fmla="*/ 8801378 w 12227028"/>
              <a:gd name="connsiteY3" fmla="*/ 6851300 h 6851300"/>
              <a:gd name="connsiteX4" fmla="*/ 6208284 w 12227028"/>
              <a:gd name="connsiteY4" fmla="*/ 6851300 h 6851300"/>
              <a:gd name="connsiteX5" fmla="*/ 9633934 w 12227028"/>
              <a:gd name="connsiteY5" fmla="*/ 3425650 h 6851300"/>
              <a:gd name="connsiteX6" fmla="*/ 3425650 w 12227028"/>
              <a:gd name="connsiteY6" fmla="*/ 0 h 6851300"/>
              <a:gd name="connsiteX7" fmla="*/ 6018744 w 12227028"/>
              <a:gd name="connsiteY7" fmla="*/ 0 h 6851300"/>
              <a:gd name="connsiteX8" fmla="*/ 2593094 w 12227028"/>
              <a:gd name="connsiteY8" fmla="*/ 3425650 h 6851300"/>
              <a:gd name="connsiteX9" fmla="*/ 6018744 w 12227028"/>
              <a:gd name="connsiteY9" fmla="*/ 6851300 h 6851300"/>
              <a:gd name="connsiteX10" fmla="*/ 3425650 w 12227028"/>
              <a:gd name="connsiteY10" fmla="*/ 6851300 h 6851300"/>
              <a:gd name="connsiteX11" fmla="*/ 0 w 12227028"/>
              <a:gd name="connsiteY11" fmla="*/ 3425650 h 68513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227028" h="6851300">
                <a:moveTo>
                  <a:pt x="6208284" y="0"/>
                </a:moveTo>
                <a:lnTo>
                  <a:pt x="8801378" y="0"/>
                </a:lnTo>
                <a:lnTo>
                  <a:pt x="12227028" y="3425650"/>
                </a:lnTo>
                <a:lnTo>
                  <a:pt x="8801378" y="6851300"/>
                </a:lnTo>
                <a:lnTo>
                  <a:pt x="6208284" y="6851300"/>
                </a:lnTo>
                <a:lnTo>
                  <a:pt x="9633934" y="3425650"/>
                </a:lnTo>
                <a:close/>
                <a:moveTo>
                  <a:pt x="3425650" y="0"/>
                </a:moveTo>
                <a:lnTo>
                  <a:pt x="6018744" y="0"/>
                </a:lnTo>
                <a:lnTo>
                  <a:pt x="2593094" y="3425650"/>
                </a:lnTo>
                <a:lnTo>
                  <a:pt x="6018744" y="6851300"/>
                </a:lnTo>
                <a:lnTo>
                  <a:pt x="3425650" y="6851300"/>
                </a:lnTo>
                <a:lnTo>
                  <a:pt x="0" y="342565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891213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/>
          <p:cNvSpPr>
            <a:spLocks noGrp="1"/>
          </p:cNvSpPr>
          <p:nvPr>
            <p:ph type="pic" sz="quarter" idx="10"/>
          </p:nvPr>
        </p:nvSpPr>
        <p:spPr>
          <a:xfrm>
            <a:off x="5105400" y="876303"/>
            <a:ext cx="7086600" cy="5981699"/>
          </a:xfrm>
          <a:custGeom>
            <a:avLst/>
            <a:gdLst>
              <a:gd name="connsiteX0" fmla="*/ 4420311 w 7086600"/>
              <a:gd name="connsiteY0" fmla="*/ 0 h 5981699"/>
              <a:gd name="connsiteX1" fmla="*/ 7086600 w 7086600"/>
              <a:gd name="connsiteY1" fmla="*/ 2666289 h 5981699"/>
              <a:gd name="connsiteX2" fmla="*/ 7086600 w 7086600"/>
              <a:gd name="connsiteY2" fmla="*/ 5981699 h 5981699"/>
              <a:gd name="connsiteX3" fmla="*/ 1561388 w 7086600"/>
              <a:gd name="connsiteY3" fmla="*/ 5981699 h 5981699"/>
              <a:gd name="connsiteX4" fmla="*/ 0 w 7086600"/>
              <a:gd name="connsiteY4" fmla="*/ 4420311 h 59816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086600" h="5981699">
                <a:moveTo>
                  <a:pt x="4420311" y="0"/>
                </a:moveTo>
                <a:lnTo>
                  <a:pt x="7086600" y="2666289"/>
                </a:lnTo>
                <a:lnTo>
                  <a:pt x="7086600" y="5981699"/>
                </a:lnTo>
                <a:lnTo>
                  <a:pt x="1561388" y="5981699"/>
                </a:lnTo>
                <a:lnTo>
                  <a:pt x="0" y="442031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6637816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0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0"/>
          </p:nvPr>
        </p:nvSpPr>
        <p:spPr>
          <a:xfrm>
            <a:off x="3889375" y="0"/>
            <a:ext cx="8302625" cy="6858000"/>
          </a:xfrm>
          <a:prstGeom prst="rect">
            <a:avLst/>
          </a:prstGeom>
        </p:spPr>
        <p:txBody>
          <a:bodyPr/>
          <a:lstStyle/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70152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9">
            <a:extLst>
              <a:ext uri="{FF2B5EF4-FFF2-40B4-BE49-F238E27FC236}">
                <a16:creationId xmlns:a16="http://schemas.microsoft.com/office/drawing/2014/main" id="{3D6544E9-1C75-42D3-BCC6-3E4D26501C6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513248" y="522514"/>
            <a:ext cx="10156488" cy="5375729"/>
          </a:xfrm>
          <a:custGeom>
            <a:avLst/>
            <a:gdLst>
              <a:gd name="connsiteX0" fmla="*/ 2400300 w 9213850"/>
              <a:gd name="connsiteY0" fmla="*/ 654050 h 4876800"/>
              <a:gd name="connsiteX1" fmla="*/ 4248293 w 9213850"/>
              <a:gd name="connsiteY1" fmla="*/ 654050 h 4876800"/>
              <a:gd name="connsiteX2" fmla="*/ 8477250 w 9213850"/>
              <a:gd name="connsiteY2" fmla="*/ 4876800 h 4876800"/>
              <a:gd name="connsiteX3" fmla="*/ 6629257 w 9213850"/>
              <a:gd name="connsiteY3" fmla="*/ 4876800 h 4876800"/>
              <a:gd name="connsiteX4" fmla="*/ 0 w 9213850"/>
              <a:gd name="connsiteY4" fmla="*/ 285750 h 4876800"/>
              <a:gd name="connsiteX5" fmla="*/ 1847993 w 9213850"/>
              <a:gd name="connsiteY5" fmla="*/ 285750 h 4876800"/>
              <a:gd name="connsiteX6" fmla="*/ 6076950 w 9213850"/>
              <a:gd name="connsiteY6" fmla="*/ 4508500 h 4876800"/>
              <a:gd name="connsiteX7" fmla="*/ 4228957 w 9213850"/>
              <a:gd name="connsiteY7" fmla="*/ 4508500 h 4876800"/>
              <a:gd name="connsiteX8" fmla="*/ 3784600 w 9213850"/>
              <a:gd name="connsiteY8" fmla="*/ 0 h 4876800"/>
              <a:gd name="connsiteX9" fmla="*/ 5589029 w 9213850"/>
              <a:gd name="connsiteY9" fmla="*/ 0 h 4876800"/>
              <a:gd name="connsiteX10" fmla="*/ 9213850 w 9213850"/>
              <a:gd name="connsiteY10" fmla="*/ 3619500 h 4876800"/>
              <a:gd name="connsiteX11" fmla="*/ 7409421 w 9213850"/>
              <a:gd name="connsiteY11" fmla="*/ 3619500 h 48768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9213850" h="4876800">
                <a:moveTo>
                  <a:pt x="2400300" y="654050"/>
                </a:moveTo>
                <a:lnTo>
                  <a:pt x="4248293" y="654050"/>
                </a:lnTo>
                <a:lnTo>
                  <a:pt x="8477250" y="4876800"/>
                </a:lnTo>
                <a:lnTo>
                  <a:pt x="6629257" y="4876800"/>
                </a:lnTo>
                <a:close/>
                <a:moveTo>
                  <a:pt x="0" y="285750"/>
                </a:moveTo>
                <a:lnTo>
                  <a:pt x="1847993" y="285750"/>
                </a:lnTo>
                <a:lnTo>
                  <a:pt x="6076950" y="4508500"/>
                </a:lnTo>
                <a:lnTo>
                  <a:pt x="4228957" y="4508500"/>
                </a:lnTo>
                <a:close/>
                <a:moveTo>
                  <a:pt x="3784600" y="0"/>
                </a:moveTo>
                <a:lnTo>
                  <a:pt x="5589029" y="0"/>
                </a:lnTo>
                <a:lnTo>
                  <a:pt x="9213850" y="3619500"/>
                </a:lnTo>
                <a:lnTo>
                  <a:pt x="7409421" y="3619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642286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0"/>
          </p:nvPr>
        </p:nvSpPr>
        <p:spPr>
          <a:xfrm>
            <a:off x="214661" y="1"/>
            <a:ext cx="6625463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1"/>
          </p:nvPr>
        </p:nvSpPr>
        <p:spPr>
          <a:xfrm>
            <a:off x="3527392" y="0"/>
            <a:ext cx="6625463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2"/>
          </p:nvPr>
        </p:nvSpPr>
        <p:spPr>
          <a:xfrm>
            <a:off x="6840123" y="0"/>
            <a:ext cx="6625463" cy="3497943"/>
          </a:xfrm>
          <a:custGeom>
            <a:avLst/>
            <a:gdLst>
              <a:gd name="connsiteX0" fmla="*/ 3466881 w 6625463"/>
              <a:gd name="connsiteY0" fmla="*/ 0 h 3497943"/>
              <a:gd name="connsiteX1" fmla="*/ 6625463 w 6625463"/>
              <a:gd name="connsiteY1" fmla="*/ 0 h 3497943"/>
              <a:gd name="connsiteX2" fmla="*/ 3158582 w 6625463"/>
              <a:gd name="connsiteY2" fmla="*/ 3497943 h 3497943"/>
              <a:gd name="connsiteX3" fmla="*/ 0 w 6625463"/>
              <a:gd name="connsiteY3" fmla="*/ 3497943 h 34979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625463" h="3497943">
                <a:moveTo>
                  <a:pt x="3466881" y="0"/>
                </a:moveTo>
                <a:lnTo>
                  <a:pt x="6625463" y="0"/>
                </a:lnTo>
                <a:lnTo>
                  <a:pt x="3158582" y="3497943"/>
                </a:lnTo>
                <a:lnTo>
                  <a:pt x="0" y="3497943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07301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1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75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5" grpId="0" animBg="1"/>
      <p:bldP spid="16" grpId="0" animBg="1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5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15E22318-6E40-4663-B48D-E1189C04BE0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4400" y="1"/>
            <a:ext cx="4381500" cy="685799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3493913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1733551" y="0"/>
            <a:ext cx="3619500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1072636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8268314-5E09-486F-B671-EBCC5EF4D9B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5138757" y="688521"/>
            <a:ext cx="2999149" cy="2999149"/>
          </a:xfrm>
          <a:custGeom>
            <a:avLst/>
            <a:gdLst>
              <a:gd name="connsiteX0" fmla="*/ 50176 w 2999149"/>
              <a:gd name="connsiteY0" fmla="*/ 0 h 2999149"/>
              <a:gd name="connsiteX1" fmla="*/ 2948973 w 2999149"/>
              <a:gd name="connsiteY1" fmla="*/ 0 h 2999149"/>
              <a:gd name="connsiteX2" fmla="*/ 2999149 w 2999149"/>
              <a:gd name="connsiteY2" fmla="*/ 50176 h 2999149"/>
              <a:gd name="connsiteX3" fmla="*/ 2999149 w 2999149"/>
              <a:gd name="connsiteY3" fmla="*/ 2948973 h 2999149"/>
              <a:gd name="connsiteX4" fmla="*/ 2948973 w 2999149"/>
              <a:gd name="connsiteY4" fmla="*/ 2999149 h 2999149"/>
              <a:gd name="connsiteX5" fmla="*/ 50176 w 2999149"/>
              <a:gd name="connsiteY5" fmla="*/ 2999149 h 2999149"/>
              <a:gd name="connsiteX6" fmla="*/ 0 w 2999149"/>
              <a:gd name="connsiteY6" fmla="*/ 2948973 h 2999149"/>
              <a:gd name="connsiteX7" fmla="*/ 0 w 2999149"/>
              <a:gd name="connsiteY7" fmla="*/ 50176 h 2999149"/>
              <a:gd name="connsiteX8" fmla="*/ 50176 w 2999149"/>
              <a:gd name="connsiteY8" fmla="*/ 0 h 299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9149" h="2999149">
                <a:moveTo>
                  <a:pt x="50176" y="0"/>
                </a:moveTo>
                <a:lnTo>
                  <a:pt x="2948973" y="0"/>
                </a:lnTo>
                <a:cubicBezTo>
                  <a:pt x="2976684" y="0"/>
                  <a:pt x="2999149" y="22465"/>
                  <a:pt x="2999149" y="50176"/>
                </a:cubicBezTo>
                <a:lnTo>
                  <a:pt x="2999149" y="2948973"/>
                </a:lnTo>
                <a:cubicBezTo>
                  <a:pt x="2999149" y="2976684"/>
                  <a:pt x="2976684" y="2999149"/>
                  <a:pt x="2948973" y="2999149"/>
                </a:cubicBezTo>
                <a:lnTo>
                  <a:pt x="50176" y="2999149"/>
                </a:lnTo>
                <a:cubicBezTo>
                  <a:pt x="22465" y="2999149"/>
                  <a:pt x="0" y="2976684"/>
                  <a:pt x="0" y="2948973"/>
                </a:cubicBezTo>
                <a:lnTo>
                  <a:pt x="0" y="50176"/>
                </a:lnTo>
                <a:cubicBezTo>
                  <a:pt x="0" y="22465"/>
                  <a:pt x="22465" y="0"/>
                  <a:pt x="501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  <a:effectLst>
            <a:outerShdw blurRad="1270000" sx="80000" sy="8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D9B19404-5746-4A33-891B-6F4534FAD9B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417911" y="1339139"/>
            <a:ext cx="2999149" cy="2999149"/>
          </a:xfrm>
          <a:custGeom>
            <a:avLst/>
            <a:gdLst>
              <a:gd name="connsiteX0" fmla="*/ 50176 w 2999149"/>
              <a:gd name="connsiteY0" fmla="*/ 0 h 2999149"/>
              <a:gd name="connsiteX1" fmla="*/ 2948973 w 2999149"/>
              <a:gd name="connsiteY1" fmla="*/ 0 h 2999149"/>
              <a:gd name="connsiteX2" fmla="*/ 2999149 w 2999149"/>
              <a:gd name="connsiteY2" fmla="*/ 50176 h 2999149"/>
              <a:gd name="connsiteX3" fmla="*/ 2999149 w 2999149"/>
              <a:gd name="connsiteY3" fmla="*/ 2948973 h 2999149"/>
              <a:gd name="connsiteX4" fmla="*/ 2948973 w 2999149"/>
              <a:gd name="connsiteY4" fmla="*/ 2999149 h 2999149"/>
              <a:gd name="connsiteX5" fmla="*/ 50176 w 2999149"/>
              <a:gd name="connsiteY5" fmla="*/ 2999149 h 2999149"/>
              <a:gd name="connsiteX6" fmla="*/ 0 w 2999149"/>
              <a:gd name="connsiteY6" fmla="*/ 2948973 h 2999149"/>
              <a:gd name="connsiteX7" fmla="*/ 0 w 2999149"/>
              <a:gd name="connsiteY7" fmla="*/ 50176 h 2999149"/>
              <a:gd name="connsiteX8" fmla="*/ 50176 w 2999149"/>
              <a:gd name="connsiteY8" fmla="*/ 0 h 299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9149" h="2999149">
                <a:moveTo>
                  <a:pt x="50176" y="0"/>
                </a:moveTo>
                <a:lnTo>
                  <a:pt x="2948973" y="0"/>
                </a:lnTo>
                <a:cubicBezTo>
                  <a:pt x="2976684" y="0"/>
                  <a:pt x="2999149" y="22465"/>
                  <a:pt x="2999149" y="50176"/>
                </a:cubicBezTo>
                <a:lnTo>
                  <a:pt x="2999149" y="2948973"/>
                </a:lnTo>
                <a:cubicBezTo>
                  <a:pt x="2999149" y="2976684"/>
                  <a:pt x="2976684" y="2999149"/>
                  <a:pt x="2948973" y="2999149"/>
                </a:cubicBezTo>
                <a:lnTo>
                  <a:pt x="50176" y="2999149"/>
                </a:lnTo>
                <a:cubicBezTo>
                  <a:pt x="22465" y="2999149"/>
                  <a:pt x="0" y="2976684"/>
                  <a:pt x="0" y="2948973"/>
                </a:cubicBezTo>
                <a:lnTo>
                  <a:pt x="0" y="50176"/>
                </a:lnTo>
                <a:cubicBezTo>
                  <a:pt x="0" y="22465"/>
                  <a:pt x="22465" y="0"/>
                  <a:pt x="501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  <a:effectLst>
            <a:outerShdw blurRad="1270000" sx="80000" sy="8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7D037BC5-8719-485A-BCC5-2861D0A4644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395367" y="3170332"/>
            <a:ext cx="2999149" cy="2999149"/>
          </a:xfrm>
          <a:custGeom>
            <a:avLst/>
            <a:gdLst>
              <a:gd name="connsiteX0" fmla="*/ 50176 w 2999149"/>
              <a:gd name="connsiteY0" fmla="*/ 0 h 2999149"/>
              <a:gd name="connsiteX1" fmla="*/ 2948973 w 2999149"/>
              <a:gd name="connsiteY1" fmla="*/ 0 h 2999149"/>
              <a:gd name="connsiteX2" fmla="*/ 2999149 w 2999149"/>
              <a:gd name="connsiteY2" fmla="*/ 50176 h 2999149"/>
              <a:gd name="connsiteX3" fmla="*/ 2999149 w 2999149"/>
              <a:gd name="connsiteY3" fmla="*/ 2948973 h 2999149"/>
              <a:gd name="connsiteX4" fmla="*/ 2948973 w 2999149"/>
              <a:gd name="connsiteY4" fmla="*/ 2999149 h 2999149"/>
              <a:gd name="connsiteX5" fmla="*/ 50176 w 2999149"/>
              <a:gd name="connsiteY5" fmla="*/ 2999149 h 2999149"/>
              <a:gd name="connsiteX6" fmla="*/ 0 w 2999149"/>
              <a:gd name="connsiteY6" fmla="*/ 2948973 h 2999149"/>
              <a:gd name="connsiteX7" fmla="*/ 0 w 2999149"/>
              <a:gd name="connsiteY7" fmla="*/ 50176 h 2999149"/>
              <a:gd name="connsiteX8" fmla="*/ 50176 w 2999149"/>
              <a:gd name="connsiteY8" fmla="*/ 0 h 29991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999149" h="2999149">
                <a:moveTo>
                  <a:pt x="50176" y="0"/>
                </a:moveTo>
                <a:lnTo>
                  <a:pt x="2948973" y="0"/>
                </a:lnTo>
                <a:cubicBezTo>
                  <a:pt x="2976684" y="0"/>
                  <a:pt x="2999149" y="22465"/>
                  <a:pt x="2999149" y="50176"/>
                </a:cubicBezTo>
                <a:lnTo>
                  <a:pt x="2999149" y="2948973"/>
                </a:lnTo>
                <a:cubicBezTo>
                  <a:pt x="2999149" y="2976684"/>
                  <a:pt x="2976684" y="2999149"/>
                  <a:pt x="2948973" y="2999149"/>
                </a:cubicBezTo>
                <a:lnTo>
                  <a:pt x="50176" y="2999149"/>
                </a:lnTo>
                <a:cubicBezTo>
                  <a:pt x="22465" y="2999149"/>
                  <a:pt x="0" y="2976684"/>
                  <a:pt x="0" y="2948973"/>
                </a:cubicBezTo>
                <a:lnTo>
                  <a:pt x="0" y="50176"/>
                </a:lnTo>
                <a:cubicBezTo>
                  <a:pt x="0" y="22465"/>
                  <a:pt x="22465" y="0"/>
                  <a:pt x="50176" y="0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 w="38100">
            <a:solidFill>
              <a:schemeClr val="bg1"/>
            </a:solidFill>
          </a:ln>
          <a:effectLst>
            <a:outerShdw blurRad="1270000" sx="80000" sy="80000" algn="ctr" rotWithShape="0">
              <a:prstClr val="black">
                <a:alpha val="40000"/>
              </a:prstClr>
            </a:outerShdw>
          </a:effectLst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10468751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 animBg="1"/>
      <p:bldP spid="7" grpId="0" animBg="1"/>
      <p:bldP spid="8" grpId="0" animBg="1"/>
    </p:bld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36F275A-1F29-4DB5-B8A5-F760DC524A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594360"/>
            <a:ext cx="10515600" cy="1096328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90EF836-8304-42FB-A85B-384027C99C9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F8C11B3-2EC9-4E16-A205-ADB08C13E8E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5FC42F3-1D93-4D14-9A0D-3F0125572A5B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1F56F87-99EE-45EF-9EE1-4681384E457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850F485-6788-44E6-AC0A-8F6943C8233C}"/>
              </a:ext>
            </a:extLst>
          </p:cNvPr>
          <p:cNvSpPr/>
          <p:nvPr userDrawn="1"/>
        </p:nvSpPr>
        <p:spPr>
          <a:xfrm>
            <a:off x="-1" y="6426353"/>
            <a:ext cx="12236477" cy="431651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9" name="Footer Placeholder 4">
            <a:extLst>
              <a:ext uri="{FF2B5EF4-FFF2-40B4-BE49-F238E27FC236}">
                <a16:creationId xmlns:a16="http://schemas.microsoft.com/office/drawing/2014/main" id="{D9BE70B0-D9A5-4D69-9063-8C370C3198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30" name="Slide Number Placeholder 5">
            <a:extLst>
              <a:ext uri="{FF2B5EF4-FFF2-40B4-BE49-F238E27FC236}">
                <a16:creationId xmlns:a16="http://schemas.microsoft.com/office/drawing/2014/main" id="{4CB3295B-55BB-4A79-A9E0-F07088D6C2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31" name="Picture 30">
            <a:extLst>
              <a:ext uri="{FF2B5EF4-FFF2-40B4-BE49-F238E27FC236}">
                <a16:creationId xmlns:a16="http://schemas.microsoft.com/office/drawing/2014/main" id="{F91234C7-5B7D-4EA6-BCE0-9F37E71B967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6045789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354015" y="1031875"/>
            <a:ext cx="11725275" cy="2832202"/>
          </a:xfrm>
          <a:custGeom>
            <a:avLst/>
            <a:gdLst>
              <a:gd name="connsiteX0" fmla="*/ 1428221 w 11725275"/>
              <a:gd name="connsiteY0" fmla="*/ 707231 h 2405063"/>
              <a:gd name="connsiteX1" fmla="*/ 1430338 w 11725275"/>
              <a:gd name="connsiteY1" fmla="*/ 707231 h 2405063"/>
              <a:gd name="connsiteX2" fmla="*/ 1427012 w 11725275"/>
              <a:gd name="connsiteY2" fmla="*/ 707685 h 2405063"/>
              <a:gd name="connsiteX3" fmla="*/ 8131704 w 11725275"/>
              <a:gd name="connsiteY3" fmla="*/ 446088 h 2405063"/>
              <a:gd name="connsiteX4" fmla="*/ 8131704 w 11725275"/>
              <a:gd name="connsiteY4" fmla="*/ 447675 h 2405063"/>
              <a:gd name="connsiteX5" fmla="*/ 8126941 w 11725275"/>
              <a:gd name="connsiteY5" fmla="*/ 450850 h 2405063"/>
              <a:gd name="connsiteX6" fmla="*/ 8124524 w 11725275"/>
              <a:gd name="connsiteY6" fmla="*/ 451858 h 2405063"/>
              <a:gd name="connsiteX7" fmla="*/ 8124296 w 11725275"/>
              <a:gd name="connsiteY7" fmla="*/ 451644 h 2405063"/>
              <a:gd name="connsiteX8" fmla="*/ 8094133 w 11725275"/>
              <a:gd name="connsiteY8" fmla="*/ 457200 h 2405063"/>
              <a:gd name="connsiteX9" fmla="*/ 8086196 w 11725275"/>
              <a:gd name="connsiteY9" fmla="*/ 457200 h 2405063"/>
              <a:gd name="connsiteX10" fmla="*/ 8093604 w 11725275"/>
              <a:gd name="connsiteY10" fmla="*/ 454819 h 2405063"/>
              <a:gd name="connsiteX11" fmla="*/ 8107363 w 11725275"/>
              <a:gd name="connsiteY11" fmla="*/ 450850 h 2405063"/>
              <a:gd name="connsiteX12" fmla="*/ 8122709 w 11725275"/>
              <a:gd name="connsiteY12" fmla="*/ 446882 h 2405063"/>
              <a:gd name="connsiteX13" fmla="*/ 5708650 w 11725275"/>
              <a:gd name="connsiteY13" fmla="*/ 0 h 2405063"/>
              <a:gd name="connsiteX14" fmla="*/ 5746221 w 11725275"/>
              <a:gd name="connsiteY14" fmla="*/ 0 h 2405063"/>
              <a:gd name="connsiteX15" fmla="*/ 5771092 w 11725275"/>
              <a:gd name="connsiteY15" fmla="*/ 1588 h 2405063"/>
              <a:gd name="connsiteX16" fmla="*/ 5779029 w 11725275"/>
              <a:gd name="connsiteY16" fmla="*/ 3175 h 2405063"/>
              <a:gd name="connsiteX17" fmla="*/ 5786438 w 11725275"/>
              <a:gd name="connsiteY17" fmla="*/ 4763 h 2405063"/>
              <a:gd name="connsiteX18" fmla="*/ 5791729 w 11725275"/>
              <a:gd name="connsiteY18" fmla="*/ 6350 h 2405063"/>
              <a:gd name="connsiteX19" fmla="*/ 5795963 w 11725275"/>
              <a:gd name="connsiteY19" fmla="*/ 9525 h 2405063"/>
              <a:gd name="connsiteX20" fmla="*/ 5803371 w 11725275"/>
              <a:gd name="connsiteY20" fmla="*/ 17463 h 2405063"/>
              <a:gd name="connsiteX21" fmla="*/ 5811309 w 11725275"/>
              <a:gd name="connsiteY21" fmla="*/ 28575 h 2405063"/>
              <a:gd name="connsiteX22" fmla="*/ 5815542 w 11725275"/>
              <a:gd name="connsiteY22" fmla="*/ 38100 h 2405063"/>
              <a:gd name="connsiteX23" fmla="*/ 5852584 w 11725275"/>
              <a:gd name="connsiteY23" fmla="*/ 38100 h 2405063"/>
              <a:gd name="connsiteX24" fmla="*/ 5877454 w 11725275"/>
              <a:gd name="connsiteY24" fmla="*/ 38100 h 2405063"/>
              <a:gd name="connsiteX25" fmla="*/ 5894388 w 11725275"/>
              <a:gd name="connsiteY25" fmla="*/ 36513 h 2405063"/>
              <a:gd name="connsiteX26" fmla="*/ 5904971 w 11725275"/>
              <a:gd name="connsiteY26" fmla="*/ 35719 h 2405063"/>
              <a:gd name="connsiteX27" fmla="*/ 5913967 w 11725275"/>
              <a:gd name="connsiteY27" fmla="*/ 33338 h 2405063"/>
              <a:gd name="connsiteX28" fmla="*/ 5924021 w 11725275"/>
              <a:gd name="connsiteY28" fmla="*/ 31750 h 2405063"/>
              <a:gd name="connsiteX29" fmla="*/ 5937250 w 11725275"/>
              <a:gd name="connsiteY29" fmla="*/ 30956 h 2405063"/>
              <a:gd name="connsiteX30" fmla="*/ 5958417 w 11725275"/>
              <a:gd name="connsiteY30" fmla="*/ 30163 h 2405063"/>
              <a:gd name="connsiteX31" fmla="*/ 6230409 w 11725275"/>
              <a:gd name="connsiteY31" fmla="*/ 53181 h 2405063"/>
              <a:gd name="connsiteX32" fmla="*/ 6251575 w 11725275"/>
              <a:gd name="connsiteY32" fmla="*/ 53181 h 2405063"/>
              <a:gd name="connsiteX33" fmla="*/ 6267979 w 11725275"/>
              <a:gd name="connsiteY33" fmla="*/ 52388 h 2405063"/>
              <a:gd name="connsiteX34" fmla="*/ 6281738 w 11725275"/>
              <a:gd name="connsiteY34" fmla="*/ 50006 h 2405063"/>
              <a:gd name="connsiteX35" fmla="*/ 6294438 w 11725275"/>
              <a:gd name="connsiteY35" fmla="*/ 46831 h 2405063"/>
              <a:gd name="connsiteX36" fmla="*/ 6308725 w 11725275"/>
              <a:gd name="connsiteY36" fmla="*/ 42863 h 2405063"/>
              <a:gd name="connsiteX37" fmla="*/ 6326717 w 11725275"/>
              <a:gd name="connsiteY37" fmla="*/ 38100 h 2405063"/>
              <a:gd name="connsiteX38" fmla="*/ 6349471 w 11725275"/>
              <a:gd name="connsiteY38" fmla="*/ 33338 h 2405063"/>
              <a:gd name="connsiteX39" fmla="*/ 6379104 w 11725275"/>
              <a:gd name="connsiteY39" fmla="*/ 28575 h 2405063"/>
              <a:gd name="connsiteX40" fmla="*/ 6381221 w 11725275"/>
              <a:gd name="connsiteY40" fmla="*/ 31750 h 2405063"/>
              <a:gd name="connsiteX41" fmla="*/ 6382279 w 11725275"/>
              <a:gd name="connsiteY41" fmla="*/ 34131 h 2405063"/>
              <a:gd name="connsiteX42" fmla="*/ 6382279 w 11725275"/>
              <a:gd name="connsiteY42" fmla="*/ 36513 h 2405063"/>
              <a:gd name="connsiteX43" fmla="*/ 6381221 w 11725275"/>
              <a:gd name="connsiteY43" fmla="*/ 38100 h 2405063"/>
              <a:gd name="connsiteX44" fmla="*/ 6380163 w 11725275"/>
              <a:gd name="connsiteY44" fmla="*/ 39688 h 2405063"/>
              <a:gd name="connsiteX45" fmla="*/ 6378046 w 11725275"/>
              <a:gd name="connsiteY45" fmla="*/ 41275 h 2405063"/>
              <a:gd name="connsiteX46" fmla="*/ 6378575 w 11725275"/>
              <a:gd name="connsiteY46" fmla="*/ 42069 h 2405063"/>
              <a:gd name="connsiteX47" fmla="*/ 6382279 w 11725275"/>
              <a:gd name="connsiteY47" fmla="*/ 42863 h 2405063"/>
              <a:gd name="connsiteX48" fmla="*/ 6392334 w 11725275"/>
              <a:gd name="connsiteY48" fmla="*/ 43656 h 2405063"/>
              <a:gd name="connsiteX49" fmla="*/ 6409267 w 11725275"/>
              <a:gd name="connsiteY49" fmla="*/ 44450 h 2405063"/>
              <a:gd name="connsiteX50" fmla="*/ 6430434 w 11725275"/>
              <a:gd name="connsiteY50" fmla="*/ 47625 h 2405063"/>
              <a:gd name="connsiteX51" fmla="*/ 6442075 w 11725275"/>
              <a:gd name="connsiteY51" fmla="*/ 49213 h 2405063"/>
              <a:gd name="connsiteX52" fmla="*/ 6448425 w 11725275"/>
              <a:gd name="connsiteY52" fmla="*/ 51594 h 2405063"/>
              <a:gd name="connsiteX53" fmla="*/ 6451071 w 11725275"/>
              <a:gd name="connsiteY53" fmla="*/ 53181 h 2405063"/>
              <a:gd name="connsiteX54" fmla="*/ 6455304 w 11725275"/>
              <a:gd name="connsiteY54" fmla="*/ 55563 h 2405063"/>
              <a:gd name="connsiteX55" fmla="*/ 6463771 w 11725275"/>
              <a:gd name="connsiteY55" fmla="*/ 57944 h 2405063"/>
              <a:gd name="connsiteX56" fmla="*/ 6479646 w 11725275"/>
              <a:gd name="connsiteY56" fmla="*/ 61119 h 2405063"/>
              <a:gd name="connsiteX57" fmla="*/ 6507692 w 11725275"/>
              <a:gd name="connsiteY57" fmla="*/ 65881 h 2405063"/>
              <a:gd name="connsiteX58" fmla="*/ 6501871 w 11725275"/>
              <a:gd name="connsiteY58" fmla="*/ 57944 h 2405063"/>
              <a:gd name="connsiteX59" fmla="*/ 6497109 w 11725275"/>
              <a:gd name="connsiteY59" fmla="*/ 51594 h 2405063"/>
              <a:gd name="connsiteX60" fmla="*/ 6494463 w 11725275"/>
              <a:gd name="connsiteY60" fmla="*/ 47625 h 2405063"/>
              <a:gd name="connsiteX61" fmla="*/ 6490759 w 11725275"/>
              <a:gd name="connsiteY61" fmla="*/ 44450 h 2405063"/>
              <a:gd name="connsiteX62" fmla="*/ 6481234 w 11725275"/>
              <a:gd name="connsiteY62" fmla="*/ 38894 h 2405063"/>
              <a:gd name="connsiteX63" fmla="*/ 6462713 w 11725275"/>
              <a:gd name="connsiteY63" fmla="*/ 27781 h 2405063"/>
              <a:gd name="connsiteX64" fmla="*/ 6492346 w 11725275"/>
              <a:gd name="connsiteY64" fmla="*/ 30163 h 2405063"/>
              <a:gd name="connsiteX65" fmla="*/ 6517746 w 11725275"/>
              <a:gd name="connsiteY65" fmla="*/ 31750 h 2405063"/>
              <a:gd name="connsiteX66" fmla="*/ 6539971 w 11725275"/>
              <a:gd name="connsiteY66" fmla="*/ 31750 h 2405063"/>
              <a:gd name="connsiteX67" fmla="*/ 6559021 w 11725275"/>
              <a:gd name="connsiteY67" fmla="*/ 30956 h 2405063"/>
              <a:gd name="connsiteX68" fmla="*/ 6576484 w 11725275"/>
              <a:gd name="connsiteY68" fmla="*/ 30163 h 2405063"/>
              <a:gd name="connsiteX69" fmla="*/ 6591829 w 11725275"/>
              <a:gd name="connsiteY69" fmla="*/ 27781 h 2405063"/>
              <a:gd name="connsiteX70" fmla="*/ 6605588 w 11725275"/>
              <a:gd name="connsiteY70" fmla="*/ 26194 h 2405063"/>
              <a:gd name="connsiteX71" fmla="*/ 6619875 w 11725275"/>
              <a:gd name="connsiteY71" fmla="*/ 23019 h 2405063"/>
              <a:gd name="connsiteX72" fmla="*/ 6633634 w 11725275"/>
              <a:gd name="connsiteY72" fmla="*/ 21431 h 2405063"/>
              <a:gd name="connsiteX73" fmla="*/ 6648450 w 11725275"/>
              <a:gd name="connsiteY73" fmla="*/ 19844 h 2405063"/>
              <a:gd name="connsiteX74" fmla="*/ 6663796 w 11725275"/>
              <a:gd name="connsiteY74" fmla="*/ 17463 h 2405063"/>
              <a:gd name="connsiteX75" fmla="*/ 6680729 w 11725275"/>
              <a:gd name="connsiteY75" fmla="*/ 16669 h 2405063"/>
              <a:gd name="connsiteX76" fmla="*/ 6700309 w 11725275"/>
              <a:gd name="connsiteY76" fmla="*/ 15875 h 2405063"/>
              <a:gd name="connsiteX77" fmla="*/ 6722004 w 11725275"/>
              <a:gd name="connsiteY77" fmla="*/ 16669 h 2405063"/>
              <a:gd name="connsiteX78" fmla="*/ 6747934 w 11725275"/>
              <a:gd name="connsiteY78" fmla="*/ 18256 h 2405063"/>
              <a:gd name="connsiteX79" fmla="*/ 6777038 w 11725275"/>
              <a:gd name="connsiteY79" fmla="*/ 21431 h 2405063"/>
              <a:gd name="connsiteX80" fmla="*/ 6835775 w 11725275"/>
              <a:gd name="connsiteY80" fmla="*/ 26988 h 2405063"/>
              <a:gd name="connsiteX81" fmla="*/ 6899804 w 11725275"/>
              <a:gd name="connsiteY81" fmla="*/ 32544 h 2405063"/>
              <a:gd name="connsiteX82" fmla="*/ 6967009 w 11725275"/>
              <a:gd name="connsiteY82" fmla="*/ 37306 h 2405063"/>
              <a:gd name="connsiteX83" fmla="*/ 7035271 w 11725275"/>
              <a:gd name="connsiteY83" fmla="*/ 39688 h 2405063"/>
              <a:gd name="connsiteX84" fmla="*/ 7101946 w 11725275"/>
              <a:gd name="connsiteY84" fmla="*/ 42069 h 2405063"/>
              <a:gd name="connsiteX85" fmla="*/ 7166504 w 11725275"/>
              <a:gd name="connsiteY85" fmla="*/ 42069 h 2405063"/>
              <a:gd name="connsiteX86" fmla="*/ 7197196 w 11725275"/>
              <a:gd name="connsiteY86" fmla="*/ 41275 h 2405063"/>
              <a:gd name="connsiteX87" fmla="*/ 7226300 w 11725275"/>
              <a:gd name="connsiteY87" fmla="*/ 38894 h 2405063"/>
              <a:gd name="connsiteX88" fmla="*/ 7253288 w 11725275"/>
              <a:gd name="connsiteY88" fmla="*/ 37306 h 2405063"/>
              <a:gd name="connsiteX89" fmla="*/ 7278688 w 11725275"/>
              <a:gd name="connsiteY89" fmla="*/ 34131 h 2405063"/>
              <a:gd name="connsiteX90" fmla="*/ 7315200 w 11725275"/>
              <a:gd name="connsiteY90" fmla="*/ 30956 h 2405063"/>
              <a:gd name="connsiteX91" fmla="*/ 7344304 w 11725275"/>
              <a:gd name="connsiteY91" fmla="*/ 28575 h 2405063"/>
              <a:gd name="connsiteX92" fmla="*/ 7368646 w 11725275"/>
              <a:gd name="connsiteY92" fmla="*/ 27781 h 2405063"/>
              <a:gd name="connsiteX93" fmla="*/ 7391929 w 11725275"/>
              <a:gd name="connsiteY93" fmla="*/ 28575 h 2405063"/>
              <a:gd name="connsiteX94" fmla="*/ 7416800 w 11725275"/>
              <a:gd name="connsiteY94" fmla="*/ 30163 h 2405063"/>
              <a:gd name="connsiteX95" fmla="*/ 7445375 w 11725275"/>
              <a:gd name="connsiteY95" fmla="*/ 30956 h 2405063"/>
              <a:gd name="connsiteX96" fmla="*/ 7482417 w 11725275"/>
              <a:gd name="connsiteY96" fmla="*/ 30956 h 2405063"/>
              <a:gd name="connsiteX97" fmla="*/ 7530042 w 11725275"/>
              <a:gd name="connsiteY97" fmla="*/ 30956 h 2405063"/>
              <a:gd name="connsiteX98" fmla="*/ 7531100 w 11725275"/>
              <a:gd name="connsiteY98" fmla="*/ 32544 h 2405063"/>
              <a:gd name="connsiteX99" fmla="*/ 7532688 w 11725275"/>
              <a:gd name="connsiteY99" fmla="*/ 34131 h 2405063"/>
              <a:gd name="connsiteX100" fmla="*/ 7595129 w 11725275"/>
              <a:gd name="connsiteY100" fmla="*/ 69056 h 2405063"/>
              <a:gd name="connsiteX101" fmla="*/ 7743825 w 11725275"/>
              <a:gd name="connsiteY101" fmla="*/ 64294 h 2405063"/>
              <a:gd name="connsiteX102" fmla="*/ 7785629 w 11725275"/>
              <a:gd name="connsiteY102" fmla="*/ 68263 h 2405063"/>
              <a:gd name="connsiteX103" fmla="*/ 7821613 w 11725275"/>
              <a:gd name="connsiteY103" fmla="*/ 70644 h 2405063"/>
              <a:gd name="connsiteX104" fmla="*/ 7852834 w 11725275"/>
              <a:gd name="connsiteY104" fmla="*/ 73025 h 2405063"/>
              <a:gd name="connsiteX105" fmla="*/ 7880350 w 11725275"/>
              <a:gd name="connsiteY105" fmla="*/ 73025 h 2405063"/>
              <a:gd name="connsiteX106" fmla="*/ 7903634 w 11725275"/>
              <a:gd name="connsiteY106" fmla="*/ 73025 h 2405063"/>
              <a:gd name="connsiteX107" fmla="*/ 7923213 w 11725275"/>
              <a:gd name="connsiteY107" fmla="*/ 70644 h 2405063"/>
              <a:gd name="connsiteX108" fmla="*/ 7941204 w 11725275"/>
              <a:gd name="connsiteY108" fmla="*/ 69056 h 2405063"/>
              <a:gd name="connsiteX109" fmla="*/ 7956550 w 11725275"/>
              <a:gd name="connsiteY109" fmla="*/ 66675 h 2405063"/>
              <a:gd name="connsiteX110" fmla="*/ 7982479 w 11725275"/>
              <a:gd name="connsiteY110" fmla="*/ 62706 h 2405063"/>
              <a:gd name="connsiteX111" fmla="*/ 8007879 w 11725275"/>
              <a:gd name="connsiteY111" fmla="*/ 58738 h 2405063"/>
              <a:gd name="connsiteX112" fmla="*/ 8020050 w 11725275"/>
              <a:gd name="connsiteY112" fmla="*/ 57150 h 2405063"/>
              <a:gd name="connsiteX113" fmla="*/ 8033809 w 11725275"/>
              <a:gd name="connsiteY113" fmla="*/ 55563 h 2405063"/>
              <a:gd name="connsiteX114" fmla="*/ 8049154 w 11725275"/>
              <a:gd name="connsiteY114" fmla="*/ 55563 h 2405063"/>
              <a:gd name="connsiteX115" fmla="*/ 8067675 w 11725275"/>
              <a:gd name="connsiteY115" fmla="*/ 55563 h 2405063"/>
              <a:gd name="connsiteX116" fmla="*/ 8093604 w 11725275"/>
              <a:gd name="connsiteY116" fmla="*/ 57944 h 2405063"/>
              <a:gd name="connsiteX117" fmla="*/ 8102071 w 11725275"/>
              <a:gd name="connsiteY117" fmla="*/ 59531 h 2405063"/>
              <a:gd name="connsiteX118" fmla="*/ 8100483 w 11725275"/>
              <a:gd name="connsiteY118" fmla="*/ 60325 h 2405063"/>
              <a:gd name="connsiteX119" fmla="*/ 8094663 w 11725275"/>
              <a:gd name="connsiteY119" fmla="*/ 62706 h 2405063"/>
              <a:gd name="connsiteX120" fmla="*/ 8092017 w 11725275"/>
              <a:gd name="connsiteY120" fmla="*/ 62706 h 2405063"/>
              <a:gd name="connsiteX121" fmla="*/ 8090429 w 11725275"/>
              <a:gd name="connsiteY121" fmla="*/ 63500 h 2405063"/>
              <a:gd name="connsiteX122" fmla="*/ 8092017 w 11725275"/>
              <a:gd name="connsiteY122" fmla="*/ 63500 h 2405063"/>
              <a:gd name="connsiteX123" fmla="*/ 8095721 w 11725275"/>
              <a:gd name="connsiteY123" fmla="*/ 64294 h 2405063"/>
              <a:gd name="connsiteX124" fmla="*/ 8114771 w 11725275"/>
              <a:gd name="connsiteY124" fmla="*/ 65088 h 2405063"/>
              <a:gd name="connsiteX125" fmla="*/ 8154459 w 11725275"/>
              <a:gd name="connsiteY125" fmla="*/ 65881 h 2405063"/>
              <a:gd name="connsiteX126" fmla="*/ 8168217 w 11725275"/>
              <a:gd name="connsiteY126" fmla="*/ 65881 h 2405063"/>
              <a:gd name="connsiteX127" fmla="*/ 8176683 w 11725275"/>
              <a:gd name="connsiteY127" fmla="*/ 65088 h 2405063"/>
              <a:gd name="connsiteX128" fmla="*/ 8181446 w 11725275"/>
              <a:gd name="connsiteY128" fmla="*/ 65088 h 2405063"/>
              <a:gd name="connsiteX129" fmla="*/ 8185679 w 11725275"/>
              <a:gd name="connsiteY129" fmla="*/ 64294 h 2405063"/>
              <a:gd name="connsiteX130" fmla="*/ 8192559 w 11725275"/>
              <a:gd name="connsiteY130" fmla="*/ 64294 h 2405063"/>
              <a:gd name="connsiteX131" fmla="*/ 8202613 w 11725275"/>
              <a:gd name="connsiteY131" fmla="*/ 64294 h 2405063"/>
              <a:gd name="connsiteX132" fmla="*/ 8219546 w 11725275"/>
              <a:gd name="connsiteY132" fmla="*/ 65088 h 2405063"/>
              <a:gd name="connsiteX133" fmla="*/ 8244946 w 11725275"/>
              <a:gd name="connsiteY133" fmla="*/ 66675 h 2405063"/>
              <a:gd name="connsiteX134" fmla="*/ 8546042 w 11725275"/>
              <a:gd name="connsiteY134" fmla="*/ 76994 h 2405063"/>
              <a:gd name="connsiteX135" fmla="*/ 8577792 w 11725275"/>
              <a:gd name="connsiteY135" fmla="*/ 75406 h 2405063"/>
              <a:gd name="connsiteX136" fmla="*/ 8606896 w 11725275"/>
              <a:gd name="connsiteY136" fmla="*/ 73819 h 2405063"/>
              <a:gd name="connsiteX137" fmla="*/ 8634412 w 11725275"/>
              <a:gd name="connsiteY137" fmla="*/ 73025 h 2405063"/>
              <a:gd name="connsiteX138" fmla="*/ 8661400 w 11725275"/>
              <a:gd name="connsiteY138" fmla="*/ 71438 h 2405063"/>
              <a:gd name="connsiteX139" fmla="*/ 8688917 w 11725275"/>
              <a:gd name="connsiteY139" fmla="*/ 70644 h 2405063"/>
              <a:gd name="connsiteX140" fmla="*/ 8716962 w 11725275"/>
              <a:gd name="connsiteY140" fmla="*/ 70644 h 2405063"/>
              <a:gd name="connsiteX141" fmla="*/ 8747125 w 11725275"/>
              <a:gd name="connsiteY141" fmla="*/ 71438 h 2405063"/>
              <a:gd name="connsiteX142" fmla="*/ 8779404 w 11725275"/>
              <a:gd name="connsiteY142" fmla="*/ 73819 h 2405063"/>
              <a:gd name="connsiteX143" fmla="*/ 8969904 w 11725275"/>
              <a:gd name="connsiteY143" fmla="*/ 84138 h 2405063"/>
              <a:gd name="connsiteX144" fmla="*/ 8994246 w 11725275"/>
              <a:gd name="connsiteY144" fmla="*/ 85725 h 2405063"/>
              <a:gd name="connsiteX145" fmla="*/ 9015942 w 11725275"/>
              <a:gd name="connsiteY145" fmla="*/ 85725 h 2405063"/>
              <a:gd name="connsiteX146" fmla="*/ 9034462 w 11725275"/>
              <a:gd name="connsiteY146" fmla="*/ 85725 h 2405063"/>
              <a:gd name="connsiteX147" fmla="*/ 9051396 w 11725275"/>
              <a:gd name="connsiteY147" fmla="*/ 84931 h 2405063"/>
              <a:gd name="connsiteX148" fmla="*/ 9078912 w 11725275"/>
              <a:gd name="connsiteY148" fmla="*/ 81756 h 2405063"/>
              <a:gd name="connsiteX149" fmla="*/ 9104842 w 11725275"/>
              <a:gd name="connsiteY149" fmla="*/ 76994 h 2405063"/>
              <a:gd name="connsiteX150" fmla="*/ 9118071 w 11725275"/>
              <a:gd name="connsiteY150" fmla="*/ 75406 h 2405063"/>
              <a:gd name="connsiteX151" fmla="*/ 9131300 w 11725275"/>
              <a:gd name="connsiteY151" fmla="*/ 73819 h 2405063"/>
              <a:gd name="connsiteX152" fmla="*/ 9145588 w 11725275"/>
              <a:gd name="connsiteY152" fmla="*/ 73025 h 2405063"/>
              <a:gd name="connsiteX153" fmla="*/ 9161992 w 11725275"/>
              <a:gd name="connsiteY153" fmla="*/ 73025 h 2405063"/>
              <a:gd name="connsiteX154" fmla="*/ 9181042 w 11725275"/>
              <a:gd name="connsiteY154" fmla="*/ 73819 h 2405063"/>
              <a:gd name="connsiteX155" fmla="*/ 9202208 w 11725275"/>
              <a:gd name="connsiteY155" fmla="*/ 74613 h 2405063"/>
              <a:gd name="connsiteX156" fmla="*/ 9226550 w 11725275"/>
              <a:gd name="connsiteY156" fmla="*/ 76994 h 2405063"/>
              <a:gd name="connsiteX157" fmla="*/ 9255125 w 11725275"/>
              <a:gd name="connsiteY157" fmla="*/ 81756 h 2405063"/>
              <a:gd name="connsiteX158" fmla="*/ 9279996 w 11725275"/>
              <a:gd name="connsiteY158" fmla="*/ 87313 h 2405063"/>
              <a:gd name="connsiteX159" fmla="*/ 9316508 w 11725275"/>
              <a:gd name="connsiteY159" fmla="*/ 92869 h 2405063"/>
              <a:gd name="connsiteX160" fmla="*/ 9339792 w 11725275"/>
              <a:gd name="connsiteY160" fmla="*/ 96838 h 2405063"/>
              <a:gd name="connsiteX161" fmla="*/ 9353021 w 11725275"/>
              <a:gd name="connsiteY161" fmla="*/ 98425 h 2405063"/>
              <a:gd name="connsiteX162" fmla="*/ 9360429 w 11725275"/>
              <a:gd name="connsiteY162" fmla="*/ 97631 h 2405063"/>
              <a:gd name="connsiteX163" fmla="*/ 9365721 w 11725275"/>
              <a:gd name="connsiteY163" fmla="*/ 96838 h 2405063"/>
              <a:gd name="connsiteX164" fmla="*/ 9373129 w 11725275"/>
              <a:gd name="connsiteY164" fmla="*/ 94456 h 2405063"/>
              <a:gd name="connsiteX165" fmla="*/ 9385829 w 11725275"/>
              <a:gd name="connsiteY165" fmla="*/ 90488 h 2405063"/>
              <a:gd name="connsiteX166" fmla="*/ 9408583 w 11725275"/>
              <a:gd name="connsiteY166" fmla="*/ 87313 h 2405063"/>
              <a:gd name="connsiteX167" fmla="*/ 9432925 w 11725275"/>
              <a:gd name="connsiteY167" fmla="*/ 84931 h 2405063"/>
              <a:gd name="connsiteX168" fmla="*/ 9451446 w 11725275"/>
              <a:gd name="connsiteY168" fmla="*/ 84138 h 2405063"/>
              <a:gd name="connsiteX169" fmla="*/ 9465204 w 11725275"/>
              <a:gd name="connsiteY169" fmla="*/ 84931 h 2405063"/>
              <a:gd name="connsiteX170" fmla="*/ 9477904 w 11725275"/>
              <a:gd name="connsiteY170" fmla="*/ 85725 h 2405063"/>
              <a:gd name="connsiteX171" fmla="*/ 9490075 w 11725275"/>
              <a:gd name="connsiteY171" fmla="*/ 87313 h 2405063"/>
              <a:gd name="connsiteX172" fmla="*/ 9503833 w 11725275"/>
              <a:gd name="connsiteY172" fmla="*/ 90488 h 2405063"/>
              <a:gd name="connsiteX173" fmla="*/ 9522354 w 11725275"/>
              <a:gd name="connsiteY173" fmla="*/ 92075 h 2405063"/>
              <a:gd name="connsiteX174" fmla="*/ 9545638 w 11725275"/>
              <a:gd name="connsiteY174" fmla="*/ 94456 h 2405063"/>
              <a:gd name="connsiteX175" fmla="*/ 9565746 w 11725275"/>
              <a:gd name="connsiteY175" fmla="*/ 95250 h 2405063"/>
              <a:gd name="connsiteX176" fmla="*/ 9586383 w 11725275"/>
              <a:gd name="connsiteY176" fmla="*/ 96044 h 2405063"/>
              <a:gd name="connsiteX177" fmla="*/ 9605962 w 11725275"/>
              <a:gd name="connsiteY177" fmla="*/ 96044 h 2405063"/>
              <a:gd name="connsiteX178" fmla="*/ 9626600 w 11725275"/>
              <a:gd name="connsiteY178" fmla="*/ 96044 h 2405063"/>
              <a:gd name="connsiteX179" fmla="*/ 9646708 w 11725275"/>
              <a:gd name="connsiteY179" fmla="*/ 95250 h 2405063"/>
              <a:gd name="connsiteX180" fmla="*/ 9667346 w 11725275"/>
              <a:gd name="connsiteY180" fmla="*/ 95250 h 2405063"/>
              <a:gd name="connsiteX181" fmla="*/ 9687983 w 11725275"/>
              <a:gd name="connsiteY181" fmla="*/ 94456 h 2405063"/>
              <a:gd name="connsiteX182" fmla="*/ 9708621 w 11725275"/>
              <a:gd name="connsiteY182" fmla="*/ 94456 h 2405063"/>
              <a:gd name="connsiteX183" fmla="*/ 9710208 w 11725275"/>
              <a:gd name="connsiteY183" fmla="*/ 96838 h 2405063"/>
              <a:gd name="connsiteX184" fmla="*/ 9710738 w 11725275"/>
              <a:gd name="connsiteY184" fmla="*/ 100013 h 2405063"/>
              <a:gd name="connsiteX185" fmla="*/ 9709150 w 11725275"/>
              <a:gd name="connsiteY185" fmla="*/ 101600 h 2405063"/>
              <a:gd name="connsiteX186" fmla="*/ 9707033 w 11725275"/>
              <a:gd name="connsiteY186" fmla="*/ 102394 h 2405063"/>
              <a:gd name="connsiteX187" fmla="*/ 9700683 w 11725275"/>
              <a:gd name="connsiteY187" fmla="*/ 105569 h 2405063"/>
              <a:gd name="connsiteX188" fmla="*/ 9693804 w 11725275"/>
              <a:gd name="connsiteY188" fmla="*/ 107156 h 2405063"/>
              <a:gd name="connsiteX189" fmla="*/ 9688512 w 11725275"/>
              <a:gd name="connsiteY189" fmla="*/ 107950 h 2405063"/>
              <a:gd name="connsiteX190" fmla="*/ 9687983 w 11725275"/>
              <a:gd name="connsiteY190" fmla="*/ 107950 h 2405063"/>
              <a:gd name="connsiteX191" fmla="*/ 9694862 w 11725275"/>
              <a:gd name="connsiteY191" fmla="*/ 108744 h 2405063"/>
              <a:gd name="connsiteX192" fmla="*/ 9709150 w 11725275"/>
              <a:gd name="connsiteY192" fmla="*/ 109538 h 2405063"/>
              <a:gd name="connsiteX193" fmla="*/ 9710208 w 11725275"/>
              <a:gd name="connsiteY193" fmla="*/ 111919 h 2405063"/>
              <a:gd name="connsiteX194" fmla="*/ 9710208 w 11725275"/>
              <a:gd name="connsiteY194" fmla="*/ 113506 h 2405063"/>
              <a:gd name="connsiteX195" fmla="*/ 9739842 w 11725275"/>
              <a:gd name="connsiteY195" fmla="*/ 111919 h 2405063"/>
              <a:gd name="connsiteX196" fmla="*/ 9769475 w 11725275"/>
              <a:gd name="connsiteY196" fmla="*/ 108744 h 2405063"/>
              <a:gd name="connsiteX197" fmla="*/ 9798050 w 11725275"/>
              <a:gd name="connsiteY197" fmla="*/ 105569 h 2405063"/>
              <a:gd name="connsiteX198" fmla="*/ 9826625 w 11725275"/>
              <a:gd name="connsiteY198" fmla="*/ 101600 h 2405063"/>
              <a:gd name="connsiteX199" fmla="*/ 9855729 w 11725275"/>
              <a:gd name="connsiteY199" fmla="*/ 97631 h 2405063"/>
              <a:gd name="connsiteX200" fmla="*/ 9885892 w 11725275"/>
              <a:gd name="connsiteY200" fmla="*/ 92869 h 2405063"/>
              <a:gd name="connsiteX201" fmla="*/ 9916583 w 11725275"/>
              <a:gd name="connsiteY201" fmla="*/ 89694 h 2405063"/>
              <a:gd name="connsiteX202" fmla="*/ 9950450 w 11725275"/>
              <a:gd name="connsiteY202" fmla="*/ 85725 h 2405063"/>
              <a:gd name="connsiteX203" fmla="*/ 9986962 w 11725275"/>
              <a:gd name="connsiteY203" fmla="*/ 82550 h 2405063"/>
              <a:gd name="connsiteX204" fmla="*/ 10016067 w 11725275"/>
              <a:gd name="connsiteY204" fmla="*/ 81756 h 2405063"/>
              <a:gd name="connsiteX205" fmla="*/ 10041467 w 11725275"/>
              <a:gd name="connsiteY205" fmla="*/ 82550 h 2405063"/>
              <a:gd name="connsiteX206" fmla="*/ 10063692 w 11725275"/>
              <a:gd name="connsiteY206" fmla="*/ 84931 h 2405063"/>
              <a:gd name="connsiteX207" fmla="*/ 10087504 w 11725275"/>
              <a:gd name="connsiteY207" fmla="*/ 88106 h 2405063"/>
              <a:gd name="connsiteX208" fmla="*/ 10113962 w 11725275"/>
              <a:gd name="connsiteY208" fmla="*/ 91281 h 2405063"/>
              <a:gd name="connsiteX209" fmla="*/ 10147300 w 11725275"/>
              <a:gd name="connsiteY209" fmla="*/ 94456 h 2405063"/>
              <a:gd name="connsiteX210" fmla="*/ 10190162 w 11725275"/>
              <a:gd name="connsiteY210" fmla="*/ 96838 h 2405063"/>
              <a:gd name="connsiteX211" fmla="*/ 10229321 w 11725275"/>
              <a:gd name="connsiteY211" fmla="*/ 97631 h 2405063"/>
              <a:gd name="connsiteX212" fmla="*/ 10261600 w 11725275"/>
              <a:gd name="connsiteY212" fmla="*/ 100806 h 2405063"/>
              <a:gd name="connsiteX213" fmla="*/ 10288058 w 11725275"/>
              <a:gd name="connsiteY213" fmla="*/ 103188 h 2405063"/>
              <a:gd name="connsiteX214" fmla="*/ 10310812 w 11725275"/>
              <a:gd name="connsiteY214" fmla="*/ 105569 h 2405063"/>
              <a:gd name="connsiteX215" fmla="*/ 10333038 w 11725275"/>
              <a:gd name="connsiteY215" fmla="*/ 106363 h 2405063"/>
              <a:gd name="connsiteX216" fmla="*/ 10356321 w 11725275"/>
              <a:gd name="connsiteY216" fmla="*/ 106363 h 2405063"/>
              <a:gd name="connsiteX217" fmla="*/ 10382250 w 11725275"/>
              <a:gd name="connsiteY217" fmla="*/ 103981 h 2405063"/>
              <a:gd name="connsiteX218" fmla="*/ 10413471 w 11725275"/>
              <a:gd name="connsiteY218" fmla="*/ 100806 h 2405063"/>
              <a:gd name="connsiteX219" fmla="*/ 10438342 w 11725275"/>
              <a:gd name="connsiteY219" fmla="*/ 97631 h 2405063"/>
              <a:gd name="connsiteX220" fmla="*/ 10464271 w 11725275"/>
              <a:gd name="connsiteY220" fmla="*/ 96044 h 2405063"/>
              <a:gd name="connsiteX221" fmla="*/ 10491258 w 11725275"/>
              <a:gd name="connsiteY221" fmla="*/ 95250 h 2405063"/>
              <a:gd name="connsiteX222" fmla="*/ 10518775 w 11725275"/>
              <a:gd name="connsiteY222" fmla="*/ 94456 h 2405063"/>
              <a:gd name="connsiteX223" fmla="*/ 10576983 w 11725275"/>
              <a:gd name="connsiteY223" fmla="*/ 96044 h 2405063"/>
              <a:gd name="connsiteX224" fmla="*/ 10637838 w 11725275"/>
              <a:gd name="connsiteY224" fmla="*/ 98425 h 2405063"/>
              <a:gd name="connsiteX225" fmla="*/ 10700279 w 11725275"/>
              <a:gd name="connsiteY225" fmla="*/ 101600 h 2405063"/>
              <a:gd name="connsiteX226" fmla="*/ 10763250 w 11725275"/>
              <a:gd name="connsiteY226" fmla="*/ 103188 h 2405063"/>
              <a:gd name="connsiteX227" fmla="*/ 10793942 w 11725275"/>
              <a:gd name="connsiteY227" fmla="*/ 103188 h 2405063"/>
              <a:gd name="connsiteX228" fmla="*/ 10824633 w 11725275"/>
              <a:gd name="connsiteY228" fmla="*/ 102394 h 2405063"/>
              <a:gd name="connsiteX229" fmla="*/ 10855325 w 11725275"/>
              <a:gd name="connsiteY229" fmla="*/ 101600 h 2405063"/>
              <a:gd name="connsiteX230" fmla="*/ 10884958 w 11725275"/>
              <a:gd name="connsiteY230" fmla="*/ 98425 h 2405063"/>
              <a:gd name="connsiteX231" fmla="*/ 11070696 w 11725275"/>
              <a:gd name="connsiteY231" fmla="*/ 90488 h 2405063"/>
              <a:gd name="connsiteX232" fmla="*/ 11095038 w 11725275"/>
              <a:gd name="connsiteY232" fmla="*/ 92869 h 2405063"/>
              <a:gd name="connsiteX233" fmla="*/ 11119379 w 11725275"/>
              <a:gd name="connsiteY233" fmla="*/ 94456 h 2405063"/>
              <a:gd name="connsiteX234" fmla="*/ 11144250 w 11725275"/>
              <a:gd name="connsiteY234" fmla="*/ 94456 h 2405063"/>
              <a:gd name="connsiteX235" fmla="*/ 11170708 w 11725275"/>
              <a:gd name="connsiteY235" fmla="*/ 94456 h 2405063"/>
              <a:gd name="connsiteX236" fmla="*/ 11223096 w 11725275"/>
              <a:gd name="connsiteY236" fmla="*/ 92075 h 2405063"/>
              <a:gd name="connsiteX237" fmla="*/ 11276542 w 11725275"/>
              <a:gd name="connsiteY237" fmla="*/ 88106 h 2405063"/>
              <a:gd name="connsiteX238" fmla="*/ 11330517 w 11725275"/>
              <a:gd name="connsiteY238" fmla="*/ 85725 h 2405063"/>
              <a:gd name="connsiteX239" fmla="*/ 11382375 w 11725275"/>
              <a:gd name="connsiteY239" fmla="*/ 84138 h 2405063"/>
              <a:gd name="connsiteX240" fmla="*/ 11407246 w 11725275"/>
              <a:gd name="connsiteY240" fmla="*/ 84138 h 2405063"/>
              <a:gd name="connsiteX241" fmla="*/ 11431588 w 11725275"/>
              <a:gd name="connsiteY241" fmla="*/ 84931 h 2405063"/>
              <a:gd name="connsiteX242" fmla="*/ 11455400 w 11725275"/>
              <a:gd name="connsiteY242" fmla="*/ 86519 h 2405063"/>
              <a:gd name="connsiteX243" fmla="*/ 11478154 w 11725275"/>
              <a:gd name="connsiteY243" fmla="*/ 89694 h 2405063"/>
              <a:gd name="connsiteX244" fmla="*/ 11499321 w 11725275"/>
              <a:gd name="connsiteY244" fmla="*/ 92869 h 2405063"/>
              <a:gd name="connsiteX245" fmla="*/ 11512550 w 11725275"/>
              <a:gd name="connsiteY245" fmla="*/ 95250 h 2405063"/>
              <a:gd name="connsiteX246" fmla="*/ 11519429 w 11725275"/>
              <a:gd name="connsiteY246" fmla="*/ 96838 h 2405063"/>
              <a:gd name="connsiteX247" fmla="*/ 11523133 w 11725275"/>
              <a:gd name="connsiteY247" fmla="*/ 98425 h 2405063"/>
              <a:gd name="connsiteX248" fmla="*/ 11524721 w 11725275"/>
              <a:gd name="connsiteY248" fmla="*/ 101600 h 2405063"/>
              <a:gd name="connsiteX249" fmla="*/ 11526838 w 11725275"/>
              <a:gd name="connsiteY249" fmla="*/ 105569 h 2405063"/>
              <a:gd name="connsiteX250" fmla="*/ 11531071 w 11725275"/>
              <a:gd name="connsiteY250" fmla="*/ 111125 h 2405063"/>
              <a:gd name="connsiteX251" fmla="*/ 11540067 w 11725275"/>
              <a:gd name="connsiteY251" fmla="*/ 119063 h 2405063"/>
              <a:gd name="connsiteX252" fmla="*/ 11688762 w 11725275"/>
              <a:gd name="connsiteY252" fmla="*/ 257969 h 2405063"/>
              <a:gd name="connsiteX253" fmla="*/ 11701992 w 11725275"/>
              <a:gd name="connsiteY253" fmla="*/ 280194 h 2405063"/>
              <a:gd name="connsiteX254" fmla="*/ 11712046 w 11725275"/>
              <a:gd name="connsiteY254" fmla="*/ 301625 h 2405063"/>
              <a:gd name="connsiteX255" fmla="*/ 11716279 w 11725275"/>
              <a:gd name="connsiteY255" fmla="*/ 311944 h 2405063"/>
              <a:gd name="connsiteX256" fmla="*/ 11719454 w 11725275"/>
              <a:gd name="connsiteY256" fmla="*/ 321469 h 2405063"/>
              <a:gd name="connsiteX257" fmla="*/ 11722100 w 11725275"/>
              <a:gd name="connsiteY257" fmla="*/ 330994 h 2405063"/>
              <a:gd name="connsiteX258" fmla="*/ 11723688 w 11725275"/>
              <a:gd name="connsiteY258" fmla="*/ 338931 h 2405063"/>
              <a:gd name="connsiteX259" fmla="*/ 11725275 w 11725275"/>
              <a:gd name="connsiteY259" fmla="*/ 347663 h 2405063"/>
              <a:gd name="connsiteX260" fmla="*/ 11725275 w 11725275"/>
              <a:gd name="connsiteY260" fmla="*/ 354806 h 2405063"/>
              <a:gd name="connsiteX261" fmla="*/ 11724746 w 11725275"/>
              <a:gd name="connsiteY261" fmla="*/ 361950 h 2405063"/>
              <a:gd name="connsiteX262" fmla="*/ 11722100 w 11725275"/>
              <a:gd name="connsiteY262" fmla="*/ 369094 h 2405063"/>
              <a:gd name="connsiteX263" fmla="*/ 11719454 w 11725275"/>
              <a:gd name="connsiteY263" fmla="*/ 375444 h 2405063"/>
              <a:gd name="connsiteX264" fmla="*/ 11715750 w 11725275"/>
              <a:gd name="connsiteY264" fmla="*/ 381794 h 2405063"/>
              <a:gd name="connsiteX265" fmla="*/ 11710458 w 11725275"/>
              <a:gd name="connsiteY265" fmla="*/ 387350 h 2405063"/>
              <a:gd name="connsiteX266" fmla="*/ 11704638 w 11725275"/>
              <a:gd name="connsiteY266" fmla="*/ 392113 h 2405063"/>
              <a:gd name="connsiteX267" fmla="*/ 11697229 w 11725275"/>
              <a:gd name="connsiteY267" fmla="*/ 396875 h 2405063"/>
              <a:gd name="connsiteX268" fmla="*/ 11689292 w 11725275"/>
              <a:gd name="connsiteY268" fmla="*/ 401638 h 2405063"/>
              <a:gd name="connsiteX269" fmla="*/ 11679767 w 11725275"/>
              <a:gd name="connsiteY269" fmla="*/ 404813 h 2405063"/>
              <a:gd name="connsiteX270" fmla="*/ 11668654 w 11725275"/>
              <a:gd name="connsiteY270" fmla="*/ 408782 h 2405063"/>
              <a:gd name="connsiteX271" fmla="*/ 11656483 w 11725275"/>
              <a:gd name="connsiteY271" fmla="*/ 411956 h 2405063"/>
              <a:gd name="connsiteX272" fmla="*/ 11643254 w 11725275"/>
              <a:gd name="connsiteY272" fmla="*/ 414338 h 2405063"/>
              <a:gd name="connsiteX273" fmla="*/ 11627908 w 11725275"/>
              <a:gd name="connsiteY273" fmla="*/ 416719 h 2405063"/>
              <a:gd name="connsiteX274" fmla="*/ 11611504 w 11725275"/>
              <a:gd name="connsiteY274" fmla="*/ 418307 h 2405063"/>
              <a:gd name="connsiteX275" fmla="*/ 11594042 w 11725275"/>
              <a:gd name="connsiteY275" fmla="*/ 419894 h 2405063"/>
              <a:gd name="connsiteX276" fmla="*/ 11574992 w 11725275"/>
              <a:gd name="connsiteY276" fmla="*/ 420688 h 2405063"/>
              <a:gd name="connsiteX277" fmla="*/ 11554354 w 11725275"/>
              <a:gd name="connsiteY277" fmla="*/ 422275 h 2405063"/>
              <a:gd name="connsiteX278" fmla="*/ 11531600 w 11725275"/>
              <a:gd name="connsiteY278" fmla="*/ 422275 h 2405063"/>
              <a:gd name="connsiteX279" fmla="*/ 11482917 w 11725275"/>
              <a:gd name="connsiteY279" fmla="*/ 420688 h 2405063"/>
              <a:gd name="connsiteX280" fmla="*/ 11426825 w 11725275"/>
              <a:gd name="connsiteY280" fmla="*/ 419100 h 2405063"/>
              <a:gd name="connsiteX281" fmla="*/ 11368617 w 11725275"/>
              <a:gd name="connsiteY281" fmla="*/ 416719 h 2405063"/>
              <a:gd name="connsiteX282" fmla="*/ 11308292 w 11725275"/>
              <a:gd name="connsiteY282" fmla="*/ 413544 h 2405063"/>
              <a:gd name="connsiteX283" fmla="*/ 11246908 w 11725275"/>
              <a:gd name="connsiteY283" fmla="*/ 411956 h 2405063"/>
              <a:gd name="connsiteX284" fmla="*/ 11184467 w 11725275"/>
              <a:gd name="connsiteY284" fmla="*/ 409575 h 2405063"/>
              <a:gd name="connsiteX285" fmla="*/ 11121496 w 11725275"/>
              <a:gd name="connsiteY285" fmla="*/ 408782 h 2405063"/>
              <a:gd name="connsiteX286" fmla="*/ 11057467 w 11725275"/>
              <a:gd name="connsiteY286" fmla="*/ 407988 h 2405063"/>
              <a:gd name="connsiteX287" fmla="*/ 10993967 w 11725275"/>
              <a:gd name="connsiteY287" fmla="*/ 407194 h 2405063"/>
              <a:gd name="connsiteX288" fmla="*/ 10929408 w 11725275"/>
              <a:gd name="connsiteY288" fmla="*/ 407194 h 2405063"/>
              <a:gd name="connsiteX289" fmla="*/ 10864321 w 11725275"/>
              <a:gd name="connsiteY289" fmla="*/ 406400 h 2405063"/>
              <a:gd name="connsiteX290" fmla="*/ 10799762 w 11725275"/>
              <a:gd name="connsiteY290" fmla="*/ 406400 h 2405063"/>
              <a:gd name="connsiteX291" fmla="*/ 10735204 w 11725275"/>
              <a:gd name="connsiteY291" fmla="*/ 406400 h 2405063"/>
              <a:gd name="connsiteX292" fmla="*/ 10670646 w 11725275"/>
              <a:gd name="connsiteY292" fmla="*/ 406400 h 2405063"/>
              <a:gd name="connsiteX293" fmla="*/ 10607146 w 11725275"/>
              <a:gd name="connsiteY293" fmla="*/ 406400 h 2405063"/>
              <a:gd name="connsiteX294" fmla="*/ 10544175 w 11725275"/>
              <a:gd name="connsiteY294" fmla="*/ 406400 h 2405063"/>
              <a:gd name="connsiteX295" fmla="*/ 10482262 w 11725275"/>
              <a:gd name="connsiteY295" fmla="*/ 406400 h 2405063"/>
              <a:gd name="connsiteX296" fmla="*/ 10420879 w 11725275"/>
              <a:gd name="connsiteY296" fmla="*/ 406400 h 2405063"/>
              <a:gd name="connsiteX297" fmla="*/ 9417579 w 11725275"/>
              <a:gd name="connsiteY297" fmla="*/ 411956 h 2405063"/>
              <a:gd name="connsiteX298" fmla="*/ 9337675 w 11725275"/>
              <a:gd name="connsiteY298" fmla="*/ 412750 h 2405063"/>
              <a:gd name="connsiteX299" fmla="*/ 9282642 w 11725275"/>
              <a:gd name="connsiteY299" fmla="*/ 411163 h 2405063"/>
              <a:gd name="connsiteX300" fmla="*/ 9246129 w 11725275"/>
              <a:gd name="connsiteY300" fmla="*/ 408782 h 2405063"/>
              <a:gd name="connsiteX301" fmla="*/ 9223375 w 11725275"/>
              <a:gd name="connsiteY301" fmla="*/ 406400 h 2405063"/>
              <a:gd name="connsiteX302" fmla="*/ 9207500 w 11725275"/>
              <a:gd name="connsiteY302" fmla="*/ 402432 h 2405063"/>
              <a:gd name="connsiteX303" fmla="*/ 9193212 w 11725275"/>
              <a:gd name="connsiteY303" fmla="*/ 400844 h 2405063"/>
              <a:gd name="connsiteX304" fmla="*/ 9185275 w 11725275"/>
              <a:gd name="connsiteY304" fmla="*/ 398463 h 2405063"/>
              <a:gd name="connsiteX305" fmla="*/ 9175750 w 11725275"/>
              <a:gd name="connsiteY305" fmla="*/ 398463 h 2405063"/>
              <a:gd name="connsiteX306" fmla="*/ 9163050 w 11725275"/>
              <a:gd name="connsiteY306" fmla="*/ 397669 h 2405063"/>
              <a:gd name="connsiteX307" fmla="*/ 9147704 w 11725275"/>
              <a:gd name="connsiteY307" fmla="*/ 397669 h 2405063"/>
              <a:gd name="connsiteX308" fmla="*/ 9130242 w 11725275"/>
              <a:gd name="connsiteY308" fmla="*/ 398463 h 2405063"/>
              <a:gd name="connsiteX309" fmla="*/ 9114896 w 11725275"/>
              <a:gd name="connsiteY309" fmla="*/ 399256 h 2405063"/>
              <a:gd name="connsiteX310" fmla="*/ 9101138 w 11725275"/>
              <a:gd name="connsiteY310" fmla="*/ 401638 h 2405063"/>
              <a:gd name="connsiteX311" fmla="*/ 9086850 w 11725275"/>
              <a:gd name="connsiteY311" fmla="*/ 403225 h 2405063"/>
              <a:gd name="connsiteX312" fmla="*/ 9070975 w 11725275"/>
              <a:gd name="connsiteY312" fmla="*/ 404813 h 2405063"/>
              <a:gd name="connsiteX313" fmla="*/ 9051925 w 11725275"/>
              <a:gd name="connsiteY313" fmla="*/ 406400 h 2405063"/>
              <a:gd name="connsiteX314" fmla="*/ 9028642 w 11725275"/>
              <a:gd name="connsiteY314" fmla="*/ 407988 h 2405063"/>
              <a:gd name="connsiteX315" fmla="*/ 8999008 w 11725275"/>
              <a:gd name="connsiteY315" fmla="*/ 408782 h 2405063"/>
              <a:gd name="connsiteX316" fmla="*/ 8617479 w 11725275"/>
              <a:gd name="connsiteY316" fmla="*/ 407194 h 2405063"/>
              <a:gd name="connsiteX317" fmla="*/ 8569854 w 11725275"/>
              <a:gd name="connsiteY317" fmla="*/ 406400 h 2405063"/>
              <a:gd name="connsiteX318" fmla="*/ 8528050 w 11725275"/>
              <a:gd name="connsiteY318" fmla="*/ 406400 h 2405063"/>
              <a:gd name="connsiteX319" fmla="*/ 8489950 w 11725275"/>
              <a:gd name="connsiteY319" fmla="*/ 407988 h 2405063"/>
              <a:gd name="connsiteX320" fmla="*/ 8453967 w 11725275"/>
              <a:gd name="connsiteY320" fmla="*/ 409575 h 2405063"/>
              <a:gd name="connsiteX321" fmla="*/ 8417454 w 11725275"/>
              <a:gd name="connsiteY321" fmla="*/ 413544 h 2405063"/>
              <a:gd name="connsiteX322" fmla="*/ 8379354 w 11725275"/>
              <a:gd name="connsiteY322" fmla="*/ 416719 h 2405063"/>
              <a:gd name="connsiteX323" fmla="*/ 8337550 w 11725275"/>
              <a:gd name="connsiteY323" fmla="*/ 418307 h 2405063"/>
              <a:gd name="connsiteX324" fmla="*/ 8289925 w 11725275"/>
              <a:gd name="connsiteY324" fmla="*/ 419894 h 2405063"/>
              <a:gd name="connsiteX325" fmla="*/ 7835371 w 11725275"/>
              <a:gd name="connsiteY325" fmla="*/ 430213 h 2405063"/>
              <a:gd name="connsiteX326" fmla="*/ 7823200 w 11725275"/>
              <a:gd name="connsiteY326" fmla="*/ 431007 h 2405063"/>
              <a:gd name="connsiteX327" fmla="*/ 7815792 w 11725275"/>
              <a:gd name="connsiteY327" fmla="*/ 432594 h 2405063"/>
              <a:gd name="connsiteX328" fmla="*/ 7812088 w 11725275"/>
              <a:gd name="connsiteY328" fmla="*/ 432594 h 2405063"/>
              <a:gd name="connsiteX329" fmla="*/ 7809971 w 11725275"/>
              <a:gd name="connsiteY329" fmla="*/ 433388 h 2405063"/>
              <a:gd name="connsiteX330" fmla="*/ 7806796 w 11725275"/>
              <a:gd name="connsiteY330" fmla="*/ 433388 h 2405063"/>
              <a:gd name="connsiteX331" fmla="*/ 7801504 w 11725275"/>
              <a:gd name="connsiteY331" fmla="*/ 434975 h 2405063"/>
              <a:gd name="connsiteX332" fmla="*/ 7793038 w 11725275"/>
              <a:gd name="connsiteY332" fmla="*/ 438150 h 2405063"/>
              <a:gd name="connsiteX333" fmla="*/ 7778221 w 11725275"/>
              <a:gd name="connsiteY333" fmla="*/ 441325 h 2405063"/>
              <a:gd name="connsiteX334" fmla="*/ 7772400 w 11725275"/>
              <a:gd name="connsiteY334" fmla="*/ 443706 h 2405063"/>
              <a:gd name="connsiteX335" fmla="*/ 7764463 w 11725275"/>
              <a:gd name="connsiteY335" fmla="*/ 446088 h 2405063"/>
              <a:gd name="connsiteX336" fmla="*/ 7757054 w 11725275"/>
              <a:gd name="connsiteY336" fmla="*/ 447675 h 2405063"/>
              <a:gd name="connsiteX337" fmla="*/ 7752821 w 11725275"/>
              <a:gd name="connsiteY337" fmla="*/ 450056 h 2405063"/>
              <a:gd name="connsiteX338" fmla="*/ 7727950 w 11725275"/>
              <a:gd name="connsiteY338" fmla="*/ 457994 h 2405063"/>
              <a:gd name="connsiteX339" fmla="*/ 7734829 w 11725275"/>
              <a:gd name="connsiteY339" fmla="*/ 460375 h 2405063"/>
              <a:gd name="connsiteX340" fmla="*/ 7741709 w 11725275"/>
              <a:gd name="connsiteY340" fmla="*/ 461169 h 2405063"/>
              <a:gd name="connsiteX341" fmla="*/ 7748059 w 11725275"/>
              <a:gd name="connsiteY341" fmla="*/ 462757 h 2405063"/>
              <a:gd name="connsiteX342" fmla="*/ 7755467 w 11725275"/>
              <a:gd name="connsiteY342" fmla="*/ 463550 h 2405063"/>
              <a:gd name="connsiteX343" fmla="*/ 7762346 w 11725275"/>
              <a:gd name="connsiteY343" fmla="*/ 465931 h 2405063"/>
              <a:gd name="connsiteX344" fmla="*/ 7769225 w 11725275"/>
              <a:gd name="connsiteY344" fmla="*/ 467519 h 2405063"/>
              <a:gd name="connsiteX345" fmla="*/ 7890934 w 11725275"/>
              <a:gd name="connsiteY345" fmla="*/ 477044 h 2405063"/>
              <a:gd name="connsiteX346" fmla="*/ 7886171 w 11725275"/>
              <a:gd name="connsiteY346" fmla="*/ 476250 h 2405063"/>
              <a:gd name="connsiteX347" fmla="*/ 7875059 w 11725275"/>
              <a:gd name="connsiteY347" fmla="*/ 472281 h 2405063"/>
              <a:gd name="connsiteX348" fmla="*/ 7868179 w 11725275"/>
              <a:gd name="connsiteY348" fmla="*/ 468313 h 2405063"/>
              <a:gd name="connsiteX349" fmla="*/ 7861829 w 11725275"/>
              <a:gd name="connsiteY349" fmla="*/ 462757 h 2405063"/>
              <a:gd name="connsiteX350" fmla="*/ 7858654 w 11725275"/>
              <a:gd name="connsiteY350" fmla="*/ 459581 h 2405063"/>
              <a:gd name="connsiteX351" fmla="*/ 7856009 w 11725275"/>
              <a:gd name="connsiteY351" fmla="*/ 455613 h 2405063"/>
              <a:gd name="connsiteX352" fmla="*/ 7853892 w 11725275"/>
              <a:gd name="connsiteY352" fmla="*/ 450850 h 2405063"/>
              <a:gd name="connsiteX353" fmla="*/ 7852304 w 11725275"/>
              <a:gd name="connsiteY353" fmla="*/ 446088 h 2405063"/>
              <a:gd name="connsiteX354" fmla="*/ 7868179 w 11725275"/>
              <a:gd name="connsiteY354" fmla="*/ 449263 h 2405063"/>
              <a:gd name="connsiteX355" fmla="*/ 7886171 w 11725275"/>
              <a:gd name="connsiteY355" fmla="*/ 451644 h 2405063"/>
              <a:gd name="connsiteX356" fmla="*/ 7904163 w 11725275"/>
              <a:gd name="connsiteY356" fmla="*/ 454819 h 2405063"/>
              <a:gd name="connsiteX357" fmla="*/ 7922684 w 11725275"/>
              <a:gd name="connsiteY357" fmla="*/ 456406 h 2405063"/>
              <a:gd name="connsiteX358" fmla="*/ 7942263 w 11725275"/>
              <a:gd name="connsiteY358" fmla="*/ 457994 h 2405063"/>
              <a:gd name="connsiteX359" fmla="*/ 7961313 w 11725275"/>
              <a:gd name="connsiteY359" fmla="*/ 460375 h 2405063"/>
              <a:gd name="connsiteX360" fmla="*/ 7980363 w 11725275"/>
              <a:gd name="connsiteY360" fmla="*/ 461963 h 2405063"/>
              <a:gd name="connsiteX361" fmla="*/ 7999413 w 11725275"/>
              <a:gd name="connsiteY361" fmla="*/ 463550 h 2405063"/>
              <a:gd name="connsiteX362" fmla="*/ 8001529 w 11725275"/>
              <a:gd name="connsiteY362" fmla="*/ 466725 h 2405063"/>
              <a:gd name="connsiteX363" fmla="*/ 8002588 w 11725275"/>
              <a:gd name="connsiteY363" fmla="*/ 469107 h 2405063"/>
              <a:gd name="connsiteX364" fmla="*/ 8002588 w 11725275"/>
              <a:gd name="connsiteY364" fmla="*/ 471488 h 2405063"/>
              <a:gd name="connsiteX365" fmla="*/ 8001000 w 11725275"/>
              <a:gd name="connsiteY365" fmla="*/ 473075 h 2405063"/>
              <a:gd name="connsiteX366" fmla="*/ 7996767 w 11725275"/>
              <a:gd name="connsiteY366" fmla="*/ 473869 h 2405063"/>
              <a:gd name="connsiteX367" fmla="*/ 7989888 w 11725275"/>
              <a:gd name="connsiteY367" fmla="*/ 473869 h 2405063"/>
              <a:gd name="connsiteX368" fmla="*/ 7983538 w 11725275"/>
              <a:gd name="connsiteY368" fmla="*/ 473869 h 2405063"/>
              <a:gd name="connsiteX369" fmla="*/ 7979304 w 11725275"/>
              <a:gd name="connsiteY369" fmla="*/ 474663 h 2405063"/>
              <a:gd name="connsiteX370" fmla="*/ 7977717 w 11725275"/>
              <a:gd name="connsiteY370" fmla="*/ 476250 h 2405063"/>
              <a:gd name="connsiteX371" fmla="*/ 7976659 w 11725275"/>
              <a:gd name="connsiteY371" fmla="*/ 477838 h 2405063"/>
              <a:gd name="connsiteX372" fmla="*/ 7978246 w 11725275"/>
              <a:gd name="connsiteY372" fmla="*/ 479425 h 2405063"/>
              <a:gd name="connsiteX373" fmla="*/ 7980363 w 11725275"/>
              <a:gd name="connsiteY373" fmla="*/ 483394 h 2405063"/>
              <a:gd name="connsiteX374" fmla="*/ 8004704 w 11725275"/>
              <a:gd name="connsiteY374" fmla="*/ 482600 h 2405063"/>
              <a:gd name="connsiteX375" fmla="*/ 8023225 w 11725275"/>
              <a:gd name="connsiteY375" fmla="*/ 482600 h 2405063"/>
              <a:gd name="connsiteX376" fmla="*/ 8037513 w 11725275"/>
              <a:gd name="connsiteY376" fmla="*/ 481013 h 2405063"/>
              <a:gd name="connsiteX377" fmla="*/ 8050213 w 11725275"/>
              <a:gd name="connsiteY377" fmla="*/ 478631 h 2405063"/>
              <a:gd name="connsiteX378" fmla="*/ 8061325 w 11725275"/>
              <a:gd name="connsiteY378" fmla="*/ 476250 h 2405063"/>
              <a:gd name="connsiteX379" fmla="*/ 8071909 w 11725275"/>
              <a:gd name="connsiteY379" fmla="*/ 472281 h 2405063"/>
              <a:gd name="connsiteX380" fmla="*/ 8085137 w 11725275"/>
              <a:gd name="connsiteY380" fmla="*/ 467519 h 2405063"/>
              <a:gd name="connsiteX381" fmla="*/ 8102071 w 11725275"/>
              <a:gd name="connsiteY381" fmla="*/ 461169 h 2405063"/>
              <a:gd name="connsiteX382" fmla="*/ 8117417 w 11725275"/>
              <a:gd name="connsiteY382" fmla="*/ 454819 h 2405063"/>
              <a:gd name="connsiteX383" fmla="*/ 8124524 w 11725275"/>
              <a:gd name="connsiteY383" fmla="*/ 451858 h 2405063"/>
              <a:gd name="connsiteX384" fmla="*/ 8128529 w 11725275"/>
              <a:gd name="connsiteY384" fmla="*/ 455613 h 2405063"/>
              <a:gd name="connsiteX385" fmla="*/ 8130646 w 11725275"/>
              <a:gd name="connsiteY385" fmla="*/ 457994 h 2405063"/>
              <a:gd name="connsiteX386" fmla="*/ 8130646 w 11725275"/>
              <a:gd name="connsiteY386" fmla="*/ 459581 h 2405063"/>
              <a:gd name="connsiteX387" fmla="*/ 8130117 w 11725275"/>
              <a:gd name="connsiteY387" fmla="*/ 461169 h 2405063"/>
              <a:gd name="connsiteX388" fmla="*/ 8128000 w 11725275"/>
              <a:gd name="connsiteY388" fmla="*/ 461963 h 2405063"/>
              <a:gd name="connsiteX389" fmla="*/ 8124825 w 11725275"/>
              <a:gd name="connsiteY389" fmla="*/ 465138 h 2405063"/>
              <a:gd name="connsiteX390" fmla="*/ 8122709 w 11725275"/>
              <a:gd name="connsiteY390" fmla="*/ 468313 h 2405063"/>
              <a:gd name="connsiteX391" fmla="*/ 8119533 w 11725275"/>
              <a:gd name="connsiteY391" fmla="*/ 474663 h 2405063"/>
              <a:gd name="connsiteX392" fmla="*/ 8115829 w 11725275"/>
              <a:gd name="connsiteY392" fmla="*/ 484981 h 2405063"/>
              <a:gd name="connsiteX393" fmla="*/ 8112654 w 11725275"/>
              <a:gd name="connsiteY393" fmla="*/ 493713 h 2405063"/>
              <a:gd name="connsiteX394" fmla="*/ 8111067 w 11725275"/>
              <a:gd name="connsiteY394" fmla="*/ 497682 h 2405063"/>
              <a:gd name="connsiteX395" fmla="*/ 8110009 w 11725275"/>
              <a:gd name="connsiteY395" fmla="*/ 500063 h 2405063"/>
              <a:gd name="connsiteX396" fmla="*/ 8111067 w 11725275"/>
              <a:gd name="connsiteY396" fmla="*/ 502444 h 2405063"/>
              <a:gd name="connsiteX397" fmla="*/ 8112654 w 11725275"/>
              <a:gd name="connsiteY397" fmla="*/ 504032 h 2405063"/>
              <a:gd name="connsiteX398" fmla="*/ 8115300 w 11725275"/>
              <a:gd name="connsiteY398" fmla="*/ 505619 h 2405063"/>
              <a:gd name="connsiteX399" fmla="*/ 8119533 w 11725275"/>
              <a:gd name="connsiteY399" fmla="*/ 506413 h 2405063"/>
              <a:gd name="connsiteX400" fmla="*/ 8125354 w 11725275"/>
              <a:gd name="connsiteY400" fmla="*/ 508000 h 2405063"/>
              <a:gd name="connsiteX401" fmla="*/ 8134350 w 11725275"/>
              <a:gd name="connsiteY401" fmla="*/ 508794 h 2405063"/>
              <a:gd name="connsiteX402" fmla="*/ 8157104 w 11725275"/>
              <a:gd name="connsiteY402" fmla="*/ 509588 h 2405063"/>
              <a:gd name="connsiteX403" fmla="*/ 8190971 w 11725275"/>
              <a:gd name="connsiteY403" fmla="*/ 509588 h 2405063"/>
              <a:gd name="connsiteX404" fmla="*/ 8195733 w 11725275"/>
              <a:gd name="connsiteY404" fmla="*/ 500856 h 2405063"/>
              <a:gd name="connsiteX405" fmla="*/ 8198909 w 11725275"/>
              <a:gd name="connsiteY405" fmla="*/ 493713 h 2405063"/>
              <a:gd name="connsiteX406" fmla="*/ 8201025 w 11725275"/>
              <a:gd name="connsiteY406" fmla="*/ 490538 h 2405063"/>
              <a:gd name="connsiteX407" fmla="*/ 8204200 w 11725275"/>
              <a:gd name="connsiteY407" fmla="*/ 488950 h 2405063"/>
              <a:gd name="connsiteX408" fmla="*/ 8207904 w 11725275"/>
              <a:gd name="connsiteY408" fmla="*/ 487363 h 2405063"/>
              <a:gd name="connsiteX409" fmla="*/ 8213725 w 11725275"/>
              <a:gd name="connsiteY409" fmla="*/ 486569 h 2405063"/>
              <a:gd name="connsiteX410" fmla="*/ 8221663 w 11725275"/>
              <a:gd name="connsiteY410" fmla="*/ 484981 h 2405063"/>
              <a:gd name="connsiteX411" fmla="*/ 8232775 w 11725275"/>
              <a:gd name="connsiteY411" fmla="*/ 484981 h 2405063"/>
              <a:gd name="connsiteX412" fmla="*/ 8246533 w 11725275"/>
              <a:gd name="connsiteY412" fmla="*/ 484981 h 2405063"/>
              <a:gd name="connsiteX413" fmla="*/ 8263467 w 11725275"/>
              <a:gd name="connsiteY413" fmla="*/ 487363 h 2405063"/>
              <a:gd name="connsiteX414" fmla="*/ 8311091 w 11725275"/>
              <a:gd name="connsiteY414" fmla="*/ 490538 h 2405063"/>
              <a:gd name="connsiteX415" fmla="*/ 8378296 w 11725275"/>
              <a:gd name="connsiteY415" fmla="*/ 496094 h 2405063"/>
              <a:gd name="connsiteX416" fmla="*/ 8374063 w 11725275"/>
              <a:gd name="connsiteY416" fmla="*/ 492919 h 2405063"/>
              <a:gd name="connsiteX417" fmla="*/ 8369829 w 11725275"/>
              <a:gd name="connsiteY417" fmla="*/ 488950 h 2405063"/>
              <a:gd name="connsiteX418" fmla="*/ 8365067 w 11725275"/>
              <a:gd name="connsiteY418" fmla="*/ 486569 h 2405063"/>
              <a:gd name="connsiteX419" fmla="*/ 8360304 w 11725275"/>
              <a:gd name="connsiteY419" fmla="*/ 483394 h 2405063"/>
              <a:gd name="connsiteX420" fmla="*/ 8349191 w 11725275"/>
              <a:gd name="connsiteY420" fmla="*/ 478631 h 2405063"/>
              <a:gd name="connsiteX421" fmla="*/ 8337550 w 11725275"/>
              <a:gd name="connsiteY421" fmla="*/ 476250 h 2405063"/>
              <a:gd name="connsiteX422" fmla="*/ 8307917 w 11725275"/>
              <a:gd name="connsiteY422" fmla="*/ 472281 h 2405063"/>
              <a:gd name="connsiteX423" fmla="*/ 8271933 w 11725275"/>
              <a:gd name="connsiteY423" fmla="*/ 469107 h 2405063"/>
              <a:gd name="connsiteX424" fmla="*/ 8280929 w 11725275"/>
              <a:gd name="connsiteY424" fmla="*/ 466725 h 2405063"/>
              <a:gd name="connsiteX425" fmla="*/ 8290983 w 11725275"/>
              <a:gd name="connsiteY425" fmla="*/ 465138 h 2405063"/>
              <a:gd name="connsiteX426" fmla="*/ 8303683 w 11725275"/>
              <a:gd name="connsiteY426" fmla="*/ 463550 h 2405063"/>
              <a:gd name="connsiteX427" fmla="*/ 8316913 w 11725275"/>
              <a:gd name="connsiteY427" fmla="*/ 463550 h 2405063"/>
              <a:gd name="connsiteX428" fmla="*/ 8347604 w 11725275"/>
              <a:gd name="connsiteY428" fmla="*/ 463550 h 2405063"/>
              <a:gd name="connsiteX429" fmla="*/ 8380413 w 11725275"/>
              <a:gd name="connsiteY429" fmla="*/ 465931 h 2405063"/>
              <a:gd name="connsiteX430" fmla="*/ 8414279 w 11725275"/>
              <a:gd name="connsiteY430" fmla="*/ 469107 h 2405063"/>
              <a:gd name="connsiteX431" fmla="*/ 8447088 w 11725275"/>
              <a:gd name="connsiteY431" fmla="*/ 473075 h 2405063"/>
              <a:gd name="connsiteX432" fmla="*/ 8478308 w 11725275"/>
              <a:gd name="connsiteY432" fmla="*/ 478631 h 2405063"/>
              <a:gd name="connsiteX433" fmla="*/ 8503179 w 11725275"/>
              <a:gd name="connsiteY433" fmla="*/ 484981 h 2405063"/>
              <a:gd name="connsiteX434" fmla="*/ 8460317 w 11725275"/>
              <a:gd name="connsiteY434" fmla="*/ 492125 h 2405063"/>
              <a:gd name="connsiteX435" fmla="*/ 8456612 w 11725275"/>
              <a:gd name="connsiteY435" fmla="*/ 493713 h 2405063"/>
              <a:gd name="connsiteX436" fmla="*/ 8454496 w 11725275"/>
              <a:gd name="connsiteY436" fmla="*/ 495300 h 2405063"/>
              <a:gd name="connsiteX437" fmla="*/ 8453438 w 11725275"/>
              <a:gd name="connsiteY437" fmla="*/ 497682 h 2405063"/>
              <a:gd name="connsiteX438" fmla="*/ 8451850 w 11725275"/>
              <a:gd name="connsiteY438" fmla="*/ 499269 h 2405063"/>
              <a:gd name="connsiteX439" fmla="*/ 8448675 w 11725275"/>
              <a:gd name="connsiteY439" fmla="*/ 504825 h 2405063"/>
              <a:gd name="connsiteX440" fmla="*/ 8443912 w 11725275"/>
              <a:gd name="connsiteY440" fmla="*/ 514350 h 2405063"/>
              <a:gd name="connsiteX441" fmla="*/ 8559271 w 11725275"/>
              <a:gd name="connsiteY441" fmla="*/ 500063 h 2405063"/>
              <a:gd name="connsiteX442" fmla="*/ 8593138 w 11725275"/>
              <a:gd name="connsiteY442" fmla="*/ 490538 h 2405063"/>
              <a:gd name="connsiteX443" fmla="*/ 8620125 w 11725275"/>
              <a:gd name="connsiteY443" fmla="*/ 483394 h 2405063"/>
              <a:gd name="connsiteX444" fmla="*/ 8641292 w 11725275"/>
              <a:gd name="connsiteY444" fmla="*/ 478631 h 2405063"/>
              <a:gd name="connsiteX445" fmla="*/ 8658225 w 11725275"/>
              <a:gd name="connsiteY445" fmla="*/ 474663 h 2405063"/>
              <a:gd name="connsiteX446" fmla="*/ 8670925 w 11725275"/>
              <a:gd name="connsiteY446" fmla="*/ 473869 h 2405063"/>
              <a:gd name="connsiteX447" fmla="*/ 8680979 w 11725275"/>
              <a:gd name="connsiteY447" fmla="*/ 473075 h 2405063"/>
              <a:gd name="connsiteX448" fmla="*/ 8688917 w 11725275"/>
              <a:gd name="connsiteY448" fmla="*/ 473869 h 2405063"/>
              <a:gd name="connsiteX449" fmla="*/ 8695796 w 11725275"/>
              <a:gd name="connsiteY449" fmla="*/ 476250 h 2405063"/>
              <a:gd name="connsiteX450" fmla="*/ 8709554 w 11725275"/>
              <a:gd name="connsiteY450" fmla="*/ 482600 h 2405063"/>
              <a:gd name="connsiteX451" fmla="*/ 8729662 w 11725275"/>
              <a:gd name="connsiteY451" fmla="*/ 488950 h 2405063"/>
              <a:gd name="connsiteX452" fmla="*/ 8743950 w 11725275"/>
              <a:gd name="connsiteY452" fmla="*/ 492919 h 2405063"/>
              <a:gd name="connsiteX453" fmla="*/ 8763000 w 11725275"/>
              <a:gd name="connsiteY453" fmla="*/ 495300 h 2405063"/>
              <a:gd name="connsiteX454" fmla="*/ 8787342 w 11725275"/>
              <a:gd name="connsiteY454" fmla="*/ 498475 h 2405063"/>
              <a:gd name="connsiteX455" fmla="*/ 8817504 w 11725275"/>
              <a:gd name="connsiteY455" fmla="*/ 499269 h 2405063"/>
              <a:gd name="connsiteX456" fmla="*/ 8841846 w 11725275"/>
              <a:gd name="connsiteY456" fmla="*/ 499269 h 2405063"/>
              <a:gd name="connsiteX457" fmla="*/ 8871479 w 11725275"/>
              <a:gd name="connsiteY457" fmla="*/ 498475 h 2405063"/>
              <a:gd name="connsiteX458" fmla="*/ 8905875 w 11725275"/>
              <a:gd name="connsiteY458" fmla="*/ 497682 h 2405063"/>
              <a:gd name="connsiteX459" fmla="*/ 8941858 w 11725275"/>
              <a:gd name="connsiteY459" fmla="*/ 496094 h 2405063"/>
              <a:gd name="connsiteX460" fmla="*/ 8977312 w 11725275"/>
              <a:gd name="connsiteY460" fmla="*/ 495300 h 2405063"/>
              <a:gd name="connsiteX461" fmla="*/ 9009592 w 11725275"/>
              <a:gd name="connsiteY461" fmla="*/ 496094 h 2405063"/>
              <a:gd name="connsiteX462" fmla="*/ 9023879 w 11725275"/>
              <a:gd name="connsiteY462" fmla="*/ 497682 h 2405063"/>
              <a:gd name="connsiteX463" fmla="*/ 9037108 w 11725275"/>
              <a:gd name="connsiteY463" fmla="*/ 499269 h 2405063"/>
              <a:gd name="connsiteX464" fmla="*/ 9048221 w 11725275"/>
              <a:gd name="connsiteY464" fmla="*/ 500856 h 2405063"/>
              <a:gd name="connsiteX465" fmla="*/ 9057217 w 11725275"/>
              <a:gd name="connsiteY465" fmla="*/ 504032 h 2405063"/>
              <a:gd name="connsiteX466" fmla="*/ 9069388 w 11725275"/>
              <a:gd name="connsiteY466" fmla="*/ 515144 h 2405063"/>
              <a:gd name="connsiteX467" fmla="*/ 9082088 w 11725275"/>
              <a:gd name="connsiteY467" fmla="*/ 509588 h 2405063"/>
              <a:gd name="connsiteX468" fmla="*/ 9095317 w 11725275"/>
              <a:gd name="connsiteY468" fmla="*/ 504825 h 2405063"/>
              <a:gd name="connsiteX469" fmla="*/ 9109075 w 11725275"/>
              <a:gd name="connsiteY469" fmla="*/ 500856 h 2405063"/>
              <a:gd name="connsiteX470" fmla="*/ 9123892 w 11725275"/>
              <a:gd name="connsiteY470" fmla="*/ 498475 h 2405063"/>
              <a:gd name="connsiteX471" fmla="*/ 9138179 w 11725275"/>
              <a:gd name="connsiteY471" fmla="*/ 496094 h 2405063"/>
              <a:gd name="connsiteX472" fmla="*/ 9153525 w 11725275"/>
              <a:gd name="connsiteY472" fmla="*/ 494506 h 2405063"/>
              <a:gd name="connsiteX473" fmla="*/ 9169929 w 11725275"/>
              <a:gd name="connsiteY473" fmla="*/ 494506 h 2405063"/>
              <a:gd name="connsiteX474" fmla="*/ 9186862 w 11725275"/>
              <a:gd name="connsiteY474" fmla="*/ 494506 h 2405063"/>
              <a:gd name="connsiteX475" fmla="*/ 9221788 w 11725275"/>
              <a:gd name="connsiteY475" fmla="*/ 495300 h 2405063"/>
              <a:gd name="connsiteX476" fmla="*/ 9259358 w 11725275"/>
              <a:gd name="connsiteY476" fmla="*/ 497682 h 2405063"/>
              <a:gd name="connsiteX477" fmla="*/ 9299046 w 11725275"/>
              <a:gd name="connsiteY477" fmla="*/ 499269 h 2405063"/>
              <a:gd name="connsiteX478" fmla="*/ 9340850 w 11725275"/>
              <a:gd name="connsiteY478" fmla="*/ 500856 h 2405063"/>
              <a:gd name="connsiteX479" fmla="*/ 9338204 w 11725275"/>
              <a:gd name="connsiteY479" fmla="*/ 471488 h 2405063"/>
              <a:gd name="connsiteX480" fmla="*/ 9463088 w 11725275"/>
              <a:gd name="connsiteY480" fmla="*/ 469107 h 2405063"/>
              <a:gd name="connsiteX481" fmla="*/ 9454092 w 11725275"/>
              <a:gd name="connsiteY481" fmla="*/ 483394 h 2405063"/>
              <a:gd name="connsiteX482" fmla="*/ 9449329 w 11725275"/>
              <a:gd name="connsiteY482" fmla="*/ 489744 h 2405063"/>
              <a:gd name="connsiteX483" fmla="*/ 9447742 w 11725275"/>
              <a:gd name="connsiteY483" fmla="*/ 490538 h 2405063"/>
              <a:gd name="connsiteX484" fmla="*/ 9446154 w 11725275"/>
              <a:gd name="connsiteY484" fmla="*/ 490538 h 2405063"/>
              <a:gd name="connsiteX485" fmla="*/ 9445625 w 11725275"/>
              <a:gd name="connsiteY485" fmla="*/ 489744 h 2405063"/>
              <a:gd name="connsiteX486" fmla="*/ 9444567 w 11725275"/>
              <a:gd name="connsiteY486" fmla="*/ 488950 h 2405063"/>
              <a:gd name="connsiteX487" fmla="*/ 9444038 w 11725275"/>
              <a:gd name="connsiteY487" fmla="*/ 488950 h 2405063"/>
              <a:gd name="connsiteX488" fmla="*/ 9442450 w 11725275"/>
              <a:gd name="connsiteY488" fmla="*/ 488950 h 2405063"/>
              <a:gd name="connsiteX489" fmla="*/ 9440862 w 11725275"/>
              <a:gd name="connsiteY489" fmla="*/ 489744 h 2405063"/>
              <a:gd name="connsiteX490" fmla="*/ 9435042 w 11725275"/>
              <a:gd name="connsiteY490" fmla="*/ 496094 h 2405063"/>
              <a:gd name="connsiteX491" fmla="*/ 9424988 w 11725275"/>
              <a:gd name="connsiteY491" fmla="*/ 509588 h 2405063"/>
              <a:gd name="connsiteX492" fmla="*/ 9463617 w 11725275"/>
              <a:gd name="connsiteY492" fmla="*/ 509588 h 2405063"/>
              <a:gd name="connsiteX493" fmla="*/ 9488488 w 11725275"/>
              <a:gd name="connsiteY493" fmla="*/ 509588 h 2405063"/>
              <a:gd name="connsiteX494" fmla="*/ 9497483 w 11725275"/>
              <a:gd name="connsiteY494" fmla="*/ 509588 h 2405063"/>
              <a:gd name="connsiteX495" fmla="*/ 9503833 w 11725275"/>
              <a:gd name="connsiteY495" fmla="*/ 510381 h 2405063"/>
              <a:gd name="connsiteX496" fmla="*/ 9508596 w 11725275"/>
              <a:gd name="connsiteY496" fmla="*/ 511969 h 2405063"/>
              <a:gd name="connsiteX497" fmla="*/ 9512300 w 11725275"/>
              <a:gd name="connsiteY497" fmla="*/ 513557 h 2405063"/>
              <a:gd name="connsiteX498" fmla="*/ 9514417 w 11725275"/>
              <a:gd name="connsiteY498" fmla="*/ 515144 h 2405063"/>
              <a:gd name="connsiteX499" fmla="*/ 9516004 w 11725275"/>
              <a:gd name="connsiteY499" fmla="*/ 516731 h 2405063"/>
              <a:gd name="connsiteX500" fmla="*/ 9516533 w 11725275"/>
              <a:gd name="connsiteY500" fmla="*/ 519907 h 2405063"/>
              <a:gd name="connsiteX501" fmla="*/ 9518121 w 11725275"/>
              <a:gd name="connsiteY501" fmla="*/ 521494 h 2405063"/>
              <a:gd name="connsiteX502" fmla="*/ 9519708 w 11725275"/>
              <a:gd name="connsiteY502" fmla="*/ 525463 h 2405063"/>
              <a:gd name="connsiteX503" fmla="*/ 9522354 w 11725275"/>
              <a:gd name="connsiteY503" fmla="*/ 529431 h 2405063"/>
              <a:gd name="connsiteX504" fmla="*/ 9526058 w 11725275"/>
              <a:gd name="connsiteY504" fmla="*/ 532606 h 2405063"/>
              <a:gd name="connsiteX505" fmla="*/ 9531350 w 11725275"/>
              <a:gd name="connsiteY505" fmla="*/ 536575 h 2405063"/>
              <a:gd name="connsiteX506" fmla="*/ 9644062 w 11725275"/>
              <a:gd name="connsiteY506" fmla="*/ 521494 h 2405063"/>
              <a:gd name="connsiteX507" fmla="*/ 9685338 w 11725275"/>
              <a:gd name="connsiteY507" fmla="*/ 520700 h 2405063"/>
              <a:gd name="connsiteX508" fmla="*/ 9707562 w 11725275"/>
              <a:gd name="connsiteY508" fmla="*/ 519907 h 2405063"/>
              <a:gd name="connsiteX509" fmla="*/ 9716558 w 11725275"/>
              <a:gd name="connsiteY509" fmla="*/ 519907 h 2405063"/>
              <a:gd name="connsiteX510" fmla="*/ 9717088 w 11725275"/>
              <a:gd name="connsiteY510" fmla="*/ 519113 h 2405063"/>
              <a:gd name="connsiteX511" fmla="*/ 9716029 w 11725275"/>
              <a:gd name="connsiteY511" fmla="*/ 519113 h 2405063"/>
              <a:gd name="connsiteX512" fmla="*/ 9714971 w 11725275"/>
              <a:gd name="connsiteY512" fmla="*/ 517525 h 2405063"/>
              <a:gd name="connsiteX513" fmla="*/ 9713912 w 11725275"/>
              <a:gd name="connsiteY513" fmla="*/ 516731 h 2405063"/>
              <a:gd name="connsiteX514" fmla="*/ 9714442 w 11725275"/>
              <a:gd name="connsiteY514" fmla="*/ 515938 h 2405063"/>
              <a:gd name="connsiteX515" fmla="*/ 9716558 w 11725275"/>
              <a:gd name="connsiteY515" fmla="*/ 514350 h 2405063"/>
              <a:gd name="connsiteX516" fmla="*/ 9720792 w 11725275"/>
              <a:gd name="connsiteY516" fmla="*/ 511175 h 2405063"/>
              <a:gd name="connsiteX517" fmla="*/ 9728200 w 11725275"/>
              <a:gd name="connsiteY517" fmla="*/ 508794 h 2405063"/>
              <a:gd name="connsiteX518" fmla="*/ 9739842 w 11725275"/>
              <a:gd name="connsiteY518" fmla="*/ 505619 h 2405063"/>
              <a:gd name="connsiteX519" fmla="*/ 9756775 w 11725275"/>
              <a:gd name="connsiteY519" fmla="*/ 500856 h 2405063"/>
              <a:gd name="connsiteX520" fmla="*/ 9775825 w 11725275"/>
              <a:gd name="connsiteY520" fmla="*/ 497682 h 2405063"/>
              <a:gd name="connsiteX521" fmla="*/ 9794875 w 11725275"/>
              <a:gd name="connsiteY521" fmla="*/ 494506 h 2405063"/>
              <a:gd name="connsiteX522" fmla="*/ 9815512 w 11725275"/>
              <a:gd name="connsiteY522" fmla="*/ 492125 h 2405063"/>
              <a:gd name="connsiteX523" fmla="*/ 9857846 w 11725275"/>
              <a:gd name="connsiteY523" fmla="*/ 488156 h 2405063"/>
              <a:gd name="connsiteX524" fmla="*/ 9902825 w 11725275"/>
              <a:gd name="connsiteY524" fmla="*/ 486569 h 2405063"/>
              <a:gd name="connsiteX525" fmla="*/ 9948333 w 11725275"/>
              <a:gd name="connsiteY525" fmla="*/ 486569 h 2405063"/>
              <a:gd name="connsiteX526" fmla="*/ 9993842 w 11725275"/>
              <a:gd name="connsiteY526" fmla="*/ 486569 h 2405063"/>
              <a:gd name="connsiteX527" fmla="*/ 10038292 w 11725275"/>
              <a:gd name="connsiteY527" fmla="*/ 487363 h 2405063"/>
              <a:gd name="connsiteX528" fmla="*/ 10080096 w 11725275"/>
              <a:gd name="connsiteY528" fmla="*/ 487363 h 2405063"/>
              <a:gd name="connsiteX529" fmla="*/ 10095971 w 11725275"/>
              <a:gd name="connsiteY529" fmla="*/ 487363 h 2405063"/>
              <a:gd name="connsiteX530" fmla="*/ 10110258 w 11725275"/>
              <a:gd name="connsiteY530" fmla="*/ 488156 h 2405063"/>
              <a:gd name="connsiteX531" fmla="*/ 10121900 w 11725275"/>
              <a:gd name="connsiteY531" fmla="*/ 488950 h 2405063"/>
              <a:gd name="connsiteX532" fmla="*/ 10131954 w 11725275"/>
              <a:gd name="connsiteY532" fmla="*/ 490538 h 2405063"/>
              <a:gd name="connsiteX533" fmla="*/ 10148888 w 11725275"/>
              <a:gd name="connsiteY533" fmla="*/ 493713 h 2405063"/>
              <a:gd name="connsiteX534" fmla="*/ 10165821 w 11725275"/>
              <a:gd name="connsiteY534" fmla="*/ 495300 h 2405063"/>
              <a:gd name="connsiteX535" fmla="*/ 10174817 w 11725275"/>
              <a:gd name="connsiteY535" fmla="*/ 496094 h 2405063"/>
              <a:gd name="connsiteX536" fmla="*/ 10184871 w 11725275"/>
              <a:gd name="connsiteY536" fmla="*/ 497682 h 2405063"/>
              <a:gd name="connsiteX537" fmla="*/ 10196512 w 11725275"/>
              <a:gd name="connsiteY537" fmla="*/ 496094 h 2405063"/>
              <a:gd name="connsiteX538" fmla="*/ 10210271 w 11725275"/>
              <a:gd name="connsiteY538" fmla="*/ 496094 h 2405063"/>
              <a:gd name="connsiteX539" fmla="*/ 10227204 w 11725275"/>
              <a:gd name="connsiteY539" fmla="*/ 494506 h 2405063"/>
              <a:gd name="connsiteX540" fmla="*/ 10247842 w 11725275"/>
              <a:gd name="connsiteY540" fmla="*/ 492125 h 2405063"/>
              <a:gd name="connsiteX541" fmla="*/ 10271125 w 11725275"/>
              <a:gd name="connsiteY541" fmla="*/ 488156 h 2405063"/>
              <a:gd name="connsiteX542" fmla="*/ 10299171 w 11725275"/>
              <a:gd name="connsiteY542" fmla="*/ 483394 h 2405063"/>
              <a:gd name="connsiteX543" fmla="*/ 10321925 w 11725275"/>
              <a:gd name="connsiteY543" fmla="*/ 481013 h 2405063"/>
              <a:gd name="connsiteX544" fmla="*/ 10342562 w 11725275"/>
              <a:gd name="connsiteY544" fmla="*/ 477838 h 2405063"/>
              <a:gd name="connsiteX545" fmla="*/ 10361612 w 11725275"/>
              <a:gd name="connsiteY545" fmla="*/ 477044 h 2405063"/>
              <a:gd name="connsiteX546" fmla="*/ 10377488 w 11725275"/>
              <a:gd name="connsiteY546" fmla="*/ 477044 h 2405063"/>
              <a:gd name="connsiteX547" fmla="*/ 10392304 w 11725275"/>
              <a:gd name="connsiteY547" fmla="*/ 478631 h 2405063"/>
              <a:gd name="connsiteX548" fmla="*/ 10406062 w 11725275"/>
              <a:gd name="connsiteY548" fmla="*/ 481013 h 2405063"/>
              <a:gd name="connsiteX549" fmla="*/ 10417704 w 11725275"/>
              <a:gd name="connsiteY549" fmla="*/ 483394 h 2405063"/>
              <a:gd name="connsiteX550" fmla="*/ 10428817 w 11725275"/>
              <a:gd name="connsiteY550" fmla="*/ 488156 h 2405063"/>
              <a:gd name="connsiteX551" fmla="*/ 10438342 w 11725275"/>
              <a:gd name="connsiteY551" fmla="*/ 492919 h 2405063"/>
              <a:gd name="connsiteX552" fmla="*/ 10447338 w 11725275"/>
              <a:gd name="connsiteY552" fmla="*/ 498475 h 2405063"/>
              <a:gd name="connsiteX553" fmla="*/ 10455804 w 11725275"/>
              <a:gd name="connsiteY553" fmla="*/ 504825 h 2405063"/>
              <a:gd name="connsiteX554" fmla="*/ 10464271 w 11725275"/>
              <a:gd name="connsiteY554" fmla="*/ 511969 h 2405063"/>
              <a:gd name="connsiteX555" fmla="*/ 10480146 w 11725275"/>
              <a:gd name="connsiteY555" fmla="*/ 527844 h 2405063"/>
              <a:gd name="connsiteX556" fmla="*/ 10497079 w 11725275"/>
              <a:gd name="connsiteY556" fmla="*/ 546894 h 2405063"/>
              <a:gd name="connsiteX557" fmla="*/ 10606088 w 11725275"/>
              <a:gd name="connsiteY557" fmla="*/ 656431 h 2405063"/>
              <a:gd name="connsiteX558" fmla="*/ 10634662 w 11725275"/>
              <a:gd name="connsiteY558" fmla="*/ 656431 h 2405063"/>
              <a:gd name="connsiteX559" fmla="*/ 10662708 w 11725275"/>
              <a:gd name="connsiteY559" fmla="*/ 655638 h 2405063"/>
              <a:gd name="connsiteX560" fmla="*/ 10690754 w 11725275"/>
              <a:gd name="connsiteY560" fmla="*/ 654050 h 2405063"/>
              <a:gd name="connsiteX561" fmla="*/ 10716683 w 11725275"/>
              <a:gd name="connsiteY561" fmla="*/ 653257 h 2405063"/>
              <a:gd name="connsiteX562" fmla="*/ 10741554 w 11725275"/>
              <a:gd name="connsiteY562" fmla="*/ 650875 h 2405063"/>
              <a:gd name="connsiteX563" fmla="*/ 10763250 w 11725275"/>
              <a:gd name="connsiteY563" fmla="*/ 650081 h 2405063"/>
              <a:gd name="connsiteX564" fmla="*/ 10782300 w 11725275"/>
              <a:gd name="connsiteY564" fmla="*/ 649288 h 2405063"/>
              <a:gd name="connsiteX565" fmla="*/ 10796058 w 11725275"/>
              <a:gd name="connsiteY565" fmla="*/ 648494 h 2405063"/>
              <a:gd name="connsiteX566" fmla="*/ 10813521 w 11725275"/>
              <a:gd name="connsiteY566" fmla="*/ 648494 h 2405063"/>
              <a:gd name="connsiteX567" fmla="*/ 10832571 w 11725275"/>
              <a:gd name="connsiteY567" fmla="*/ 648494 h 2405063"/>
              <a:gd name="connsiteX568" fmla="*/ 10853208 w 11725275"/>
              <a:gd name="connsiteY568" fmla="*/ 649288 h 2405063"/>
              <a:gd name="connsiteX569" fmla="*/ 10875962 w 11725275"/>
              <a:gd name="connsiteY569" fmla="*/ 650081 h 2405063"/>
              <a:gd name="connsiteX570" fmla="*/ 10900833 w 11725275"/>
              <a:gd name="connsiteY570" fmla="*/ 650081 h 2405063"/>
              <a:gd name="connsiteX571" fmla="*/ 10926233 w 11725275"/>
              <a:gd name="connsiteY571" fmla="*/ 650875 h 2405063"/>
              <a:gd name="connsiteX572" fmla="*/ 10953750 w 11725275"/>
              <a:gd name="connsiteY572" fmla="*/ 650875 h 2405063"/>
              <a:gd name="connsiteX573" fmla="*/ 10982325 w 11725275"/>
              <a:gd name="connsiteY573" fmla="*/ 650875 h 2405063"/>
              <a:gd name="connsiteX574" fmla="*/ 11010900 w 11725275"/>
              <a:gd name="connsiteY574" fmla="*/ 650081 h 2405063"/>
              <a:gd name="connsiteX575" fmla="*/ 11037888 w 11725275"/>
              <a:gd name="connsiteY575" fmla="*/ 650081 h 2405063"/>
              <a:gd name="connsiteX576" fmla="*/ 11064346 w 11725275"/>
              <a:gd name="connsiteY576" fmla="*/ 649288 h 2405063"/>
              <a:gd name="connsiteX577" fmla="*/ 11089746 w 11725275"/>
              <a:gd name="connsiteY577" fmla="*/ 650081 h 2405063"/>
              <a:gd name="connsiteX578" fmla="*/ 11114088 w 11725275"/>
              <a:gd name="connsiteY578" fmla="*/ 650875 h 2405063"/>
              <a:gd name="connsiteX579" fmla="*/ 11136842 w 11725275"/>
              <a:gd name="connsiteY579" fmla="*/ 654050 h 2405063"/>
              <a:gd name="connsiteX580" fmla="*/ 11147954 w 11725275"/>
              <a:gd name="connsiteY580" fmla="*/ 655638 h 2405063"/>
              <a:gd name="connsiteX581" fmla="*/ 11158538 w 11725275"/>
              <a:gd name="connsiteY581" fmla="*/ 657225 h 2405063"/>
              <a:gd name="connsiteX582" fmla="*/ 11169650 w 11725275"/>
              <a:gd name="connsiteY582" fmla="*/ 660400 h 2405063"/>
              <a:gd name="connsiteX583" fmla="*/ 11180233 w 11725275"/>
              <a:gd name="connsiteY583" fmla="*/ 664369 h 2405063"/>
              <a:gd name="connsiteX584" fmla="*/ 11194521 w 11725275"/>
              <a:gd name="connsiteY584" fmla="*/ 669925 h 2405063"/>
              <a:gd name="connsiteX585" fmla="*/ 11205104 w 11725275"/>
              <a:gd name="connsiteY585" fmla="*/ 674688 h 2405063"/>
              <a:gd name="connsiteX586" fmla="*/ 11211454 w 11725275"/>
              <a:gd name="connsiteY586" fmla="*/ 677863 h 2405063"/>
              <a:gd name="connsiteX587" fmla="*/ 11216217 w 11725275"/>
              <a:gd name="connsiteY587" fmla="*/ 681832 h 2405063"/>
              <a:gd name="connsiteX588" fmla="*/ 11220979 w 11725275"/>
              <a:gd name="connsiteY588" fmla="*/ 688975 h 2405063"/>
              <a:gd name="connsiteX589" fmla="*/ 11224154 w 11725275"/>
              <a:gd name="connsiteY589" fmla="*/ 696913 h 2405063"/>
              <a:gd name="connsiteX590" fmla="*/ 11228917 w 11725275"/>
              <a:gd name="connsiteY590" fmla="*/ 706438 h 2405063"/>
              <a:gd name="connsiteX591" fmla="*/ 11229975 w 11725275"/>
              <a:gd name="connsiteY591" fmla="*/ 709613 h 2405063"/>
              <a:gd name="connsiteX592" fmla="*/ 11228388 w 11725275"/>
              <a:gd name="connsiteY592" fmla="*/ 708819 h 2405063"/>
              <a:gd name="connsiteX593" fmla="*/ 11224683 w 11725275"/>
              <a:gd name="connsiteY593" fmla="*/ 707231 h 2405063"/>
              <a:gd name="connsiteX594" fmla="*/ 11222567 w 11725275"/>
              <a:gd name="connsiteY594" fmla="*/ 704057 h 2405063"/>
              <a:gd name="connsiteX595" fmla="*/ 11222038 w 11725275"/>
              <a:gd name="connsiteY595" fmla="*/ 704850 h 2405063"/>
              <a:gd name="connsiteX596" fmla="*/ 11224683 w 11725275"/>
              <a:gd name="connsiteY596" fmla="*/ 709613 h 2405063"/>
              <a:gd name="connsiteX597" fmla="*/ 11233679 w 11725275"/>
              <a:gd name="connsiteY597" fmla="*/ 720725 h 2405063"/>
              <a:gd name="connsiteX598" fmla="*/ 11242146 w 11725275"/>
              <a:gd name="connsiteY598" fmla="*/ 733425 h 2405063"/>
              <a:gd name="connsiteX599" fmla="*/ 11243204 w 11725275"/>
              <a:gd name="connsiteY599" fmla="*/ 733425 h 2405063"/>
              <a:gd name="connsiteX600" fmla="*/ 11242146 w 11725275"/>
              <a:gd name="connsiteY600" fmla="*/ 731838 h 2405063"/>
              <a:gd name="connsiteX601" fmla="*/ 11243204 w 11725275"/>
              <a:gd name="connsiteY601" fmla="*/ 731044 h 2405063"/>
              <a:gd name="connsiteX602" fmla="*/ 11245850 w 11725275"/>
              <a:gd name="connsiteY602" fmla="*/ 733425 h 2405063"/>
              <a:gd name="connsiteX603" fmla="*/ 11252729 w 11725275"/>
              <a:gd name="connsiteY603" fmla="*/ 737394 h 2405063"/>
              <a:gd name="connsiteX604" fmla="*/ 11296650 w 11725275"/>
              <a:gd name="connsiteY604" fmla="*/ 777875 h 2405063"/>
              <a:gd name="connsiteX605" fmla="*/ 11314642 w 11725275"/>
              <a:gd name="connsiteY605" fmla="*/ 791369 h 2405063"/>
              <a:gd name="connsiteX606" fmla="*/ 11329458 w 11725275"/>
              <a:gd name="connsiteY606" fmla="*/ 800894 h 2405063"/>
              <a:gd name="connsiteX607" fmla="*/ 11340571 w 11725275"/>
              <a:gd name="connsiteY607" fmla="*/ 807244 h 2405063"/>
              <a:gd name="connsiteX608" fmla="*/ 11349567 w 11725275"/>
              <a:gd name="connsiteY608" fmla="*/ 812007 h 2405063"/>
              <a:gd name="connsiteX609" fmla="*/ 11352742 w 11725275"/>
              <a:gd name="connsiteY609" fmla="*/ 815975 h 2405063"/>
              <a:gd name="connsiteX610" fmla="*/ 11356446 w 11725275"/>
              <a:gd name="connsiteY610" fmla="*/ 819944 h 2405063"/>
              <a:gd name="connsiteX611" fmla="*/ 11360150 w 11725275"/>
              <a:gd name="connsiteY611" fmla="*/ 823119 h 2405063"/>
              <a:gd name="connsiteX612" fmla="*/ 11363854 w 11725275"/>
              <a:gd name="connsiteY612" fmla="*/ 828675 h 2405063"/>
              <a:gd name="connsiteX613" fmla="*/ 11368617 w 11725275"/>
              <a:gd name="connsiteY613" fmla="*/ 836613 h 2405063"/>
              <a:gd name="connsiteX614" fmla="*/ 11371792 w 11725275"/>
              <a:gd name="connsiteY614" fmla="*/ 844550 h 2405063"/>
              <a:gd name="connsiteX615" fmla="*/ 11376554 w 11725275"/>
              <a:gd name="connsiteY615" fmla="*/ 854869 h 2405063"/>
              <a:gd name="connsiteX616" fmla="*/ 11381317 w 11725275"/>
              <a:gd name="connsiteY616" fmla="*/ 867569 h 2405063"/>
              <a:gd name="connsiteX617" fmla="*/ 11384492 w 11725275"/>
              <a:gd name="connsiteY617" fmla="*/ 876300 h 2405063"/>
              <a:gd name="connsiteX618" fmla="*/ 11387667 w 11725275"/>
              <a:gd name="connsiteY618" fmla="*/ 889000 h 2405063"/>
              <a:gd name="connsiteX619" fmla="*/ 11388725 w 11725275"/>
              <a:gd name="connsiteY619" fmla="*/ 895350 h 2405063"/>
              <a:gd name="connsiteX620" fmla="*/ 11389783 w 11725275"/>
              <a:gd name="connsiteY620" fmla="*/ 902494 h 2405063"/>
              <a:gd name="connsiteX621" fmla="*/ 11389783 w 11725275"/>
              <a:gd name="connsiteY621" fmla="*/ 910432 h 2405063"/>
              <a:gd name="connsiteX622" fmla="*/ 11389783 w 11725275"/>
              <a:gd name="connsiteY622" fmla="*/ 917575 h 2405063"/>
              <a:gd name="connsiteX623" fmla="*/ 11388725 w 11725275"/>
              <a:gd name="connsiteY623" fmla="*/ 925513 h 2405063"/>
              <a:gd name="connsiteX624" fmla="*/ 11387667 w 11725275"/>
              <a:gd name="connsiteY624" fmla="*/ 933450 h 2405063"/>
              <a:gd name="connsiteX625" fmla="*/ 11386079 w 11725275"/>
              <a:gd name="connsiteY625" fmla="*/ 939800 h 2405063"/>
              <a:gd name="connsiteX626" fmla="*/ 11382375 w 11725275"/>
              <a:gd name="connsiteY626" fmla="*/ 946944 h 2405063"/>
              <a:gd name="connsiteX627" fmla="*/ 11378671 w 11725275"/>
              <a:gd name="connsiteY627" fmla="*/ 954088 h 2405063"/>
              <a:gd name="connsiteX628" fmla="*/ 11373379 w 11725275"/>
              <a:gd name="connsiteY628" fmla="*/ 959644 h 2405063"/>
              <a:gd name="connsiteX629" fmla="*/ 11367558 w 11725275"/>
              <a:gd name="connsiteY629" fmla="*/ 964407 h 2405063"/>
              <a:gd name="connsiteX630" fmla="*/ 11360150 w 11725275"/>
              <a:gd name="connsiteY630" fmla="*/ 967582 h 2405063"/>
              <a:gd name="connsiteX631" fmla="*/ 11349567 w 11725275"/>
              <a:gd name="connsiteY631" fmla="*/ 971550 h 2405063"/>
              <a:gd name="connsiteX632" fmla="*/ 11333162 w 11725275"/>
              <a:gd name="connsiteY632" fmla="*/ 973932 h 2405063"/>
              <a:gd name="connsiteX633" fmla="*/ 11311996 w 11725275"/>
              <a:gd name="connsiteY633" fmla="*/ 976313 h 2405063"/>
              <a:gd name="connsiteX634" fmla="*/ 11286067 w 11725275"/>
              <a:gd name="connsiteY634" fmla="*/ 977900 h 2405063"/>
              <a:gd name="connsiteX635" fmla="*/ 11222038 w 11725275"/>
              <a:gd name="connsiteY635" fmla="*/ 981075 h 2405063"/>
              <a:gd name="connsiteX636" fmla="*/ 11142662 w 11725275"/>
              <a:gd name="connsiteY636" fmla="*/ 981869 h 2405063"/>
              <a:gd name="connsiteX637" fmla="*/ 11051117 w 11725275"/>
              <a:gd name="connsiteY637" fmla="*/ 981869 h 2405063"/>
              <a:gd name="connsiteX638" fmla="*/ 10950046 w 11725275"/>
              <a:gd name="connsiteY638" fmla="*/ 981075 h 2405063"/>
              <a:gd name="connsiteX639" fmla="*/ 10841567 w 11725275"/>
              <a:gd name="connsiteY639" fmla="*/ 978694 h 2405063"/>
              <a:gd name="connsiteX640" fmla="*/ 10729383 w 11725275"/>
              <a:gd name="connsiteY640" fmla="*/ 977107 h 2405063"/>
              <a:gd name="connsiteX641" fmla="*/ 10615083 w 11725275"/>
              <a:gd name="connsiteY641" fmla="*/ 975519 h 2405063"/>
              <a:gd name="connsiteX642" fmla="*/ 10501312 w 11725275"/>
              <a:gd name="connsiteY642" fmla="*/ 973138 h 2405063"/>
              <a:gd name="connsiteX643" fmla="*/ 10390717 w 11725275"/>
              <a:gd name="connsiteY643" fmla="*/ 971550 h 2405063"/>
              <a:gd name="connsiteX644" fmla="*/ 10286471 w 11725275"/>
              <a:gd name="connsiteY644" fmla="*/ 970757 h 2405063"/>
              <a:gd name="connsiteX645" fmla="*/ 10191221 w 11725275"/>
              <a:gd name="connsiteY645" fmla="*/ 970757 h 2405063"/>
              <a:gd name="connsiteX646" fmla="*/ 10106554 w 11725275"/>
              <a:gd name="connsiteY646" fmla="*/ 972344 h 2405063"/>
              <a:gd name="connsiteX647" fmla="*/ 10068983 w 11725275"/>
              <a:gd name="connsiteY647" fmla="*/ 973138 h 2405063"/>
              <a:gd name="connsiteX648" fmla="*/ 10036175 w 11725275"/>
              <a:gd name="connsiteY648" fmla="*/ 975519 h 2405063"/>
              <a:gd name="connsiteX649" fmla="*/ 10006012 w 11725275"/>
              <a:gd name="connsiteY649" fmla="*/ 977107 h 2405063"/>
              <a:gd name="connsiteX650" fmla="*/ 9981142 w 11725275"/>
              <a:gd name="connsiteY650" fmla="*/ 980282 h 2405063"/>
              <a:gd name="connsiteX651" fmla="*/ 9983258 w 11725275"/>
              <a:gd name="connsiteY651" fmla="*/ 987425 h 2405063"/>
              <a:gd name="connsiteX652" fmla="*/ 9986433 w 11725275"/>
              <a:gd name="connsiteY652" fmla="*/ 993775 h 2405063"/>
              <a:gd name="connsiteX653" fmla="*/ 9989079 w 11725275"/>
              <a:gd name="connsiteY653" fmla="*/ 1000125 h 2405063"/>
              <a:gd name="connsiteX654" fmla="*/ 9992254 w 11725275"/>
              <a:gd name="connsiteY654" fmla="*/ 1005682 h 2405063"/>
              <a:gd name="connsiteX655" fmla="*/ 9999662 w 11725275"/>
              <a:gd name="connsiteY655" fmla="*/ 1016794 h 2405063"/>
              <a:gd name="connsiteX656" fmla="*/ 10007600 w 11725275"/>
              <a:gd name="connsiteY656" fmla="*/ 1026319 h 2405063"/>
              <a:gd name="connsiteX657" fmla="*/ 10016067 w 11725275"/>
              <a:gd name="connsiteY657" fmla="*/ 1035050 h 2405063"/>
              <a:gd name="connsiteX658" fmla="*/ 10025062 w 11725275"/>
              <a:gd name="connsiteY658" fmla="*/ 1042194 h 2405063"/>
              <a:gd name="connsiteX659" fmla="*/ 10034588 w 11725275"/>
              <a:gd name="connsiteY659" fmla="*/ 1050132 h 2405063"/>
              <a:gd name="connsiteX660" fmla="*/ 10044112 w 11725275"/>
              <a:gd name="connsiteY660" fmla="*/ 1055688 h 2405063"/>
              <a:gd name="connsiteX661" fmla="*/ 10053108 w 11725275"/>
              <a:gd name="connsiteY661" fmla="*/ 1062038 h 2405063"/>
              <a:gd name="connsiteX662" fmla="*/ 10061046 w 11725275"/>
              <a:gd name="connsiteY662" fmla="*/ 1068388 h 2405063"/>
              <a:gd name="connsiteX663" fmla="*/ 10068983 w 11725275"/>
              <a:gd name="connsiteY663" fmla="*/ 1074738 h 2405063"/>
              <a:gd name="connsiteX664" fmla="*/ 10075862 w 11725275"/>
              <a:gd name="connsiteY664" fmla="*/ 1081088 h 2405063"/>
              <a:gd name="connsiteX665" fmla="*/ 10078508 w 11725275"/>
              <a:gd name="connsiteY665" fmla="*/ 1085057 h 2405063"/>
              <a:gd name="connsiteX666" fmla="*/ 10081683 w 11725275"/>
              <a:gd name="connsiteY666" fmla="*/ 1089025 h 2405063"/>
              <a:gd name="connsiteX667" fmla="*/ 10083800 w 11725275"/>
              <a:gd name="connsiteY667" fmla="*/ 1092994 h 2405063"/>
              <a:gd name="connsiteX668" fmla="*/ 10085388 w 11725275"/>
              <a:gd name="connsiteY668" fmla="*/ 1096963 h 2405063"/>
              <a:gd name="connsiteX669" fmla="*/ 10086446 w 11725275"/>
              <a:gd name="connsiteY669" fmla="*/ 1100932 h 2405063"/>
              <a:gd name="connsiteX670" fmla="*/ 10088033 w 11725275"/>
              <a:gd name="connsiteY670" fmla="*/ 1105694 h 2405063"/>
              <a:gd name="connsiteX671" fmla="*/ 10088033 w 11725275"/>
              <a:gd name="connsiteY671" fmla="*/ 1111250 h 2405063"/>
              <a:gd name="connsiteX672" fmla="*/ 10088033 w 11725275"/>
              <a:gd name="connsiteY672" fmla="*/ 1116013 h 2405063"/>
              <a:gd name="connsiteX673" fmla="*/ 10087504 w 11725275"/>
              <a:gd name="connsiteY673" fmla="*/ 1123157 h 2405063"/>
              <a:gd name="connsiteX674" fmla="*/ 10085388 w 11725275"/>
              <a:gd name="connsiteY674" fmla="*/ 1129507 h 2405063"/>
              <a:gd name="connsiteX675" fmla="*/ 10085388 w 11725275"/>
              <a:gd name="connsiteY675" fmla="*/ 1132682 h 2405063"/>
              <a:gd name="connsiteX676" fmla="*/ 10085388 w 11725275"/>
              <a:gd name="connsiteY676" fmla="*/ 1136650 h 2405063"/>
              <a:gd name="connsiteX677" fmla="*/ 10085917 w 11725275"/>
              <a:gd name="connsiteY677" fmla="*/ 1139825 h 2405063"/>
              <a:gd name="connsiteX678" fmla="*/ 10087504 w 11725275"/>
              <a:gd name="connsiteY678" fmla="*/ 1144588 h 2405063"/>
              <a:gd name="connsiteX679" fmla="*/ 10110788 w 11725275"/>
              <a:gd name="connsiteY679" fmla="*/ 1231107 h 2405063"/>
              <a:gd name="connsiteX680" fmla="*/ 10110258 w 11725275"/>
              <a:gd name="connsiteY680" fmla="*/ 1238250 h 2405063"/>
              <a:gd name="connsiteX681" fmla="*/ 10109200 w 11725275"/>
              <a:gd name="connsiteY681" fmla="*/ 1243807 h 2405063"/>
              <a:gd name="connsiteX682" fmla="*/ 10109200 w 11725275"/>
              <a:gd name="connsiteY682" fmla="*/ 1248569 h 2405063"/>
              <a:gd name="connsiteX683" fmla="*/ 10109200 w 11725275"/>
              <a:gd name="connsiteY683" fmla="*/ 1252538 h 2405063"/>
              <a:gd name="connsiteX684" fmla="*/ 10110258 w 11725275"/>
              <a:gd name="connsiteY684" fmla="*/ 1257300 h 2405063"/>
              <a:gd name="connsiteX685" fmla="*/ 10111846 w 11725275"/>
              <a:gd name="connsiteY685" fmla="*/ 1261269 h 2405063"/>
              <a:gd name="connsiteX686" fmla="*/ 10112904 w 11725275"/>
              <a:gd name="connsiteY686" fmla="*/ 1265238 h 2405063"/>
              <a:gd name="connsiteX687" fmla="*/ 10114492 w 11725275"/>
              <a:gd name="connsiteY687" fmla="*/ 1268413 h 2405063"/>
              <a:gd name="connsiteX688" fmla="*/ 10118725 w 11725275"/>
              <a:gd name="connsiteY688" fmla="*/ 1273969 h 2405063"/>
              <a:gd name="connsiteX689" fmla="*/ 10124017 w 11725275"/>
              <a:gd name="connsiteY689" fmla="*/ 1279525 h 2405063"/>
              <a:gd name="connsiteX690" fmla="*/ 10130896 w 11725275"/>
              <a:gd name="connsiteY690" fmla="*/ 1284288 h 2405063"/>
              <a:gd name="connsiteX691" fmla="*/ 10137246 w 11725275"/>
              <a:gd name="connsiteY691" fmla="*/ 1289050 h 2405063"/>
              <a:gd name="connsiteX692" fmla="*/ 10151004 w 11725275"/>
              <a:gd name="connsiteY692" fmla="*/ 1296988 h 2405063"/>
              <a:gd name="connsiteX693" fmla="*/ 10165821 w 11725275"/>
              <a:gd name="connsiteY693" fmla="*/ 1304925 h 2405063"/>
              <a:gd name="connsiteX694" fmla="*/ 10172171 w 11725275"/>
              <a:gd name="connsiteY694" fmla="*/ 1310482 h 2405063"/>
              <a:gd name="connsiteX695" fmla="*/ 10178521 w 11725275"/>
              <a:gd name="connsiteY695" fmla="*/ 1315244 h 2405063"/>
              <a:gd name="connsiteX696" fmla="*/ 10183283 w 11725275"/>
              <a:gd name="connsiteY696" fmla="*/ 1321594 h 2405063"/>
              <a:gd name="connsiteX697" fmla="*/ 10188046 w 11725275"/>
              <a:gd name="connsiteY697" fmla="*/ 1329532 h 2405063"/>
              <a:gd name="connsiteX698" fmla="*/ 10189104 w 11725275"/>
              <a:gd name="connsiteY698" fmla="*/ 1333500 h 2405063"/>
              <a:gd name="connsiteX699" fmla="*/ 10190162 w 11725275"/>
              <a:gd name="connsiteY699" fmla="*/ 1337469 h 2405063"/>
              <a:gd name="connsiteX700" fmla="*/ 10190162 w 11725275"/>
              <a:gd name="connsiteY700" fmla="*/ 1341438 h 2405063"/>
              <a:gd name="connsiteX701" fmla="*/ 10189104 w 11725275"/>
              <a:gd name="connsiteY701" fmla="*/ 1345407 h 2405063"/>
              <a:gd name="connsiteX702" fmla="*/ 10188046 w 11725275"/>
              <a:gd name="connsiteY702" fmla="*/ 1353344 h 2405063"/>
              <a:gd name="connsiteX703" fmla="*/ 10186458 w 11725275"/>
              <a:gd name="connsiteY703" fmla="*/ 1364457 h 2405063"/>
              <a:gd name="connsiteX704" fmla="*/ 10186458 w 11725275"/>
              <a:gd name="connsiteY704" fmla="*/ 1376363 h 2405063"/>
              <a:gd name="connsiteX705" fmla="*/ 10186458 w 11725275"/>
              <a:gd name="connsiteY705" fmla="*/ 1385888 h 2405063"/>
              <a:gd name="connsiteX706" fmla="*/ 10186458 w 11725275"/>
              <a:gd name="connsiteY706" fmla="*/ 1393825 h 2405063"/>
              <a:gd name="connsiteX707" fmla="*/ 10186988 w 11725275"/>
              <a:gd name="connsiteY707" fmla="*/ 1397794 h 2405063"/>
              <a:gd name="connsiteX708" fmla="*/ 10188046 w 11725275"/>
              <a:gd name="connsiteY708" fmla="*/ 1401763 h 2405063"/>
              <a:gd name="connsiteX709" fmla="*/ 10189104 w 11725275"/>
              <a:gd name="connsiteY709" fmla="*/ 1403350 h 2405063"/>
              <a:gd name="connsiteX710" fmla="*/ 10190692 w 11725275"/>
              <a:gd name="connsiteY710" fmla="*/ 1405732 h 2405063"/>
              <a:gd name="connsiteX711" fmla="*/ 10192808 w 11725275"/>
              <a:gd name="connsiteY711" fmla="*/ 1405732 h 2405063"/>
              <a:gd name="connsiteX712" fmla="*/ 10198100 w 11725275"/>
              <a:gd name="connsiteY712" fmla="*/ 1405732 h 2405063"/>
              <a:gd name="connsiteX713" fmla="*/ 10204450 w 11725275"/>
              <a:gd name="connsiteY713" fmla="*/ 1406525 h 2405063"/>
              <a:gd name="connsiteX714" fmla="*/ 10209212 w 11725275"/>
              <a:gd name="connsiteY714" fmla="*/ 1408113 h 2405063"/>
              <a:gd name="connsiteX715" fmla="*/ 10213446 w 11725275"/>
              <a:gd name="connsiteY715" fmla="*/ 1411288 h 2405063"/>
              <a:gd name="connsiteX716" fmla="*/ 10217679 w 11725275"/>
              <a:gd name="connsiteY716" fmla="*/ 1416050 h 2405063"/>
              <a:gd name="connsiteX717" fmla="*/ 10222971 w 11725275"/>
              <a:gd name="connsiteY717" fmla="*/ 1422400 h 2405063"/>
              <a:gd name="connsiteX718" fmla="*/ 10226146 w 11725275"/>
              <a:gd name="connsiteY718" fmla="*/ 1427163 h 2405063"/>
              <a:gd name="connsiteX719" fmla="*/ 10227204 w 11725275"/>
              <a:gd name="connsiteY719" fmla="*/ 1431132 h 2405063"/>
              <a:gd name="connsiteX720" fmla="*/ 10228792 w 11725275"/>
              <a:gd name="connsiteY720" fmla="*/ 1435100 h 2405063"/>
              <a:gd name="connsiteX721" fmla="*/ 10229321 w 11725275"/>
              <a:gd name="connsiteY721" fmla="*/ 1439069 h 2405063"/>
              <a:gd name="connsiteX722" fmla="*/ 10229321 w 11725275"/>
              <a:gd name="connsiteY722" fmla="*/ 1445419 h 2405063"/>
              <a:gd name="connsiteX723" fmla="*/ 10228262 w 11725275"/>
              <a:gd name="connsiteY723" fmla="*/ 1452563 h 2405063"/>
              <a:gd name="connsiteX724" fmla="*/ 10226675 w 11725275"/>
              <a:gd name="connsiteY724" fmla="*/ 1458913 h 2405063"/>
              <a:gd name="connsiteX725" fmla="*/ 10225088 w 11725275"/>
              <a:gd name="connsiteY725" fmla="*/ 1466057 h 2405063"/>
              <a:gd name="connsiteX726" fmla="*/ 10224558 w 11725275"/>
              <a:gd name="connsiteY726" fmla="*/ 1470025 h 2405063"/>
              <a:gd name="connsiteX727" fmla="*/ 10224558 w 11725275"/>
              <a:gd name="connsiteY727" fmla="*/ 1474788 h 2405063"/>
              <a:gd name="connsiteX728" fmla="*/ 10225088 w 11725275"/>
              <a:gd name="connsiteY728" fmla="*/ 1479550 h 2405063"/>
              <a:gd name="connsiteX729" fmla="*/ 10226146 w 11725275"/>
              <a:gd name="connsiteY729" fmla="*/ 1483519 h 2405063"/>
              <a:gd name="connsiteX730" fmla="*/ 10191221 w 11725275"/>
              <a:gd name="connsiteY730" fmla="*/ 1486694 h 2405063"/>
              <a:gd name="connsiteX731" fmla="*/ 10172171 w 11725275"/>
              <a:gd name="connsiteY731" fmla="*/ 1489075 h 2405063"/>
              <a:gd name="connsiteX732" fmla="*/ 10167408 w 11725275"/>
              <a:gd name="connsiteY732" fmla="*/ 1490663 h 2405063"/>
              <a:gd name="connsiteX733" fmla="*/ 10164233 w 11725275"/>
              <a:gd name="connsiteY733" fmla="*/ 1491457 h 2405063"/>
              <a:gd name="connsiteX734" fmla="*/ 10162117 w 11725275"/>
              <a:gd name="connsiteY734" fmla="*/ 1493044 h 2405063"/>
              <a:gd name="connsiteX735" fmla="*/ 10161588 w 11725275"/>
              <a:gd name="connsiteY735" fmla="*/ 1493838 h 2405063"/>
              <a:gd name="connsiteX736" fmla="*/ 10159471 w 11725275"/>
              <a:gd name="connsiteY736" fmla="*/ 1496219 h 2405063"/>
              <a:gd name="connsiteX737" fmla="*/ 10152592 w 11725275"/>
              <a:gd name="connsiteY737" fmla="*/ 1497807 h 2405063"/>
              <a:gd name="connsiteX738" fmla="*/ 10137246 w 11725275"/>
              <a:gd name="connsiteY738" fmla="*/ 1498600 h 2405063"/>
              <a:gd name="connsiteX739" fmla="*/ 10107083 w 11725275"/>
              <a:gd name="connsiteY739" fmla="*/ 1500982 h 2405063"/>
              <a:gd name="connsiteX740" fmla="*/ 10082742 w 11725275"/>
              <a:gd name="connsiteY740" fmla="*/ 1500982 h 2405063"/>
              <a:gd name="connsiteX741" fmla="*/ 10057871 w 11725275"/>
              <a:gd name="connsiteY741" fmla="*/ 1499394 h 2405063"/>
              <a:gd name="connsiteX742" fmla="*/ 10035117 w 11725275"/>
              <a:gd name="connsiteY742" fmla="*/ 1498600 h 2405063"/>
              <a:gd name="connsiteX743" fmla="*/ 10015008 w 11725275"/>
              <a:gd name="connsiteY743" fmla="*/ 1499394 h 2405063"/>
              <a:gd name="connsiteX744" fmla="*/ 10006012 w 11725275"/>
              <a:gd name="connsiteY744" fmla="*/ 1499394 h 2405063"/>
              <a:gd name="connsiteX745" fmla="*/ 9998075 w 11725275"/>
              <a:gd name="connsiteY745" fmla="*/ 1500982 h 2405063"/>
              <a:gd name="connsiteX746" fmla="*/ 9991196 w 11725275"/>
              <a:gd name="connsiteY746" fmla="*/ 1502569 h 2405063"/>
              <a:gd name="connsiteX747" fmla="*/ 9986433 w 11725275"/>
              <a:gd name="connsiteY747" fmla="*/ 1504157 h 2405063"/>
              <a:gd name="connsiteX748" fmla="*/ 9984317 w 11725275"/>
              <a:gd name="connsiteY748" fmla="*/ 1506538 h 2405063"/>
              <a:gd name="connsiteX749" fmla="*/ 9981671 w 11725275"/>
              <a:gd name="connsiteY749" fmla="*/ 1507332 h 2405063"/>
              <a:gd name="connsiteX750" fmla="*/ 9980612 w 11725275"/>
              <a:gd name="connsiteY750" fmla="*/ 1508919 h 2405063"/>
              <a:gd name="connsiteX751" fmla="*/ 9979554 w 11725275"/>
              <a:gd name="connsiteY751" fmla="*/ 1510507 h 2405063"/>
              <a:gd name="connsiteX752" fmla="*/ 9979025 w 11725275"/>
              <a:gd name="connsiteY752" fmla="*/ 1513682 h 2405063"/>
              <a:gd name="connsiteX753" fmla="*/ 9979025 w 11725275"/>
              <a:gd name="connsiteY753" fmla="*/ 1515269 h 2405063"/>
              <a:gd name="connsiteX754" fmla="*/ 9979554 w 11725275"/>
              <a:gd name="connsiteY754" fmla="*/ 1518444 h 2405063"/>
              <a:gd name="connsiteX755" fmla="*/ 9980612 w 11725275"/>
              <a:gd name="connsiteY755" fmla="*/ 1520826 h 2405063"/>
              <a:gd name="connsiteX756" fmla="*/ 9983258 w 11725275"/>
              <a:gd name="connsiteY756" fmla="*/ 1530351 h 2405063"/>
              <a:gd name="connsiteX757" fmla="*/ 9986962 w 11725275"/>
              <a:gd name="connsiteY757" fmla="*/ 1537494 h 2405063"/>
              <a:gd name="connsiteX758" fmla="*/ 9990667 w 11725275"/>
              <a:gd name="connsiteY758" fmla="*/ 1544638 h 2405063"/>
              <a:gd name="connsiteX759" fmla="*/ 9993842 w 11725275"/>
              <a:gd name="connsiteY759" fmla="*/ 1550194 h 2405063"/>
              <a:gd name="connsiteX760" fmla="*/ 9997017 w 11725275"/>
              <a:gd name="connsiteY760" fmla="*/ 1554957 h 2405063"/>
              <a:gd name="connsiteX761" fmla="*/ 10000721 w 11725275"/>
              <a:gd name="connsiteY761" fmla="*/ 1558926 h 2405063"/>
              <a:gd name="connsiteX762" fmla="*/ 10005483 w 11725275"/>
              <a:gd name="connsiteY762" fmla="*/ 1562894 h 2405063"/>
              <a:gd name="connsiteX763" fmla="*/ 10009717 w 11725275"/>
              <a:gd name="connsiteY763" fmla="*/ 1566863 h 2405063"/>
              <a:gd name="connsiteX764" fmla="*/ 10032471 w 11725275"/>
              <a:gd name="connsiteY764" fmla="*/ 1581944 h 2405063"/>
              <a:gd name="connsiteX765" fmla="*/ 10066867 w 11725275"/>
              <a:gd name="connsiteY765" fmla="*/ 1601788 h 2405063"/>
              <a:gd name="connsiteX766" fmla="*/ 10083800 w 11725275"/>
              <a:gd name="connsiteY766" fmla="*/ 1734344 h 2405063"/>
              <a:gd name="connsiteX767" fmla="*/ 10085917 w 11725275"/>
              <a:gd name="connsiteY767" fmla="*/ 1735138 h 2405063"/>
              <a:gd name="connsiteX768" fmla="*/ 10085917 w 11725275"/>
              <a:gd name="connsiteY768" fmla="*/ 1737519 h 2405063"/>
              <a:gd name="connsiteX769" fmla="*/ 10084329 w 11725275"/>
              <a:gd name="connsiteY769" fmla="*/ 1739107 h 2405063"/>
              <a:gd name="connsiteX770" fmla="*/ 10082212 w 11725275"/>
              <a:gd name="connsiteY770" fmla="*/ 1740694 h 2405063"/>
              <a:gd name="connsiteX771" fmla="*/ 10077979 w 11725275"/>
              <a:gd name="connsiteY771" fmla="*/ 1743869 h 2405063"/>
              <a:gd name="connsiteX772" fmla="*/ 10071100 w 11725275"/>
              <a:gd name="connsiteY772" fmla="*/ 1746251 h 2405063"/>
              <a:gd name="connsiteX773" fmla="*/ 10063162 w 11725275"/>
              <a:gd name="connsiteY773" fmla="*/ 1749426 h 2405063"/>
              <a:gd name="connsiteX774" fmla="*/ 10052050 w 11725275"/>
              <a:gd name="connsiteY774" fmla="*/ 1751807 h 2405063"/>
              <a:gd name="connsiteX775" fmla="*/ 10039879 w 11725275"/>
              <a:gd name="connsiteY775" fmla="*/ 1754982 h 2405063"/>
              <a:gd name="connsiteX776" fmla="*/ 10024533 w 11725275"/>
              <a:gd name="connsiteY776" fmla="*/ 1757363 h 2405063"/>
              <a:gd name="connsiteX777" fmla="*/ 10006012 w 11725275"/>
              <a:gd name="connsiteY777" fmla="*/ 1759744 h 2405063"/>
              <a:gd name="connsiteX778" fmla="*/ 9984846 w 11725275"/>
              <a:gd name="connsiteY778" fmla="*/ 1762126 h 2405063"/>
              <a:gd name="connsiteX779" fmla="*/ 9961562 w 11725275"/>
              <a:gd name="connsiteY779" fmla="*/ 1762919 h 2405063"/>
              <a:gd name="connsiteX780" fmla="*/ 9934046 w 11725275"/>
              <a:gd name="connsiteY780" fmla="*/ 1765301 h 2405063"/>
              <a:gd name="connsiteX781" fmla="*/ 9903354 w 11725275"/>
              <a:gd name="connsiteY781" fmla="*/ 1765301 h 2405063"/>
              <a:gd name="connsiteX782" fmla="*/ 9869488 w 11725275"/>
              <a:gd name="connsiteY782" fmla="*/ 1765301 h 2405063"/>
              <a:gd name="connsiteX783" fmla="*/ 9850438 w 11725275"/>
              <a:gd name="connsiteY783" fmla="*/ 1765301 h 2405063"/>
              <a:gd name="connsiteX784" fmla="*/ 9832975 w 11725275"/>
              <a:gd name="connsiteY784" fmla="*/ 1765301 h 2405063"/>
              <a:gd name="connsiteX785" fmla="*/ 9815512 w 11725275"/>
              <a:gd name="connsiteY785" fmla="*/ 1765301 h 2405063"/>
              <a:gd name="connsiteX786" fmla="*/ 9799638 w 11725275"/>
              <a:gd name="connsiteY786" fmla="*/ 1766094 h 2405063"/>
              <a:gd name="connsiteX787" fmla="*/ 9782704 w 11725275"/>
              <a:gd name="connsiteY787" fmla="*/ 1766094 h 2405063"/>
              <a:gd name="connsiteX788" fmla="*/ 9766300 w 11725275"/>
              <a:gd name="connsiteY788" fmla="*/ 1766888 h 2405063"/>
              <a:gd name="connsiteX789" fmla="*/ 9748838 w 11725275"/>
              <a:gd name="connsiteY789" fmla="*/ 1767682 h 2405063"/>
              <a:gd name="connsiteX790" fmla="*/ 9730317 w 11725275"/>
              <a:gd name="connsiteY790" fmla="*/ 1768476 h 2405063"/>
              <a:gd name="connsiteX791" fmla="*/ 9670521 w 11725275"/>
              <a:gd name="connsiteY791" fmla="*/ 1770857 h 2405063"/>
              <a:gd name="connsiteX792" fmla="*/ 9609667 w 11725275"/>
              <a:gd name="connsiteY792" fmla="*/ 1770857 h 2405063"/>
              <a:gd name="connsiteX793" fmla="*/ 9548283 w 11725275"/>
              <a:gd name="connsiteY793" fmla="*/ 1770857 h 2405063"/>
              <a:gd name="connsiteX794" fmla="*/ 9486371 w 11725275"/>
              <a:gd name="connsiteY794" fmla="*/ 1768476 h 2405063"/>
              <a:gd name="connsiteX795" fmla="*/ 9425517 w 11725275"/>
              <a:gd name="connsiteY795" fmla="*/ 1766888 h 2405063"/>
              <a:gd name="connsiteX796" fmla="*/ 9364662 w 11725275"/>
              <a:gd name="connsiteY796" fmla="*/ 1765301 h 2405063"/>
              <a:gd name="connsiteX797" fmla="*/ 9304867 w 11725275"/>
              <a:gd name="connsiteY797" fmla="*/ 1762919 h 2405063"/>
              <a:gd name="connsiteX798" fmla="*/ 9245600 w 11725275"/>
              <a:gd name="connsiteY798" fmla="*/ 1762126 h 2405063"/>
              <a:gd name="connsiteX799" fmla="*/ 9213321 w 11725275"/>
              <a:gd name="connsiteY799" fmla="*/ 1762126 h 2405063"/>
              <a:gd name="connsiteX800" fmla="*/ 9181571 w 11725275"/>
              <a:gd name="connsiteY800" fmla="*/ 1762919 h 2405063"/>
              <a:gd name="connsiteX801" fmla="*/ 9151408 w 11725275"/>
              <a:gd name="connsiteY801" fmla="*/ 1765301 h 2405063"/>
              <a:gd name="connsiteX802" fmla="*/ 9120717 w 11725275"/>
              <a:gd name="connsiteY802" fmla="*/ 1767682 h 2405063"/>
              <a:gd name="connsiteX803" fmla="*/ 9090025 w 11725275"/>
              <a:gd name="connsiteY803" fmla="*/ 1770857 h 2405063"/>
              <a:gd name="connsiteX804" fmla="*/ 9058275 w 11725275"/>
              <a:gd name="connsiteY804" fmla="*/ 1773238 h 2405063"/>
              <a:gd name="connsiteX805" fmla="*/ 9026525 w 11725275"/>
              <a:gd name="connsiteY805" fmla="*/ 1775619 h 2405063"/>
              <a:gd name="connsiteX806" fmla="*/ 8992658 w 11725275"/>
              <a:gd name="connsiteY806" fmla="*/ 1778001 h 2405063"/>
              <a:gd name="connsiteX807" fmla="*/ 9157229 w 11725275"/>
              <a:gd name="connsiteY807" fmla="*/ 1938338 h 2405063"/>
              <a:gd name="connsiteX808" fmla="*/ 9167812 w 11725275"/>
              <a:gd name="connsiteY808" fmla="*/ 1959769 h 2405063"/>
              <a:gd name="connsiteX809" fmla="*/ 9178925 w 11725275"/>
              <a:gd name="connsiteY809" fmla="*/ 1982788 h 2405063"/>
              <a:gd name="connsiteX810" fmla="*/ 9184746 w 11725275"/>
              <a:gd name="connsiteY810" fmla="*/ 1996282 h 2405063"/>
              <a:gd name="connsiteX811" fmla="*/ 9188979 w 11725275"/>
              <a:gd name="connsiteY811" fmla="*/ 2008982 h 2405063"/>
              <a:gd name="connsiteX812" fmla="*/ 9190567 w 11725275"/>
              <a:gd name="connsiteY812" fmla="*/ 2015332 h 2405063"/>
              <a:gd name="connsiteX813" fmla="*/ 9191625 w 11725275"/>
              <a:gd name="connsiteY813" fmla="*/ 2022476 h 2405063"/>
              <a:gd name="connsiteX814" fmla="*/ 9192683 w 11725275"/>
              <a:gd name="connsiteY814" fmla="*/ 2028032 h 2405063"/>
              <a:gd name="connsiteX815" fmla="*/ 9193212 w 11725275"/>
              <a:gd name="connsiteY815" fmla="*/ 2034382 h 2405063"/>
              <a:gd name="connsiteX816" fmla="*/ 9193212 w 11725275"/>
              <a:gd name="connsiteY816" fmla="*/ 2039938 h 2405063"/>
              <a:gd name="connsiteX817" fmla="*/ 9192683 w 11725275"/>
              <a:gd name="connsiteY817" fmla="*/ 2046288 h 2405063"/>
              <a:gd name="connsiteX818" fmla="*/ 9191096 w 11725275"/>
              <a:gd name="connsiteY818" fmla="*/ 2051844 h 2405063"/>
              <a:gd name="connsiteX819" fmla="*/ 9188979 w 11725275"/>
              <a:gd name="connsiteY819" fmla="*/ 2057401 h 2405063"/>
              <a:gd name="connsiteX820" fmla="*/ 9185804 w 11725275"/>
              <a:gd name="connsiteY820" fmla="*/ 2062957 h 2405063"/>
              <a:gd name="connsiteX821" fmla="*/ 9182100 w 11725275"/>
              <a:gd name="connsiteY821" fmla="*/ 2067719 h 2405063"/>
              <a:gd name="connsiteX822" fmla="*/ 9177867 w 11725275"/>
              <a:gd name="connsiteY822" fmla="*/ 2072482 h 2405063"/>
              <a:gd name="connsiteX823" fmla="*/ 9172575 w 11725275"/>
              <a:gd name="connsiteY823" fmla="*/ 2077244 h 2405063"/>
              <a:gd name="connsiteX824" fmla="*/ 9166225 w 11725275"/>
              <a:gd name="connsiteY824" fmla="*/ 2082007 h 2405063"/>
              <a:gd name="connsiteX825" fmla="*/ 9158817 w 11725275"/>
              <a:gd name="connsiteY825" fmla="*/ 2085182 h 2405063"/>
              <a:gd name="connsiteX826" fmla="*/ 9150350 w 11725275"/>
              <a:gd name="connsiteY826" fmla="*/ 2089151 h 2405063"/>
              <a:gd name="connsiteX827" fmla="*/ 9140825 w 11725275"/>
              <a:gd name="connsiteY827" fmla="*/ 2092326 h 2405063"/>
              <a:gd name="connsiteX828" fmla="*/ 9129712 w 11725275"/>
              <a:gd name="connsiteY828" fmla="*/ 2094707 h 2405063"/>
              <a:gd name="connsiteX829" fmla="*/ 9118071 w 11725275"/>
              <a:gd name="connsiteY829" fmla="*/ 2097088 h 2405063"/>
              <a:gd name="connsiteX830" fmla="*/ 9103783 w 11725275"/>
              <a:gd name="connsiteY830" fmla="*/ 2098676 h 2405063"/>
              <a:gd name="connsiteX831" fmla="*/ 9089496 w 11725275"/>
              <a:gd name="connsiteY831" fmla="*/ 2099469 h 2405063"/>
              <a:gd name="connsiteX832" fmla="*/ 9052454 w 11725275"/>
              <a:gd name="connsiteY832" fmla="*/ 2101057 h 2405063"/>
              <a:gd name="connsiteX833" fmla="*/ 9015412 w 11725275"/>
              <a:gd name="connsiteY833" fmla="*/ 2101057 h 2405063"/>
              <a:gd name="connsiteX834" fmla="*/ 8977842 w 11725275"/>
              <a:gd name="connsiteY834" fmla="*/ 2101057 h 2405063"/>
              <a:gd name="connsiteX835" fmla="*/ 8940271 w 11725275"/>
              <a:gd name="connsiteY835" fmla="*/ 2100263 h 2405063"/>
              <a:gd name="connsiteX836" fmla="*/ 8903229 w 11725275"/>
              <a:gd name="connsiteY836" fmla="*/ 2100263 h 2405063"/>
              <a:gd name="connsiteX837" fmla="*/ 8867246 w 11725275"/>
              <a:gd name="connsiteY837" fmla="*/ 2101057 h 2405063"/>
              <a:gd name="connsiteX838" fmla="*/ 8849783 w 11725275"/>
              <a:gd name="connsiteY838" fmla="*/ 2102644 h 2405063"/>
              <a:gd name="connsiteX839" fmla="*/ 8832321 w 11725275"/>
              <a:gd name="connsiteY839" fmla="*/ 2104232 h 2405063"/>
              <a:gd name="connsiteX840" fmla="*/ 8814329 w 11725275"/>
              <a:gd name="connsiteY840" fmla="*/ 2105026 h 2405063"/>
              <a:gd name="connsiteX841" fmla="*/ 8797396 w 11725275"/>
              <a:gd name="connsiteY841" fmla="*/ 2108201 h 2405063"/>
              <a:gd name="connsiteX842" fmla="*/ 8761942 w 11725275"/>
              <a:gd name="connsiteY842" fmla="*/ 2112963 h 2405063"/>
              <a:gd name="connsiteX843" fmla="*/ 8739717 w 11725275"/>
              <a:gd name="connsiteY843" fmla="*/ 2114551 h 2405063"/>
              <a:gd name="connsiteX844" fmla="*/ 8729662 w 11725275"/>
              <a:gd name="connsiteY844" fmla="*/ 2115344 h 2405063"/>
              <a:gd name="connsiteX845" fmla="*/ 8726488 w 11725275"/>
              <a:gd name="connsiteY845" fmla="*/ 2115344 h 2405063"/>
              <a:gd name="connsiteX846" fmla="*/ 8728604 w 11725275"/>
              <a:gd name="connsiteY846" fmla="*/ 2116138 h 2405063"/>
              <a:gd name="connsiteX847" fmla="*/ 8730721 w 11725275"/>
              <a:gd name="connsiteY847" fmla="*/ 2119313 h 2405063"/>
              <a:gd name="connsiteX848" fmla="*/ 8731779 w 11725275"/>
              <a:gd name="connsiteY848" fmla="*/ 2121694 h 2405063"/>
              <a:gd name="connsiteX849" fmla="*/ 8730721 w 11725275"/>
              <a:gd name="connsiteY849" fmla="*/ 2124869 h 2405063"/>
              <a:gd name="connsiteX850" fmla="*/ 8729662 w 11725275"/>
              <a:gd name="connsiteY850" fmla="*/ 2129632 h 2405063"/>
              <a:gd name="connsiteX851" fmla="*/ 8725958 w 11725275"/>
              <a:gd name="connsiteY851" fmla="*/ 2134394 h 2405063"/>
              <a:gd name="connsiteX852" fmla="*/ 8722254 w 11725275"/>
              <a:gd name="connsiteY852" fmla="*/ 2139951 h 2405063"/>
              <a:gd name="connsiteX853" fmla="*/ 8719079 w 11725275"/>
              <a:gd name="connsiteY853" fmla="*/ 2143126 h 2405063"/>
              <a:gd name="connsiteX854" fmla="*/ 8717492 w 11725275"/>
              <a:gd name="connsiteY854" fmla="*/ 2147094 h 2405063"/>
              <a:gd name="connsiteX855" fmla="*/ 8716433 w 11725275"/>
              <a:gd name="connsiteY855" fmla="*/ 2148682 h 2405063"/>
              <a:gd name="connsiteX856" fmla="*/ 8716433 w 11725275"/>
              <a:gd name="connsiteY856" fmla="*/ 2151857 h 2405063"/>
              <a:gd name="connsiteX857" fmla="*/ 8717492 w 11725275"/>
              <a:gd name="connsiteY857" fmla="*/ 2153444 h 2405063"/>
              <a:gd name="connsiteX858" fmla="*/ 8719079 w 11725275"/>
              <a:gd name="connsiteY858" fmla="*/ 2155032 h 2405063"/>
              <a:gd name="connsiteX859" fmla="*/ 8721196 w 11725275"/>
              <a:gd name="connsiteY859" fmla="*/ 2157413 h 2405063"/>
              <a:gd name="connsiteX860" fmla="*/ 8729662 w 11725275"/>
              <a:gd name="connsiteY860" fmla="*/ 2159794 h 2405063"/>
              <a:gd name="connsiteX861" fmla="*/ 8739717 w 11725275"/>
              <a:gd name="connsiteY861" fmla="*/ 2164557 h 2405063"/>
              <a:gd name="connsiteX862" fmla="*/ 8753475 w 11725275"/>
              <a:gd name="connsiteY862" fmla="*/ 2172494 h 2405063"/>
              <a:gd name="connsiteX863" fmla="*/ 8769879 w 11725275"/>
              <a:gd name="connsiteY863" fmla="*/ 2182813 h 2405063"/>
              <a:gd name="connsiteX864" fmla="*/ 8781521 w 11725275"/>
              <a:gd name="connsiteY864" fmla="*/ 2190751 h 2405063"/>
              <a:gd name="connsiteX865" fmla="*/ 8792633 w 11725275"/>
              <a:gd name="connsiteY865" fmla="*/ 2201069 h 2405063"/>
              <a:gd name="connsiteX866" fmla="*/ 8803746 w 11725275"/>
              <a:gd name="connsiteY866" fmla="*/ 2212976 h 2405063"/>
              <a:gd name="connsiteX867" fmla="*/ 8813271 w 11725275"/>
              <a:gd name="connsiteY867" fmla="*/ 2227263 h 2405063"/>
              <a:gd name="connsiteX868" fmla="*/ 8817504 w 11725275"/>
              <a:gd name="connsiteY868" fmla="*/ 2233613 h 2405063"/>
              <a:gd name="connsiteX869" fmla="*/ 8821738 w 11725275"/>
              <a:gd name="connsiteY869" fmla="*/ 2240757 h 2405063"/>
              <a:gd name="connsiteX870" fmla="*/ 8825442 w 11725275"/>
              <a:gd name="connsiteY870" fmla="*/ 2248694 h 2405063"/>
              <a:gd name="connsiteX871" fmla="*/ 8828617 w 11725275"/>
              <a:gd name="connsiteY871" fmla="*/ 2255838 h 2405063"/>
              <a:gd name="connsiteX872" fmla="*/ 8831262 w 11725275"/>
              <a:gd name="connsiteY872" fmla="*/ 2263776 h 2405063"/>
              <a:gd name="connsiteX873" fmla="*/ 8833379 w 11725275"/>
              <a:gd name="connsiteY873" fmla="*/ 2270919 h 2405063"/>
              <a:gd name="connsiteX874" fmla="*/ 8834438 w 11725275"/>
              <a:gd name="connsiteY874" fmla="*/ 2278063 h 2405063"/>
              <a:gd name="connsiteX875" fmla="*/ 8835496 w 11725275"/>
              <a:gd name="connsiteY875" fmla="*/ 2285207 h 2405063"/>
              <a:gd name="connsiteX876" fmla="*/ 8835496 w 11725275"/>
              <a:gd name="connsiteY876" fmla="*/ 2292351 h 2405063"/>
              <a:gd name="connsiteX877" fmla="*/ 8834967 w 11725275"/>
              <a:gd name="connsiteY877" fmla="*/ 2299494 h 2405063"/>
              <a:gd name="connsiteX878" fmla="*/ 8833379 w 11725275"/>
              <a:gd name="connsiteY878" fmla="*/ 2306638 h 2405063"/>
              <a:gd name="connsiteX879" fmla="*/ 8831262 w 11725275"/>
              <a:gd name="connsiteY879" fmla="*/ 2312988 h 2405063"/>
              <a:gd name="connsiteX880" fmla="*/ 8827558 w 11725275"/>
              <a:gd name="connsiteY880" fmla="*/ 2319338 h 2405063"/>
              <a:gd name="connsiteX881" fmla="*/ 8823854 w 11725275"/>
              <a:gd name="connsiteY881" fmla="*/ 2324894 h 2405063"/>
              <a:gd name="connsiteX882" fmla="*/ 8819092 w 11725275"/>
              <a:gd name="connsiteY882" fmla="*/ 2330451 h 2405063"/>
              <a:gd name="connsiteX883" fmla="*/ 8812212 w 11725275"/>
              <a:gd name="connsiteY883" fmla="*/ 2336007 h 2405063"/>
              <a:gd name="connsiteX884" fmla="*/ 8805862 w 11725275"/>
              <a:gd name="connsiteY884" fmla="*/ 2340769 h 2405063"/>
              <a:gd name="connsiteX885" fmla="*/ 8796867 w 11725275"/>
              <a:gd name="connsiteY885" fmla="*/ 2345532 h 2405063"/>
              <a:gd name="connsiteX886" fmla="*/ 8787342 w 11725275"/>
              <a:gd name="connsiteY886" fmla="*/ 2349501 h 2405063"/>
              <a:gd name="connsiteX887" fmla="*/ 8777288 w 11725275"/>
              <a:gd name="connsiteY887" fmla="*/ 2352676 h 2405063"/>
              <a:gd name="connsiteX888" fmla="*/ 8764588 w 11725275"/>
              <a:gd name="connsiteY888" fmla="*/ 2355057 h 2405063"/>
              <a:gd name="connsiteX889" fmla="*/ 8751358 w 11725275"/>
              <a:gd name="connsiteY889" fmla="*/ 2357438 h 2405063"/>
              <a:gd name="connsiteX890" fmla="*/ 8737600 w 11725275"/>
              <a:gd name="connsiteY890" fmla="*/ 2358232 h 2405063"/>
              <a:gd name="connsiteX891" fmla="*/ 8721196 w 11725275"/>
              <a:gd name="connsiteY891" fmla="*/ 2359026 h 2405063"/>
              <a:gd name="connsiteX892" fmla="*/ 8032750 w 11725275"/>
              <a:gd name="connsiteY892" fmla="*/ 2360613 h 2405063"/>
              <a:gd name="connsiteX893" fmla="*/ 7984067 w 11725275"/>
              <a:gd name="connsiteY893" fmla="*/ 2360613 h 2405063"/>
              <a:gd name="connsiteX894" fmla="*/ 7943321 w 11725275"/>
              <a:gd name="connsiteY894" fmla="*/ 2360613 h 2405063"/>
              <a:gd name="connsiteX895" fmla="*/ 7906279 w 11725275"/>
              <a:gd name="connsiteY895" fmla="*/ 2359026 h 2405063"/>
              <a:gd name="connsiteX896" fmla="*/ 7874000 w 11725275"/>
              <a:gd name="connsiteY896" fmla="*/ 2359026 h 2405063"/>
              <a:gd name="connsiteX897" fmla="*/ 7842779 w 11725275"/>
              <a:gd name="connsiteY897" fmla="*/ 2359026 h 2405063"/>
              <a:gd name="connsiteX898" fmla="*/ 7811029 w 11725275"/>
              <a:gd name="connsiteY898" fmla="*/ 2359026 h 2405063"/>
              <a:gd name="connsiteX899" fmla="*/ 7776634 w 11725275"/>
              <a:gd name="connsiteY899" fmla="*/ 2360613 h 2405063"/>
              <a:gd name="connsiteX900" fmla="*/ 7738534 w 11725275"/>
              <a:gd name="connsiteY900" fmla="*/ 2361407 h 2405063"/>
              <a:gd name="connsiteX901" fmla="*/ 7722659 w 11725275"/>
              <a:gd name="connsiteY901" fmla="*/ 2362201 h 2405063"/>
              <a:gd name="connsiteX902" fmla="*/ 7708900 w 11725275"/>
              <a:gd name="connsiteY902" fmla="*/ 2362201 h 2405063"/>
              <a:gd name="connsiteX903" fmla="*/ 7696200 w 11725275"/>
              <a:gd name="connsiteY903" fmla="*/ 2362201 h 2405063"/>
              <a:gd name="connsiteX904" fmla="*/ 7684559 w 11725275"/>
              <a:gd name="connsiteY904" fmla="*/ 2362201 h 2405063"/>
              <a:gd name="connsiteX905" fmla="*/ 7671859 w 11725275"/>
              <a:gd name="connsiteY905" fmla="*/ 2362201 h 2405063"/>
              <a:gd name="connsiteX906" fmla="*/ 7658100 w 11725275"/>
              <a:gd name="connsiteY906" fmla="*/ 2362201 h 2405063"/>
              <a:gd name="connsiteX907" fmla="*/ 7641696 w 11725275"/>
              <a:gd name="connsiteY907" fmla="*/ 2362201 h 2405063"/>
              <a:gd name="connsiteX908" fmla="*/ 7622646 w 11725275"/>
              <a:gd name="connsiteY908" fmla="*/ 2362201 h 2405063"/>
              <a:gd name="connsiteX909" fmla="*/ 7208309 w 11725275"/>
              <a:gd name="connsiteY909" fmla="*/ 2368551 h 2405063"/>
              <a:gd name="connsiteX910" fmla="*/ 7172325 w 11725275"/>
              <a:gd name="connsiteY910" fmla="*/ 2371726 h 2405063"/>
              <a:gd name="connsiteX911" fmla="*/ 7133167 w 11725275"/>
              <a:gd name="connsiteY911" fmla="*/ 2374107 h 2405063"/>
              <a:gd name="connsiteX912" fmla="*/ 7091363 w 11725275"/>
              <a:gd name="connsiteY912" fmla="*/ 2376488 h 2405063"/>
              <a:gd name="connsiteX913" fmla="*/ 7047442 w 11725275"/>
              <a:gd name="connsiteY913" fmla="*/ 2378076 h 2405063"/>
              <a:gd name="connsiteX914" fmla="*/ 7001934 w 11725275"/>
              <a:gd name="connsiteY914" fmla="*/ 2379663 h 2405063"/>
              <a:gd name="connsiteX915" fmla="*/ 6955367 w 11725275"/>
              <a:gd name="connsiteY915" fmla="*/ 2382044 h 2405063"/>
              <a:gd name="connsiteX916" fmla="*/ 6907742 w 11725275"/>
              <a:gd name="connsiteY916" fmla="*/ 2382838 h 2405063"/>
              <a:gd name="connsiteX917" fmla="*/ 6858529 w 11725275"/>
              <a:gd name="connsiteY917" fmla="*/ 2383632 h 2405063"/>
              <a:gd name="connsiteX918" fmla="*/ 6809317 w 11725275"/>
              <a:gd name="connsiteY918" fmla="*/ 2384426 h 2405063"/>
              <a:gd name="connsiteX919" fmla="*/ 6761163 w 11725275"/>
              <a:gd name="connsiteY919" fmla="*/ 2385219 h 2405063"/>
              <a:gd name="connsiteX920" fmla="*/ 6712479 w 11725275"/>
              <a:gd name="connsiteY920" fmla="*/ 2385219 h 2405063"/>
              <a:gd name="connsiteX921" fmla="*/ 6664854 w 11725275"/>
              <a:gd name="connsiteY921" fmla="*/ 2386807 h 2405063"/>
              <a:gd name="connsiteX922" fmla="*/ 6619875 w 11725275"/>
              <a:gd name="connsiteY922" fmla="*/ 2387601 h 2405063"/>
              <a:gd name="connsiteX923" fmla="*/ 6574896 w 11725275"/>
              <a:gd name="connsiteY923" fmla="*/ 2388394 h 2405063"/>
              <a:gd name="connsiteX924" fmla="*/ 6532563 w 11725275"/>
              <a:gd name="connsiteY924" fmla="*/ 2389188 h 2405063"/>
              <a:gd name="connsiteX925" fmla="*/ 6492875 w 11725275"/>
              <a:gd name="connsiteY925" fmla="*/ 2389982 h 2405063"/>
              <a:gd name="connsiteX926" fmla="*/ 6165321 w 11725275"/>
              <a:gd name="connsiteY926" fmla="*/ 2393951 h 2405063"/>
              <a:gd name="connsiteX927" fmla="*/ 6108700 w 11725275"/>
              <a:gd name="connsiteY927" fmla="*/ 2395538 h 2405063"/>
              <a:gd name="connsiteX928" fmla="*/ 6051021 w 11725275"/>
              <a:gd name="connsiteY928" fmla="*/ 2397919 h 2405063"/>
              <a:gd name="connsiteX929" fmla="*/ 5991754 w 11725275"/>
              <a:gd name="connsiteY929" fmla="*/ 2399507 h 2405063"/>
              <a:gd name="connsiteX930" fmla="*/ 5931429 w 11725275"/>
              <a:gd name="connsiteY930" fmla="*/ 2400301 h 2405063"/>
              <a:gd name="connsiteX931" fmla="*/ 5872692 w 11725275"/>
              <a:gd name="connsiteY931" fmla="*/ 2401094 h 2405063"/>
              <a:gd name="connsiteX932" fmla="*/ 5815013 w 11725275"/>
              <a:gd name="connsiteY932" fmla="*/ 2401094 h 2405063"/>
              <a:gd name="connsiteX933" fmla="*/ 5759450 w 11725275"/>
              <a:gd name="connsiteY933" fmla="*/ 2400301 h 2405063"/>
              <a:gd name="connsiteX934" fmla="*/ 5706534 w 11725275"/>
              <a:gd name="connsiteY934" fmla="*/ 2398713 h 2405063"/>
              <a:gd name="connsiteX935" fmla="*/ 5680076 w 11725275"/>
              <a:gd name="connsiteY935" fmla="*/ 2396332 h 2405063"/>
              <a:gd name="connsiteX936" fmla="*/ 5655734 w 11725275"/>
              <a:gd name="connsiteY936" fmla="*/ 2396332 h 2405063"/>
              <a:gd name="connsiteX937" fmla="*/ 5632451 w 11725275"/>
              <a:gd name="connsiteY937" fmla="*/ 2396332 h 2405063"/>
              <a:gd name="connsiteX938" fmla="*/ 5609696 w 11725275"/>
              <a:gd name="connsiteY938" fmla="*/ 2396332 h 2405063"/>
              <a:gd name="connsiteX939" fmla="*/ 5566834 w 11725275"/>
              <a:gd name="connsiteY939" fmla="*/ 2398713 h 2405063"/>
              <a:gd name="connsiteX940" fmla="*/ 5523442 w 11725275"/>
              <a:gd name="connsiteY940" fmla="*/ 2401094 h 2405063"/>
              <a:gd name="connsiteX941" fmla="*/ 5478463 w 11725275"/>
              <a:gd name="connsiteY941" fmla="*/ 2403476 h 2405063"/>
              <a:gd name="connsiteX942" fmla="*/ 5430838 w 11725275"/>
              <a:gd name="connsiteY942" fmla="*/ 2405063 h 2405063"/>
              <a:gd name="connsiteX943" fmla="*/ 5405438 w 11725275"/>
              <a:gd name="connsiteY943" fmla="*/ 2405063 h 2405063"/>
              <a:gd name="connsiteX944" fmla="*/ 5377392 w 11725275"/>
              <a:gd name="connsiteY944" fmla="*/ 2405063 h 2405063"/>
              <a:gd name="connsiteX945" fmla="*/ 5348817 w 11725275"/>
              <a:gd name="connsiteY945" fmla="*/ 2404269 h 2405063"/>
              <a:gd name="connsiteX946" fmla="*/ 5317596 w 11725275"/>
              <a:gd name="connsiteY946" fmla="*/ 2401888 h 2405063"/>
              <a:gd name="connsiteX947" fmla="*/ 5299604 w 11725275"/>
              <a:gd name="connsiteY947" fmla="*/ 2400301 h 2405063"/>
              <a:gd name="connsiteX948" fmla="*/ 5284259 w 11725275"/>
              <a:gd name="connsiteY948" fmla="*/ 2397919 h 2405063"/>
              <a:gd name="connsiteX949" fmla="*/ 5271029 w 11725275"/>
              <a:gd name="connsiteY949" fmla="*/ 2394744 h 2405063"/>
              <a:gd name="connsiteX950" fmla="*/ 5258859 w 11725275"/>
              <a:gd name="connsiteY950" fmla="*/ 2392363 h 2405063"/>
              <a:gd name="connsiteX951" fmla="*/ 5247217 w 11725275"/>
              <a:gd name="connsiteY951" fmla="*/ 2388394 h 2405063"/>
              <a:gd name="connsiteX952" fmla="*/ 5234517 w 11725275"/>
              <a:gd name="connsiteY952" fmla="*/ 2385219 h 2405063"/>
              <a:gd name="connsiteX953" fmla="*/ 5220759 w 11725275"/>
              <a:gd name="connsiteY953" fmla="*/ 2382838 h 2405063"/>
              <a:gd name="connsiteX954" fmla="*/ 5205413 w 11725275"/>
              <a:gd name="connsiteY954" fmla="*/ 2380457 h 2405063"/>
              <a:gd name="connsiteX955" fmla="*/ 5188479 w 11725275"/>
              <a:gd name="connsiteY955" fmla="*/ 2379663 h 2405063"/>
              <a:gd name="connsiteX956" fmla="*/ 5161492 w 11725275"/>
              <a:gd name="connsiteY956" fmla="*/ 2380457 h 2405063"/>
              <a:gd name="connsiteX957" fmla="*/ 5126038 w 11725275"/>
              <a:gd name="connsiteY957" fmla="*/ 2382838 h 2405063"/>
              <a:gd name="connsiteX958" fmla="*/ 5085821 w 11725275"/>
              <a:gd name="connsiteY958" fmla="*/ 2384426 h 2405063"/>
              <a:gd name="connsiteX959" fmla="*/ 5041900 w 11725275"/>
              <a:gd name="connsiteY959" fmla="*/ 2385219 h 2405063"/>
              <a:gd name="connsiteX960" fmla="*/ 4998509 w 11725275"/>
              <a:gd name="connsiteY960" fmla="*/ 2387601 h 2405063"/>
              <a:gd name="connsiteX961" fmla="*/ 4957763 w 11725275"/>
              <a:gd name="connsiteY961" fmla="*/ 2387601 h 2405063"/>
              <a:gd name="connsiteX962" fmla="*/ 4922309 w 11725275"/>
              <a:gd name="connsiteY962" fmla="*/ 2386807 h 2405063"/>
              <a:gd name="connsiteX963" fmla="*/ 4887384 w 11725275"/>
              <a:gd name="connsiteY963" fmla="*/ 2385219 h 2405063"/>
              <a:gd name="connsiteX964" fmla="*/ 4855104 w 11725275"/>
              <a:gd name="connsiteY964" fmla="*/ 2384426 h 2405063"/>
              <a:gd name="connsiteX965" fmla="*/ 4824942 w 11725275"/>
              <a:gd name="connsiteY965" fmla="*/ 2384426 h 2405063"/>
              <a:gd name="connsiteX966" fmla="*/ 4797954 w 11725275"/>
              <a:gd name="connsiteY966" fmla="*/ 2384426 h 2405063"/>
              <a:gd name="connsiteX967" fmla="*/ 4772025 w 11725275"/>
              <a:gd name="connsiteY967" fmla="*/ 2385219 h 2405063"/>
              <a:gd name="connsiteX968" fmla="*/ 4748742 w 11725275"/>
              <a:gd name="connsiteY968" fmla="*/ 2385219 h 2405063"/>
              <a:gd name="connsiteX969" fmla="*/ 4725459 w 11725275"/>
              <a:gd name="connsiteY969" fmla="*/ 2385219 h 2405063"/>
              <a:gd name="connsiteX970" fmla="*/ 4702704 w 11725275"/>
              <a:gd name="connsiteY970" fmla="*/ 2385219 h 2405063"/>
              <a:gd name="connsiteX971" fmla="*/ 4655079 w 11725275"/>
              <a:gd name="connsiteY971" fmla="*/ 2383632 h 2405063"/>
              <a:gd name="connsiteX972" fmla="*/ 4616979 w 11725275"/>
              <a:gd name="connsiteY972" fmla="*/ 2382044 h 2405063"/>
              <a:gd name="connsiteX973" fmla="*/ 4585229 w 11725275"/>
              <a:gd name="connsiteY973" fmla="*/ 2378869 h 2405063"/>
              <a:gd name="connsiteX974" fmla="*/ 4558242 w 11725275"/>
              <a:gd name="connsiteY974" fmla="*/ 2374901 h 2405063"/>
              <a:gd name="connsiteX975" fmla="*/ 4533371 w 11725275"/>
              <a:gd name="connsiteY975" fmla="*/ 2372519 h 2405063"/>
              <a:gd name="connsiteX976" fmla="*/ 4506384 w 11725275"/>
              <a:gd name="connsiteY976" fmla="*/ 2370932 h 2405063"/>
              <a:gd name="connsiteX977" fmla="*/ 4474634 w 11725275"/>
              <a:gd name="connsiteY977" fmla="*/ 2368551 h 2405063"/>
              <a:gd name="connsiteX978" fmla="*/ 4436534 w 11725275"/>
              <a:gd name="connsiteY978" fmla="*/ 2367757 h 2405063"/>
              <a:gd name="connsiteX979" fmla="*/ 4442884 w 11725275"/>
              <a:gd name="connsiteY979" fmla="*/ 2356644 h 2405063"/>
              <a:gd name="connsiteX980" fmla="*/ 4446588 w 11725275"/>
              <a:gd name="connsiteY980" fmla="*/ 2351088 h 2405063"/>
              <a:gd name="connsiteX981" fmla="*/ 4449234 w 11725275"/>
              <a:gd name="connsiteY981" fmla="*/ 2347913 h 2405063"/>
              <a:gd name="connsiteX982" fmla="*/ 4451879 w 11725275"/>
              <a:gd name="connsiteY982" fmla="*/ 2347913 h 2405063"/>
              <a:gd name="connsiteX983" fmla="*/ 4455584 w 11725275"/>
              <a:gd name="connsiteY983" fmla="*/ 2347913 h 2405063"/>
              <a:gd name="connsiteX984" fmla="*/ 4462992 w 11725275"/>
              <a:gd name="connsiteY984" fmla="*/ 2346326 h 2405063"/>
              <a:gd name="connsiteX985" fmla="*/ 4475163 w 11725275"/>
              <a:gd name="connsiteY985" fmla="*/ 2339976 h 2405063"/>
              <a:gd name="connsiteX986" fmla="*/ 4495271 w 11725275"/>
              <a:gd name="connsiteY986" fmla="*/ 2328863 h 2405063"/>
              <a:gd name="connsiteX987" fmla="*/ 4441826 w 11725275"/>
              <a:gd name="connsiteY987" fmla="*/ 2328863 h 2405063"/>
              <a:gd name="connsiteX988" fmla="*/ 4382559 w 11725275"/>
              <a:gd name="connsiteY988" fmla="*/ 2329657 h 2405063"/>
              <a:gd name="connsiteX989" fmla="*/ 4316942 w 11725275"/>
              <a:gd name="connsiteY989" fmla="*/ 2329657 h 2405063"/>
              <a:gd name="connsiteX990" fmla="*/ 4249209 w 11725275"/>
              <a:gd name="connsiteY990" fmla="*/ 2330451 h 2405063"/>
              <a:gd name="connsiteX991" fmla="*/ 4177242 w 11725275"/>
              <a:gd name="connsiteY991" fmla="*/ 2329657 h 2405063"/>
              <a:gd name="connsiteX992" fmla="*/ 4103688 w 11725275"/>
              <a:gd name="connsiteY992" fmla="*/ 2329657 h 2405063"/>
              <a:gd name="connsiteX993" fmla="*/ 4029075 w 11725275"/>
              <a:gd name="connsiteY993" fmla="*/ 2328863 h 2405063"/>
              <a:gd name="connsiteX994" fmla="*/ 3956050 w 11725275"/>
              <a:gd name="connsiteY994" fmla="*/ 2325688 h 2405063"/>
              <a:gd name="connsiteX995" fmla="*/ 3883026 w 11725275"/>
              <a:gd name="connsiteY995" fmla="*/ 2323307 h 2405063"/>
              <a:gd name="connsiteX996" fmla="*/ 3813705 w 11725275"/>
              <a:gd name="connsiteY996" fmla="*/ 2319338 h 2405063"/>
              <a:gd name="connsiteX997" fmla="*/ 3747559 w 11725275"/>
              <a:gd name="connsiteY997" fmla="*/ 2313782 h 2405063"/>
              <a:gd name="connsiteX998" fmla="*/ 3686175 w 11725275"/>
              <a:gd name="connsiteY998" fmla="*/ 2307432 h 2405063"/>
              <a:gd name="connsiteX999" fmla="*/ 3657600 w 11725275"/>
              <a:gd name="connsiteY999" fmla="*/ 2302669 h 2405063"/>
              <a:gd name="connsiteX1000" fmla="*/ 3631142 w 11725275"/>
              <a:gd name="connsiteY1000" fmla="*/ 2298701 h 2405063"/>
              <a:gd name="connsiteX1001" fmla="*/ 3606271 w 11725275"/>
              <a:gd name="connsiteY1001" fmla="*/ 2293938 h 2405063"/>
              <a:gd name="connsiteX1002" fmla="*/ 3582988 w 11725275"/>
              <a:gd name="connsiteY1002" fmla="*/ 2288382 h 2405063"/>
              <a:gd name="connsiteX1003" fmla="*/ 3561292 w 11725275"/>
              <a:gd name="connsiteY1003" fmla="*/ 2282826 h 2405063"/>
              <a:gd name="connsiteX1004" fmla="*/ 3543300 w 11725275"/>
              <a:gd name="connsiteY1004" fmla="*/ 2276476 h 2405063"/>
              <a:gd name="connsiteX1005" fmla="*/ 3526367 w 11725275"/>
              <a:gd name="connsiteY1005" fmla="*/ 2270126 h 2405063"/>
              <a:gd name="connsiteX1006" fmla="*/ 3512608 w 11725275"/>
              <a:gd name="connsiteY1006" fmla="*/ 2262188 h 2405063"/>
              <a:gd name="connsiteX1007" fmla="*/ 3495675 w 11725275"/>
              <a:gd name="connsiteY1007" fmla="*/ 2253457 h 2405063"/>
              <a:gd name="connsiteX1008" fmla="*/ 3480330 w 11725275"/>
              <a:gd name="connsiteY1008" fmla="*/ 2243138 h 2405063"/>
              <a:gd name="connsiteX1009" fmla="*/ 3466042 w 11725275"/>
              <a:gd name="connsiteY1009" fmla="*/ 2233613 h 2405063"/>
              <a:gd name="connsiteX1010" fmla="*/ 3453871 w 11725275"/>
              <a:gd name="connsiteY1010" fmla="*/ 2224088 h 2405063"/>
              <a:gd name="connsiteX1011" fmla="*/ 3442230 w 11725275"/>
              <a:gd name="connsiteY1011" fmla="*/ 2215357 h 2405063"/>
              <a:gd name="connsiteX1012" fmla="*/ 3431646 w 11725275"/>
              <a:gd name="connsiteY1012" fmla="*/ 2205832 h 2405063"/>
              <a:gd name="connsiteX1013" fmla="*/ 3422121 w 11725275"/>
              <a:gd name="connsiteY1013" fmla="*/ 2196307 h 2405063"/>
              <a:gd name="connsiteX1014" fmla="*/ 3413654 w 11725275"/>
              <a:gd name="connsiteY1014" fmla="*/ 2186782 h 2405063"/>
              <a:gd name="connsiteX1015" fmla="*/ 3406246 w 11725275"/>
              <a:gd name="connsiteY1015" fmla="*/ 2178844 h 2405063"/>
              <a:gd name="connsiteX1016" fmla="*/ 3398838 w 11725275"/>
              <a:gd name="connsiteY1016" fmla="*/ 2170113 h 2405063"/>
              <a:gd name="connsiteX1017" fmla="*/ 3393017 w 11725275"/>
              <a:gd name="connsiteY1017" fmla="*/ 2161382 h 2405063"/>
              <a:gd name="connsiteX1018" fmla="*/ 3387725 w 11725275"/>
              <a:gd name="connsiteY1018" fmla="*/ 2152651 h 2405063"/>
              <a:gd name="connsiteX1019" fmla="*/ 3383492 w 11725275"/>
              <a:gd name="connsiteY1019" fmla="*/ 2143919 h 2405063"/>
              <a:gd name="connsiteX1020" fmla="*/ 3379259 w 11725275"/>
              <a:gd name="connsiteY1020" fmla="*/ 2135982 h 2405063"/>
              <a:gd name="connsiteX1021" fmla="*/ 3375555 w 11725275"/>
              <a:gd name="connsiteY1021" fmla="*/ 2128044 h 2405063"/>
              <a:gd name="connsiteX1022" fmla="*/ 3372380 w 11725275"/>
              <a:gd name="connsiteY1022" fmla="*/ 2120107 h 2405063"/>
              <a:gd name="connsiteX1023" fmla="*/ 3368146 w 11725275"/>
              <a:gd name="connsiteY1023" fmla="*/ 2104232 h 2405063"/>
              <a:gd name="connsiteX1024" fmla="*/ 3364442 w 11725275"/>
              <a:gd name="connsiteY1024" fmla="*/ 2088357 h 2405063"/>
              <a:gd name="connsiteX1025" fmla="*/ 3362325 w 11725275"/>
              <a:gd name="connsiteY1025" fmla="*/ 2073276 h 2405063"/>
              <a:gd name="connsiteX1026" fmla="*/ 3359150 w 11725275"/>
              <a:gd name="connsiteY1026" fmla="*/ 2059782 h 2405063"/>
              <a:gd name="connsiteX1027" fmla="*/ 3357033 w 11725275"/>
              <a:gd name="connsiteY1027" fmla="*/ 2044701 h 2405063"/>
              <a:gd name="connsiteX1028" fmla="*/ 3353330 w 11725275"/>
              <a:gd name="connsiteY1028" fmla="*/ 2030413 h 2405063"/>
              <a:gd name="connsiteX1029" fmla="*/ 3351213 w 11725275"/>
              <a:gd name="connsiteY1029" fmla="*/ 2024063 h 2405063"/>
              <a:gd name="connsiteX1030" fmla="*/ 3349096 w 11725275"/>
              <a:gd name="connsiteY1030" fmla="*/ 2016919 h 2405063"/>
              <a:gd name="connsiteX1031" fmla="*/ 3345921 w 11725275"/>
              <a:gd name="connsiteY1031" fmla="*/ 2009776 h 2405063"/>
              <a:gd name="connsiteX1032" fmla="*/ 3343275 w 11725275"/>
              <a:gd name="connsiteY1032" fmla="*/ 2003426 h 2405063"/>
              <a:gd name="connsiteX1033" fmla="*/ 3284009 w 11725275"/>
              <a:gd name="connsiteY1033" fmla="*/ 2004219 h 2405063"/>
              <a:gd name="connsiteX1034" fmla="*/ 3218392 w 11725275"/>
              <a:gd name="connsiteY1034" fmla="*/ 2006601 h 2405063"/>
              <a:gd name="connsiteX1035" fmla="*/ 3149071 w 11725275"/>
              <a:gd name="connsiteY1035" fmla="*/ 2007394 h 2405063"/>
              <a:gd name="connsiteX1036" fmla="*/ 3076575 w 11725275"/>
              <a:gd name="connsiteY1036" fmla="*/ 2008982 h 2405063"/>
              <a:gd name="connsiteX1037" fmla="*/ 3000905 w 11725275"/>
              <a:gd name="connsiteY1037" fmla="*/ 2011363 h 2405063"/>
              <a:gd name="connsiteX1038" fmla="*/ 2924175 w 11725275"/>
              <a:gd name="connsiteY1038" fmla="*/ 2012157 h 2405063"/>
              <a:gd name="connsiteX1039" fmla="*/ 2846388 w 11725275"/>
              <a:gd name="connsiteY1039" fmla="*/ 2013744 h 2405063"/>
              <a:gd name="connsiteX1040" fmla="*/ 2768600 w 11725275"/>
              <a:gd name="connsiteY1040" fmla="*/ 2014538 h 2405063"/>
              <a:gd name="connsiteX1041" fmla="*/ 2692400 w 11725275"/>
              <a:gd name="connsiteY1041" fmla="*/ 2015332 h 2405063"/>
              <a:gd name="connsiteX1042" fmla="*/ 2619375 w 11725275"/>
              <a:gd name="connsiteY1042" fmla="*/ 2016919 h 2405063"/>
              <a:gd name="connsiteX1043" fmla="*/ 2548996 w 11725275"/>
              <a:gd name="connsiteY1043" fmla="*/ 2016919 h 2405063"/>
              <a:gd name="connsiteX1044" fmla="*/ 2482850 w 11725275"/>
              <a:gd name="connsiteY1044" fmla="*/ 2016919 h 2405063"/>
              <a:gd name="connsiteX1045" fmla="*/ 2421996 w 11725275"/>
              <a:gd name="connsiteY1045" fmla="*/ 2015332 h 2405063"/>
              <a:gd name="connsiteX1046" fmla="*/ 2368021 w 11725275"/>
              <a:gd name="connsiteY1046" fmla="*/ 2014538 h 2405063"/>
              <a:gd name="connsiteX1047" fmla="*/ 2320396 w 11725275"/>
              <a:gd name="connsiteY1047" fmla="*/ 2012157 h 2405063"/>
              <a:gd name="connsiteX1048" fmla="*/ 2281238 w 11725275"/>
              <a:gd name="connsiteY1048" fmla="*/ 2008982 h 2405063"/>
              <a:gd name="connsiteX1049" fmla="*/ 2246842 w 11725275"/>
              <a:gd name="connsiteY1049" fmla="*/ 2004219 h 2405063"/>
              <a:gd name="connsiteX1050" fmla="*/ 2215092 w 11725275"/>
              <a:gd name="connsiteY1050" fmla="*/ 1998663 h 2405063"/>
              <a:gd name="connsiteX1051" fmla="*/ 2185988 w 11725275"/>
              <a:gd name="connsiteY1051" fmla="*/ 1992313 h 2405063"/>
              <a:gd name="connsiteX1052" fmla="*/ 2159530 w 11725275"/>
              <a:gd name="connsiteY1052" fmla="*/ 1985169 h 2405063"/>
              <a:gd name="connsiteX1053" fmla="*/ 2147359 w 11725275"/>
              <a:gd name="connsiteY1053" fmla="*/ 1980407 h 2405063"/>
              <a:gd name="connsiteX1054" fmla="*/ 2136246 w 11725275"/>
              <a:gd name="connsiteY1054" fmla="*/ 1975644 h 2405063"/>
              <a:gd name="connsiteX1055" fmla="*/ 2125134 w 11725275"/>
              <a:gd name="connsiteY1055" fmla="*/ 1970882 h 2405063"/>
              <a:gd name="connsiteX1056" fmla="*/ 2115080 w 11725275"/>
              <a:gd name="connsiteY1056" fmla="*/ 1966119 h 2405063"/>
              <a:gd name="connsiteX1057" fmla="*/ 2104496 w 11725275"/>
              <a:gd name="connsiteY1057" fmla="*/ 1960563 h 2405063"/>
              <a:gd name="connsiteX1058" fmla="*/ 2096029 w 11725275"/>
              <a:gd name="connsiteY1058" fmla="*/ 1955007 h 2405063"/>
              <a:gd name="connsiteX1059" fmla="*/ 2087034 w 11725275"/>
              <a:gd name="connsiteY1059" fmla="*/ 1949451 h 2405063"/>
              <a:gd name="connsiteX1060" fmla="*/ 2079096 w 11725275"/>
              <a:gd name="connsiteY1060" fmla="*/ 1943894 h 2405063"/>
              <a:gd name="connsiteX1061" fmla="*/ 2071688 w 11725275"/>
              <a:gd name="connsiteY1061" fmla="*/ 1937544 h 2405063"/>
              <a:gd name="connsiteX1062" fmla="*/ 2064279 w 11725275"/>
              <a:gd name="connsiteY1062" fmla="*/ 1931194 h 2405063"/>
              <a:gd name="connsiteX1063" fmla="*/ 2057929 w 11725275"/>
              <a:gd name="connsiteY1063" fmla="*/ 1925638 h 2405063"/>
              <a:gd name="connsiteX1064" fmla="*/ 2052109 w 11725275"/>
              <a:gd name="connsiteY1064" fmla="*/ 1917701 h 2405063"/>
              <a:gd name="connsiteX1065" fmla="*/ 2046288 w 11725275"/>
              <a:gd name="connsiteY1065" fmla="*/ 1911351 h 2405063"/>
              <a:gd name="connsiteX1066" fmla="*/ 2041525 w 11725275"/>
              <a:gd name="connsiteY1066" fmla="*/ 1905001 h 2405063"/>
              <a:gd name="connsiteX1067" fmla="*/ 2036763 w 11725275"/>
              <a:gd name="connsiteY1067" fmla="*/ 1897063 h 2405063"/>
              <a:gd name="connsiteX1068" fmla="*/ 2033059 w 11725275"/>
              <a:gd name="connsiteY1068" fmla="*/ 1889919 h 2405063"/>
              <a:gd name="connsiteX1069" fmla="*/ 2029354 w 11725275"/>
              <a:gd name="connsiteY1069" fmla="*/ 1883569 h 2405063"/>
              <a:gd name="connsiteX1070" fmla="*/ 2026179 w 11725275"/>
              <a:gd name="connsiteY1070" fmla="*/ 1874838 h 2405063"/>
              <a:gd name="connsiteX1071" fmla="*/ 2023534 w 11725275"/>
              <a:gd name="connsiteY1071" fmla="*/ 1867694 h 2405063"/>
              <a:gd name="connsiteX1072" fmla="*/ 2020888 w 11725275"/>
              <a:gd name="connsiteY1072" fmla="*/ 1859757 h 2405063"/>
              <a:gd name="connsiteX1073" fmla="*/ 2018771 w 11725275"/>
              <a:gd name="connsiteY1073" fmla="*/ 1852613 h 2405063"/>
              <a:gd name="connsiteX1074" fmla="*/ 2017713 w 11725275"/>
              <a:gd name="connsiteY1074" fmla="*/ 1844676 h 2405063"/>
              <a:gd name="connsiteX1075" fmla="*/ 2016125 w 11725275"/>
              <a:gd name="connsiteY1075" fmla="*/ 1836738 h 2405063"/>
              <a:gd name="connsiteX1076" fmla="*/ 2015067 w 11725275"/>
              <a:gd name="connsiteY1076" fmla="*/ 1828801 h 2405063"/>
              <a:gd name="connsiteX1077" fmla="*/ 2014009 w 11725275"/>
              <a:gd name="connsiteY1077" fmla="*/ 1815307 h 2405063"/>
              <a:gd name="connsiteX1078" fmla="*/ 2010304 w 11725275"/>
              <a:gd name="connsiteY1078" fmla="*/ 1809751 h 2405063"/>
              <a:gd name="connsiteX1079" fmla="*/ 2006600 w 11725275"/>
              <a:gd name="connsiteY1079" fmla="*/ 1804988 h 2405063"/>
              <a:gd name="connsiteX1080" fmla="*/ 2001309 w 11725275"/>
              <a:gd name="connsiteY1080" fmla="*/ 1799432 h 2405063"/>
              <a:gd name="connsiteX1081" fmla="*/ 1995488 w 11725275"/>
              <a:gd name="connsiteY1081" fmla="*/ 1794669 h 2405063"/>
              <a:gd name="connsiteX1082" fmla="*/ 1983846 w 11725275"/>
              <a:gd name="connsiteY1082" fmla="*/ 1785938 h 2405063"/>
              <a:gd name="connsiteX1083" fmla="*/ 1972734 w 11725275"/>
              <a:gd name="connsiteY1083" fmla="*/ 1775619 h 2405063"/>
              <a:gd name="connsiteX1084" fmla="*/ 1968500 w 11725275"/>
              <a:gd name="connsiteY1084" fmla="*/ 1770063 h 2405063"/>
              <a:gd name="connsiteX1085" fmla="*/ 1963738 w 11725275"/>
              <a:gd name="connsiteY1085" fmla="*/ 1762919 h 2405063"/>
              <a:gd name="connsiteX1086" fmla="*/ 1960563 w 11725275"/>
              <a:gd name="connsiteY1086" fmla="*/ 1756569 h 2405063"/>
              <a:gd name="connsiteX1087" fmla="*/ 1957917 w 11725275"/>
              <a:gd name="connsiteY1087" fmla="*/ 1749426 h 2405063"/>
              <a:gd name="connsiteX1088" fmla="*/ 1957917 w 11725275"/>
              <a:gd name="connsiteY1088" fmla="*/ 1745457 h 2405063"/>
              <a:gd name="connsiteX1089" fmla="*/ 1957388 w 11725275"/>
              <a:gd name="connsiteY1089" fmla="*/ 1741488 h 2405063"/>
              <a:gd name="connsiteX1090" fmla="*/ 1957388 w 11725275"/>
              <a:gd name="connsiteY1090" fmla="*/ 1737519 h 2405063"/>
              <a:gd name="connsiteX1091" fmla="*/ 1957917 w 11725275"/>
              <a:gd name="connsiteY1091" fmla="*/ 1732757 h 2405063"/>
              <a:gd name="connsiteX1092" fmla="*/ 1960563 w 11725275"/>
              <a:gd name="connsiteY1092" fmla="*/ 1723232 h 2405063"/>
              <a:gd name="connsiteX1093" fmla="*/ 1963738 w 11725275"/>
              <a:gd name="connsiteY1093" fmla="*/ 1712119 h 2405063"/>
              <a:gd name="connsiteX1094" fmla="*/ 1934634 w 11725275"/>
              <a:gd name="connsiteY1094" fmla="*/ 1712119 h 2405063"/>
              <a:gd name="connsiteX1095" fmla="*/ 1911350 w 11725275"/>
              <a:gd name="connsiteY1095" fmla="*/ 1712119 h 2405063"/>
              <a:gd name="connsiteX1096" fmla="*/ 1891242 w 11725275"/>
              <a:gd name="connsiteY1096" fmla="*/ 1711326 h 2405063"/>
              <a:gd name="connsiteX1097" fmla="*/ 1875367 w 11725275"/>
              <a:gd name="connsiteY1097" fmla="*/ 1710532 h 2405063"/>
              <a:gd name="connsiteX1098" fmla="*/ 1858963 w 11725275"/>
              <a:gd name="connsiteY1098" fmla="*/ 1708944 h 2405063"/>
              <a:gd name="connsiteX1099" fmla="*/ 1843088 w 11725275"/>
              <a:gd name="connsiteY1099" fmla="*/ 1708944 h 2405063"/>
              <a:gd name="connsiteX1100" fmla="*/ 1824567 w 11725275"/>
              <a:gd name="connsiteY1100" fmla="*/ 1708944 h 2405063"/>
              <a:gd name="connsiteX1101" fmla="*/ 1802871 w 11725275"/>
              <a:gd name="connsiteY1101" fmla="*/ 1708944 h 2405063"/>
              <a:gd name="connsiteX1102" fmla="*/ 1335088 w 11725275"/>
              <a:gd name="connsiteY1102" fmla="*/ 1712119 h 2405063"/>
              <a:gd name="connsiteX1103" fmla="*/ 1286934 w 11725275"/>
              <a:gd name="connsiteY1103" fmla="*/ 1711326 h 2405063"/>
              <a:gd name="connsiteX1104" fmla="*/ 1251479 w 11725275"/>
              <a:gd name="connsiteY1104" fmla="*/ 1708944 h 2405063"/>
              <a:gd name="connsiteX1105" fmla="*/ 1238250 w 11725275"/>
              <a:gd name="connsiteY1105" fmla="*/ 1708151 h 2405063"/>
              <a:gd name="connsiteX1106" fmla="*/ 1227667 w 11725275"/>
              <a:gd name="connsiteY1106" fmla="*/ 1706563 h 2405063"/>
              <a:gd name="connsiteX1107" fmla="*/ 1218142 w 11725275"/>
              <a:gd name="connsiteY1107" fmla="*/ 1704976 h 2405063"/>
              <a:gd name="connsiteX1108" fmla="*/ 1210734 w 11725275"/>
              <a:gd name="connsiteY1108" fmla="*/ 1702594 h 2405063"/>
              <a:gd name="connsiteX1109" fmla="*/ 1203854 w 11725275"/>
              <a:gd name="connsiteY1109" fmla="*/ 1700213 h 2405063"/>
              <a:gd name="connsiteX1110" fmla="*/ 1198034 w 11725275"/>
              <a:gd name="connsiteY1110" fmla="*/ 1697038 h 2405063"/>
              <a:gd name="connsiteX1111" fmla="*/ 1192213 w 11725275"/>
              <a:gd name="connsiteY1111" fmla="*/ 1693069 h 2405063"/>
              <a:gd name="connsiteX1112" fmla="*/ 1186921 w 11725275"/>
              <a:gd name="connsiteY1112" fmla="*/ 1689894 h 2405063"/>
              <a:gd name="connsiteX1113" fmla="*/ 1174221 w 11725275"/>
              <a:gd name="connsiteY1113" fmla="*/ 1680369 h 2405063"/>
              <a:gd name="connsiteX1114" fmla="*/ 1156229 w 11725275"/>
              <a:gd name="connsiteY1114" fmla="*/ 1669257 h 2405063"/>
              <a:gd name="connsiteX1115" fmla="*/ 1123421 w 11725275"/>
              <a:gd name="connsiteY1115" fmla="*/ 1649413 h 2405063"/>
              <a:gd name="connsiteX1116" fmla="*/ 1103842 w 11725275"/>
              <a:gd name="connsiteY1116" fmla="*/ 1637507 h 2405063"/>
              <a:gd name="connsiteX1117" fmla="*/ 1098550 w 11725275"/>
              <a:gd name="connsiteY1117" fmla="*/ 1633538 h 2405063"/>
              <a:gd name="connsiteX1118" fmla="*/ 1094846 w 11725275"/>
              <a:gd name="connsiteY1118" fmla="*/ 1631157 h 2405063"/>
              <a:gd name="connsiteX1119" fmla="*/ 1092729 w 11725275"/>
              <a:gd name="connsiteY1119" fmla="*/ 1628776 h 2405063"/>
              <a:gd name="connsiteX1120" fmla="*/ 1091671 w 11725275"/>
              <a:gd name="connsiteY1120" fmla="*/ 1627188 h 2405063"/>
              <a:gd name="connsiteX1121" fmla="*/ 1091142 w 11725275"/>
              <a:gd name="connsiteY1121" fmla="*/ 1623219 h 2405063"/>
              <a:gd name="connsiteX1122" fmla="*/ 1089025 w 11725275"/>
              <a:gd name="connsiteY1122" fmla="*/ 1616869 h 2405063"/>
              <a:gd name="connsiteX1123" fmla="*/ 1085850 w 11725275"/>
              <a:gd name="connsiteY1123" fmla="*/ 1611313 h 2405063"/>
              <a:gd name="connsiteX1124" fmla="*/ 1081088 w 11725275"/>
              <a:gd name="connsiteY1124" fmla="*/ 1604963 h 2405063"/>
              <a:gd name="connsiteX1125" fmla="*/ 1073679 w 11725275"/>
              <a:gd name="connsiteY1125" fmla="*/ 1596232 h 2405063"/>
              <a:gd name="connsiteX1126" fmla="*/ 1063096 w 11725275"/>
              <a:gd name="connsiteY1126" fmla="*/ 1585119 h 2405063"/>
              <a:gd name="connsiteX1127" fmla="*/ 1055159 w 11725275"/>
              <a:gd name="connsiteY1127" fmla="*/ 1576388 h 2405063"/>
              <a:gd name="connsiteX1128" fmla="*/ 1047750 w 11725275"/>
              <a:gd name="connsiteY1128" fmla="*/ 1567657 h 2405063"/>
              <a:gd name="connsiteX1129" fmla="*/ 1042988 w 11725275"/>
              <a:gd name="connsiteY1129" fmla="*/ 1560513 h 2405063"/>
              <a:gd name="connsiteX1130" fmla="*/ 1037696 w 11725275"/>
              <a:gd name="connsiteY1130" fmla="*/ 1553369 h 2405063"/>
              <a:gd name="connsiteX1131" fmla="*/ 1031875 w 11725275"/>
              <a:gd name="connsiteY1131" fmla="*/ 1540669 h 2405063"/>
              <a:gd name="connsiteX1132" fmla="*/ 1026584 w 11725275"/>
              <a:gd name="connsiteY1132" fmla="*/ 1529557 h 2405063"/>
              <a:gd name="connsiteX1133" fmla="*/ 1022350 w 11725275"/>
              <a:gd name="connsiteY1133" fmla="*/ 1517651 h 2405063"/>
              <a:gd name="connsiteX1134" fmla="*/ 1016529 w 11725275"/>
              <a:gd name="connsiteY1134" fmla="*/ 1504157 h 2405063"/>
              <a:gd name="connsiteX1135" fmla="*/ 1012296 w 11725275"/>
              <a:gd name="connsiteY1135" fmla="*/ 1497013 h 2405063"/>
              <a:gd name="connsiteX1136" fmla="*/ 1007533 w 11725275"/>
              <a:gd name="connsiteY1136" fmla="*/ 1488282 h 2405063"/>
              <a:gd name="connsiteX1137" fmla="*/ 1001183 w 11725275"/>
              <a:gd name="connsiteY1137" fmla="*/ 1479550 h 2405063"/>
              <a:gd name="connsiteX1138" fmla="*/ 993246 w 11725275"/>
              <a:gd name="connsiteY1138" fmla="*/ 1469232 h 2405063"/>
              <a:gd name="connsiteX1139" fmla="*/ 984779 w 11725275"/>
              <a:gd name="connsiteY1139" fmla="*/ 1458119 h 2405063"/>
              <a:gd name="connsiteX1140" fmla="*/ 980017 w 11725275"/>
              <a:gd name="connsiteY1140" fmla="*/ 1450182 h 2405063"/>
              <a:gd name="connsiteX1141" fmla="*/ 977371 w 11725275"/>
              <a:gd name="connsiteY1141" fmla="*/ 1446213 h 2405063"/>
              <a:gd name="connsiteX1142" fmla="*/ 975255 w 11725275"/>
              <a:gd name="connsiteY1142" fmla="*/ 1444625 h 2405063"/>
              <a:gd name="connsiteX1143" fmla="*/ 971550 w 11725275"/>
              <a:gd name="connsiteY1143" fmla="*/ 1443832 h 2405063"/>
              <a:gd name="connsiteX1144" fmla="*/ 965200 w 11725275"/>
              <a:gd name="connsiteY1144" fmla="*/ 1443038 h 2405063"/>
              <a:gd name="connsiteX1145" fmla="*/ 954617 w 11725275"/>
              <a:gd name="connsiteY1145" fmla="*/ 1440657 h 2405063"/>
              <a:gd name="connsiteX1146" fmla="*/ 937154 w 11725275"/>
              <a:gd name="connsiteY1146" fmla="*/ 1436688 h 2405063"/>
              <a:gd name="connsiteX1147" fmla="*/ 923925 w 11725275"/>
              <a:gd name="connsiteY1147" fmla="*/ 1433513 h 2405063"/>
              <a:gd name="connsiteX1148" fmla="*/ 895350 w 11725275"/>
              <a:gd name="connsiteY1148" fmla="*/ 1427163 h 2405063"/>
              <a:gd name="connsiteX1149" fmla="*/ 866775 w 11725275"/>
              <a:gd name="connsiteY1149" fmla="*/ 1420813 h 2405063"/>
              <a:gd name="connsiteX1150" fmla="*/ 853017 w 11725275"/>
              <a:gd name="connsiteY1150" fmla="*/ 1417638 h 2405063"/>
              <a:gd name="connsiteX1151" fmla="*/ 832380 w 11725275"/>
              <a:gd name="connsiteY1151" fmla="*/ 1412875 h 2405063"/>
              <a:gd name="connsiteX1152" fmla="*/ 811213 w 11725275"/>
              <a:gd name="connsiteY1152" fmla="*/ 1408113 h 2405063"/>
              <a:gd name="connsiteX1153" fmla="*/ 801688 w 11725275"/>
              <a:gd name="connsiteY1153" fmla="*/ 1405732 h 2405063"/>
              <a:gd name="connsiteX1154" fmla="*/ 792163 w 11725275"/>
              <a:gd name="connsiteY1154" fmla="*/ 1402557 h 2405063"/>
              <a:gd name="connsiteX1155" fmla="*/ 783167 w 11725275"/>
              <a:gd name="connsiteY1155" fmla="*/ 1399382 h 2405063"/>
              <a:gd name="connsiteX1156" fmla="*/ 775230 w 11725275"/>
              <a:gd name="connsiteY1156" fmla="*/ 1395413 h 2405063"/>
              <a:gd name="connsiteX1157" fmla="*/ 758296 w 11725275"/>
              <a:gd name="connsiteY1157" fmla="*/ 1385888 h 2405063"/>
              <a:gd name="connsiteX1158" fmla="*/ 749830 w 11725275"/>
              <a:gd name="connsiteY1158" fmla="*/ 1381125 h 2405063"/>
              <a:gd name="connsiteX1159" fmla="*/ 748242 w 11725275"/>
              <a:gd name="connsiteY1159" fmla="*/ 1380332 h 2405063"/>
              <a:gd name="connsiteX1160" fmla="*/ 747713 w 11725275"/>
              <a:gd name="connsiteY1160" fmla="*/ 1379538 h 2405063"/>
              <a:gd name="connsiteX1161" fmla="*/ 747713 w 11725275"/>
              <a:gd name="connsiteY1161" fmla="*/ 1378744 h 2405063"/>
              <a:gd name="connsiteX1162" fmla="*/ 748242 w 11725275"/>
              <a:gd name="connsiteY1162" fmla="*/ 1378744 h 2405063"/>
              <a:gd name="connsiteX1163" fmla="*/ 749830 w 11725275"/>
              <a:gd name="connsiteY1163" fmla="*/ 1378744 h 2405063"/>
              <a:gd name="connsiteX1164" fmla="*/ 750888 w 11725275"/>
              <a:gd name="connsiteY1164" fmla="*/ 1378744 h 2405063"/>
              <a:gd name="connsiteX1165" fmla="*/ 751946 w 11725275"/>
              <a:gd name="connsiteY1165" fmla="*/ 1377950 h 2405063"/>
              <a:gd name="connsiteX1166" fmla="*/ 752475 w 11725275"/>
              <a:gd name="connsiteY1166" fmla="*/ 1375569 h 2405063"/>
              <a:gd name="connsiteX1167" fmla="*/ 751946 w 11725275"/>
              <a:gd name="connsiteY1167" fmla="*/ 1373982 h 2405063"/>
              <a:gd name="connsiteX1168" fmla="*/ 750358 w 11725275"/>
              <a:gd name="connsiteY1168" fmla="*/ 1370807 h 2405063"/>
              <a:gd name="connsiteX1169" fmla="*/ 746654 w 11725275"/>
              <a:gd name="connsiteY1169" fmla="*/ 1367632 h 2405063"/>
              <a:gd name="connsiteX1170" fmla="*/ 741363 w 11725275"/>
              <a:gd name="connsiteY1170" fmla="*/ 1362075 h 2405063"/>
              <a:gd name="connsiteX1171" fmla="*/ 737130 w 11725275"/>
              <a:gd name="connsiteY1171" fmla="*/ 1357313 h 2405063"/>
              <a:gd name="connsiteX1172" fmla="*/ 731838 w 11725275"/>
              <a:gd name="connsiteY1172" fmla="*/ 1353344 h 2405063"/>
              <a:gd name="connsiteX1173" fmla="*/ 725488 w 11725275"/>
              <a:gd name="connsiteY1173" fmla="*/ 1348582 h 2405063"/>
              <a:gd name="connsiteX1174" fmla="*/ 719138 w 11725275"/>
              <a:gd name="connsiteY1174" fmla="*/ 1345407 h 2405063"/>
              <a:gd name="connsiteX1175" fmla="*/ 704321 w 11725275"/>
              <a:gd name="connsiteY1175" fmla="*/ 1337469 h 2405063"/>
              <a:gd name="connsiteX1176" fmla="*/ 688975 w 11725275"/>
              <a:gd name="connsiteY1176" fmla="*/ 1330325 h 2405063"/>
              <a:gd name="connsiteX1177" fmla="*/ 673629 w 11725275"/>
              <a:gd name="connsiteY1177" fmla="*/ 1321594 h 2405063"/>
              <a:gd name="connsiteX1178" fmla="*/ 658284 w 11725275"/>
              <a:gd name="connsiteY1178" fmla="*/ 1313657 h 2405063"/>
              <a:gd name="connsiteX1179" fmla="*/ 650875 w 11725275"/>
              <a:gd name="connsiteY1179" fmla="*/ 1308894 h 2405063"/>
              <a:gd name="connsiteX1180" fmla="*/ 643996 w 11725275"/>
              <a:gd name="connsiteY1180" fmla="*/ 1304925 h 2405063"/>
              <a:gd name="connsiteX1181" fmla="*/ 638175 w 11725275"/>
              <a:gd name="connsiteY1181" fmla="*/ 1300163 h 2405063"/>
              <a:gd name="connsiteX1182" fmla="*/ 632354 w 11725275"/>
              <a:gd name="connsiteY1182" fmla="*/ 1294607 h 2405063"/>
              <a:gd name="connsiteX1183" fmla="*/ 624417 w 11725275"/>
              <a:gd name="connsiteY1183" fmla="*/ 1286669 h 2405063"/>
              <a:gd name="connsiteX1184" fmla="*/ 619125 w 11725275"/>
              <a:gd name="connsiteY1184" fmla="*/ 1279525 h 2405063"/>
              <a:gd name="connsiteX1185" fmla="*/ 617009 w 11725275"/>
              <a:gd name="connsiteY1185" fmla="*/ 1275557 h 2405063"/>
              <a:gd name="connsiteX1186" fmla="*/ 615421 w 11725275"/>
              <a:gd name="connsiteY1186" fmla="*/ 1270794 h 2405063"/>
              <a:gd name="connsiteX1187" fmla="*/ 614892 w 11725275"/>
              <a:gd name="connsiteY1187" fmla="*/ 1266825 h 2405063"/>
              <a:gd name="connsiteX1188" fmla="*/ 614363 w 11725275"/>
              <a:gd name="connsiteY1188" fmla="*/ 1262063 h 2405063"/>
              <a:gd name="connsiteX1189" fmla="*/ 611188 w 11725275"/>
              <a:gd name="connsiteY1189" fmla="*/ 1256507 h 2405063"/>
              <a:gd name="connsiteX1190" fmla="*/ 605896 w 11725275"/>
              <a:gd name="connsiteY1190" fmla="*/ 1246982 h 2405063"/>
              <a:gd name="connsiteX1191" fmla="*/ 601663 w 11725275"/>
              <a:gd name="connsiteY1191" fmla="*/ 1241425 h 2405063"/>
              <a:gd name="connsiteX1192" fmla="*/ 597959 w 11725275"/>
              <a:gd name="connsiteY1192" fmla="*/ 1236663 h 2405063"/>
              <a:gd name="connsiteX1193" fmla="*/ 593725 w 11725275"/>
              <a:gd name="connsiteY1193" fmla="*/ 1232694 h 2405063"/>
              <a:gd name="connsiteX1194" fmla="*/ 588434 w 11725275"/>
              <a:gd name="connsiteY1194" fmla="*/ 1228725 h 2405063"/>
              <a:gd name="connsiteX1195" fmla="*/ 583142 w 11725275"/>
              <a:gd name="connsiteY1195" fmla="*/ 1224757 h 2405063"/>
              <a:gd name="connsiteX1196" fmla="*/ 577321 w 11725275"/>
              <a:gd name="connsiteY1196" fmla="*/ 1222375 h 2405063"/>
              <a:gd name="connsiteX1197" fmla="*/ 571500 w 11725275"/>
              <a:gd name="connsiteY1197" fmla="*/ 1219200 h 2405063"/>
              <a:gd name="connsiteX1198" fmla="*/ 565150 w 11725275"/>
              <a:gd name="connsiteY1198" fmla="*/ 1216819 h 2405063"/>
              <a:gd name="connsiteX1199" fmla="*/ 549804 w 11725275"/>
              <a:gd name="connsiteY1199" fmla="*/ 1212850 h 2405063"/>
              <a:gd name="connsiteX1200" fmla="*/ 531283 w 11725275"/>
              <a:gd name="connsiteY1200" fmla="*/ 1209675 h 2405063"/>
              <a:gd name="connsiteX1201" fmla="*/ 510117 w 11725275"/>
              <a:gd name="connsiteY1201" fmla="*/ 1208088 h 2405063"/>
              <a:gd name="connsiteX1202" fmla="*/ 484188 w 11725275"/>
              <a:gd name="connsiteY1202" fmla="*/ 1207294 h 2405063"/>
              <a:gd name="connsiteX1203" fmla="*/ 458788 w 11725275"/>
              <a:gd name="connsiteY1203" fmla="*/ 1207294 h 2405063"/>
              <a:gd name="connsiteX1204" fmla="*/ 431800 w 11725275"/>
              <a:gd name="connsiteY1204" fmla="*/ 1208088 h 2405063"/>
              <a:gd name="connsiteX1205" fmla="*/ 405342 w 11725275"/>
              <a:gd name="connsiteY1205" fmla="*/ 1208882 h 2405063"/>
              <a:gd name="connsiteX1206" fmla="*/ 378884 w 11725275"/>
              <a:gd name="connsiteY1206" fmla="*/ 1208882 h 2405063"/>
              <a:gd name="connsiteX1207" fmla="*/ 340254 w 11725275"/>
              <a:gd name="connsiteY1207" fmla="*/ 1208882 h 2405063"/>
              <a:gd name="connsiteX1208" fmla="*/ 305329 w 11725275"/>
              <a:gd name="connsiteY1208" fmla="*/ 1206500 h 2405063"/>
              <a:gd name="connsiteX1209" fmla="*/ 289454 w 11725275"/>
              <a:gd name="connsiteY1209" fmla="*/ 1205707 h 2405063"/>
              <a:gd name="connsiteX1210" fmla="*/ 274638 w 11725275"/>
              <a:gd name="connsiteY1210" fmla="*/ 1203325 h 2405063"/>
              <a:gd name="connsiteX1211" fmla="*/ 260350 w 11725275"/>
              <a:gd name="connsiteY1211" fmla="*/ 1200944 h 2405063"/>
              <a:gd name="connsiteX1212" fmla="*/ 247121 w 11725275"/>
              <a:gd name="connsiteY1212" fmla="*/ 1197769 h 2405063"/>
              <a:gd name="connsiteX1213" fmla="*/ 234421 w 11725275"/>
              <a:gd name="connsiteY1213" fmla="*/ 1193800 h 2405063"/>
              <a:gd name="connsiteX1214" fmla="*/ 222779 w 11725275"/>
              <a:gd name="connsiteY1214" fmla="*/ 1190625 h 2405063"/>
              <a:gd name="connsiteX1215" fmla="*/ 211667 w 11725275"/>
              <a:gd name="connsiteY1215" fmla="*/ 1185863 h 2405063"/>
              <a:gd name="connsiteX1216" fmla="*/ 201613 w 11725275"/>
              <a:gd name="connsiteY1216" fmla="*/ 1181100 h 2405063"/>
              <a:gd name="connsiteX1217" fmla="*/ 192088 w 11725275"/>
              <a:gd name="connsiteY1217" fmla="*/ 1175544 h 2405063"/>
              <a:gd name="connsiteX1218" fmla="*/ 183092 w 11725275"/>
              <a:gd name="connsiteY1218" fmla="*/ 1169194 h 2405063"/>
              <a:gd name="connsiteX1219" fmla="*/ 174625 w 11725275"/>
              <a:gd name="connsiteY1219" fmla="*/ 1162844 h 2405063"/>
              <a:gd name="connsiteX1220" fmla="*/ 166159 w 11725275"/>
              <a:gd name="connsiteY1220" fmla="*/ 1154907 h 2405063"/>
              <a:gd name="connsiteX1221" fmla="*/ 161396 w 11725275"/>
              <a:gd name="connsiteY1221" fmla="*/ 1149350 h 2405063"/>
              <a:gd name="connsiteX1222" fmla="*/ 156634 w 11725275"/>
              <a:gd name="connsiteY1222" fmla="*/ 1143794 h 2405063"/>
              <a:gd name="connsiteX1223" fmla="*/ 153988 w 11725275"/>
              <a:gd name="connsiteY1223" fmla="*/ 1139825 h 2405063"/>
              <a:gd name="connsiteX1224" fmla="*/ 152400 w 11725275"/>
              <a:gd name="connsiteY1224" fmla="*/ 1135857 h 2405063"/>
              <a:gd name="connsiteX1225" fmla="*/ 151871 w 11725275"/>
              <a:gd name="connsiteY1225" fmla="*/ 1132682 h 2405063"/>
              <a:gd name="connsiteX1226" fmla="*/ 152400 w 11725275"/>
              <a:gd name="connsiteY1226" fmla="*/ 1128713 h 2405063"/>
              <a:gd name="connsiteX1227" fmla="*/ 153988 w 11725275"/>
              <a:gd name="connsiteY1227" fmla="*/ 1126332 h 2405063"/>
              <a:gd name="connsiteX1228" fmla="*/ 156634 w 11725275"/>
              <a:gd name="connsiteY1228" fmla="*/ 1123157 h 2405063"/>
              <a:gd name="connsiteX1229" fmla="*/ 174625 w 11725275"/>
              <a:gd name="connsiteY1229" fmla="*/ 1112044 h 2405063"/>
              <a:gd name="connsiteX1230" fmla="*/ 203200 w 11725275"/>
              <a:gd name="connsiteY1230" fmla="*/ 1095375 h 2405063"/>
              <a:gd name="connsiteX1231" fmla="*/ 165629 w 11725275"/>
              <a:gd name="connsiteY1231" fmla="*/ 1095375 h 2405063"/>
              <a:gd name="connsiteX1232" fmla="*/ 140759 w 11725275"/>
              <a:gd name="connsiteY1232" fmla="*/ 1096169 h 2405063"/>
              <a:gd name="connsiteX1233" fmla="*/ 124354 w 11725275"/>
              <a:gd name="connsiteY1233" fmla="*/ 1096963 h 2405063"/>
              <a:gd name="connsiteX1234" fmla="*/ 114300 w 11725275"/>
              <a:gd name="connsiteY1234" fmla="*/ 1096169 h 2405063"/>
              <a:gd name="connsiteX1235" fmla="*/ 110067 w 11725275"/>
              <a:gd name="connsiteY1235" fmla="*/ 1096169 h 2405063"/>
              <a:gd name="connsiteX1236" fmla="*/ 106892 w 11725275"/>
              <a:gd name="connsiteY1236" fmla="*/ 1095375 h 2405063"/>
              <a:gd name="connsiteX1237" fmla="*/ 104246 w 11725275"/>
              <a:gd name="connsiteY1237" fmla="*/ 1093788 h 2405063"/>
              <a:gd name="connsiteX1238" fmla="*/ 100542 w 11725275"/>
              <a:gd name="connsiteY1238" fmla="*/ 1091407 h 2405063"/>
              <a:gd name="connsiteX1239" fmla="*/ 91546 w 11725275"/>
              <a:gd name="connsiteY1239" fmla="*/ 1085057 h 2405063"/>
              <a:gd name="connsiteX1240" fmla="*/ 77788 w 11725275"/>
              <a:gd name="connsiteY1240" fmla="*/ 1077119 h 2405063"/>
              <a:gd name="connsiteX1241" fmla="*/ 47625 w 11725275"/>
              <a:gd name="connsiteY1241" fmla="*/ 1050132 h 2405063"/>
              <a:gd name="connsiteX1242" fmla="*/ 41275 w 11725275"/>
              <a:gd name="connsiteY1242" fmla="*/ 1042988 h 2405063"/>
              <a:gd name="connsiteX1243" fmla="*/ 34396 w 11725275"/>
              <a:gd name="connsiteY1243" fmla="*/ 1034257 h 2405063"/>
              <a:gd name="connsiteX1244" fmla="*/ 26988 w 11725275"/>
              <a:gd name="connsiteY1244" fmla="*/ 1024732 h 2405063"/>
              <a:gd name="connsiteX1245" fmla="*/ 20638 w 11725275"/>
              <a:gd name="connsiteY1245" fmla="*/ 1013619 h 2405063"/>
              <a:gd name="connsiteX1246" fmla="*/ 13759 w 11725275"/>
              <a:gd name="connsiteY1246" fmla="*/ 1001713 h 2405063"/>
              <a:gd name="connsiteX1247" fmla="*/ 8996 w 11725275"/>
              <a:gd name="connsiteY1247" fmla="*/ 989013 h 2405063"/>
              <a:gd name="connsiteX1248" fmla="*/ 4233 w 11725275"/>
              <a:gd name="connsiteY1248" fmla="*/ 977107 h 2405063"/>
              <a:gd name="connsiteX1249" fmla="*/ 1588 w 11725275"/>
              <a:gd name="connsiteY1249" fmla="*/ 964407 h 2405063"/>
              <a:gd name="connsiteX1250" fmla="*/ 0 w 11725275"/>
              <a:gd name="connsiteY1250" fmla="*/ 957263 h 2405063"/>
              <a:gd name="connsiteX1251" fmla="*/ 0 w 11725275"/>
              <a:gd name="connsiteY1251" fmla="*/ 951707 h 2405063"/>
              <a:gd name="connsiteX1252" fmla="*/ 0 w 11725275"/>
              <a:gd name="connsiteY1252" fmla="*/ 945357 h 2405063"/>
              <a:gd name="connsiteX1253" fmla="*/ 529 w 11725275"/>
              <a:gd name="connsiteY1253" fmla="*/ 939800 h 2405063"/>
              <a:gd name="connsiteX1254" fmla="*/ 2117 w 11725275"/>
              <a:gd name="connsiteY1254" fmla="*/ 934244 h 2405063"/>
              <a:gd name="connsiteX1255" fmla="*/ 4233 w 11725275"/>
              <a:gd name="connsiteY1255" fmla="*/ 928688 h 2405063"/>
              <a:gd name="connsiteX1256" fmla="*/ 6350 w 11725275"/>
              <a:gd name="connsiteY1256" fmla="*/ 923925 h 2405063"/>
              <a:gd name="connsiteX1257" fmla="*/ 10054 w 11725275"/>
              <a:gd name="connsiteY1257" fmla="*/ 918369 h 2405063"/>
              <a:gd name="connsiteX1258" fmla="*/ 14817 w 11725275"/>
              <a:gd name="connsiteY1258" fmla="*/ 913607 h 2405063"/>
              <a:gd name="connsiteX1259" fmla="*/ 19579 w 11725275"/>
              <a:gd name="connsiteY1259" fmla="*/ 910432 h 2405063"/>
              <a:gd name="connsiteX1260" fmla="*/ 24871 w 11725275"/>
              <a:gd name="connsiteY1260" fmla="*/ 906463 h 2405063"/>
              <a:gd name="connsiteX1261" fmla="*/ 32279 w 11725275"/>
              <a:gd name="connsiteY1261" fmla="*/ 902494 h 2405063"/>
              <a:gd name="connsiteX1262" fmla="*/ 39688 w 11725275"/>
              <a:gd name="connsiteY1262" fmla="*/ 900113 h 2405063"/>
              <a:gd name="connsiteX1263" fmla="*/ 48154 w 11725275"/>
              <a:gd name="connsiteY1263" fmla="*/ 896938 h 2405063"/>
              <a:gd name="connsiteX1264" fmla="*/ 57679 w 11725275"/>
              <a:gd name="connsiteY1264" fmla="*/ 895350 h 2405063"/>
              <a:gd name="connsiteX1265" fmla="*/ 68263 w 11725275"/>
              <a:gd name="connsiteY1265" fmla="*/ 892969 h 2405063"/>
              <a:gd name="connsiteX1266" fmla="*/ 78317 w 11725275"/>
              <a:gd name="connsiteY1266" fmla="*/ 892175 h 2405063"/>
              <a:gd name="connsiteX1267" fmla="*/ 83609 w 11725275"/>
              <a:gd name="connsiteY1267" fmla="*/ 891382 h 2405063"/>
              <a:gd name="connsiteX1268" fmla="*/ 84138 w 11725275"/>
              <a:gd name="connsiteY1268" fmla="*/ 891382 h 2405063"/>
              <a:gd name="connsiteX1269" fmla="*/ 85196 w 11725275"/>
              <a:gd name="connsiteY1269" fmla="*/ 891382 h 2405063"/>
              <a:gd name="connsiteX1270" fmla="*/ 86254 w 11725275"/>
              <a:gd name="connsiteY1270" fmla="*/ 891382 h 2405063"/>
              <a:gd name="connsiteX1271" fmla="*/ 93134 w 11725275"/>
              <a:gd name="connsiteY1271" fmla="*/ 891382 h 2405063"/>
              <a:gd name="connsiteX1272" fmla="*/ 104775 w 11725275"/>
              <a:gd name="connsiteY1272" fmla="*/ 890588 h 2405063"/>
              <a:gd name="connsiteX1273" fmla="*/ 668867 w 11725275"/>
              <a:gd name="connsiteY1273" fmla="*/ 881857 h 2405063"/>
              <a:gd name="connsiteX1274" fmla="*/ 659342 w 11725275"/>
              <a:gd name="connsiteY1274" fmla="*/ 873125 h 2405063"/>
              <a:gd name="connsiteX1275" fmla="*/ 653521 w 11725275"/>
              <a:gd name="connsiteY1275" fmla="*/ 867569 h 2405063"/>
              <a:gd name="connsiteX1276" fmla="*/ 650875 w 11725275"/>
              <a:gd name="connsiteY1276" fmla="*/ 862807 h 2405063"/>
              <a:gd name="connsiteX1277" fmla="*/ 649817 w 11725275"/>
              <a:gd name="connsiteY1277" fmla="*/ 859632 h 2405063"/>
              <a:gd name="connsiteX1278" fmla="*/ 649288 w 11725275"/>
              <a:gd name="connsiteY1278" fmla="*/ 855663 h 2405063"/>
              <a:gd name="connsiteX1279" fmla="*/ 648758 w 11725275"/>
              <a:gd name="connsiteY1279" fmla="*/ 852488 h 2405063"/>
              <a:gd name="connsiteX1280" fmla="*/ 646113 w 11725275"/>
              <a:gd name="connsiteY1280" fmla="*/ 844550 h 2405063"/>
              <a:gd name="connsiteX1281" fmla="*/ 641879 w 11725275"/>
              <a:gd name="connsiteY1281" fmla="*/ 834232 h 2405063"/>
              <a:gd name="connsiteX1282" fmla="*/ 635529 w 11725275"/>
              <a:gd name="connsiteY1282" fmla="*/ 820738 h 2405063"/>
              <a:gd name="connsiteX1283" fmla="*/ 629709 w 11725275"/>
              <a:gd name="connsiteY1283" fmla="*/ 809625 h 2405063"/>
              <a:gd name="connsiteX1284" fmla="*/ 626004 w 11725275"/>
              <a:gd name="connsiteY1284" fmla="*/ 799307 h 2405063"/>
              <a:gd name="connsiteX1285" fmla="*/ 622829 w 11725275"/>
              <a:gd name="connsiteY1285" fmla="*/ 790575 h 2405063"/>
              <a:gd name="connsiteX1286" fmla="*/ 620713 w 11725275"/>
              <a:gd name="connsiteY1286" fmla="*/ 784225 h 2405063"/>
              <a:gd name="connsiteX1287" fmla="*/ 620184 w 11725275"/>
              <a:gd name="connsiteY1287" fmla="*/ 777875 h 2405063"/>
              <a:gd name="connsiteX1288" fmla="*/ 620184 w 11725275"/>
              <a:gd name="connsiteY1288" fmla="*/ 772319 h 2405063"/>
              <a:gd name="connsiteX1289" fmla="*/ 620184 w 11725275"/>
              <a:gd name="connsiteY1289" fmla="*/ 766763 h 2405063"/>
              <a:gd name="connsiteX1290" fmla="*/ 622829 w 11725275"/>
              <a:gd name="connsiteY1290" fmla="*/ 754857 h 2405063"/>
              <a:gd name="connsiteX1291" fmla="*/ 627063 w 11725275"/>
              <a:gd name="connsiteY1291" fmla="*/ 740569 h 2405063"/>
              <a:gd name="connsiteX1292" fmla="*/ 629709 w 11725275"/>
              <a:gd name="connsiteY1292" fmla="*/ 731838 h 2405063"/>
              <a:gd name="connsiteX1293" fmla="*/ 631825 w 11725275"/>
              <a:gd name="connsiteY1293" fmla="*/ 721519 h 2405063"/>
              <a:gd name="connsiteX1294" fmla="*/ 633942 w 11725275"/>
              <a:gd name="connsiteY1294" fmla="*/ 710407 h 2405063"/>
              <a:gd name="connsiteX1295" fmla="*/ 635529 w 11725275"/>
              <a:gd name="connsiteY1295" fmla="*/ 696913 h 2405063"/>
              <a:gd name="connsiteX1296" fmla="*/ 674158 w 11725275"/>
              <a:gd name="connsiteY1296" fmla="*/ 696119 h 2405063"/>
              <a:gd name="connsiteX1297" fmla="*/ 706438 w 11725275"/>
              <a:gd name="connsiteY1297" fmla="*/ 693738 h 2405063"/>
              <a:gd name="connsiteX1298" fmla="*/ 734483 w 11725275"/>
              <a:gd name="connsiteY1298" fmla="*/ 692944 h 2405063"/>
              <a:gd name="connsiteX1299" fmla="*/ 759354 w 11725275"/>
              <a:gd name="connsiteY1299" fmla="*/ 691356 h 2405063"/>
              <a:gd name="connsiteX1300" fmla="*/ 782638 w 11725275"/>
              <a:gd name="connsiteY1300" fmla="*/ 690563 h 2405063"/>
              <a:gd name="connsiteX1301" fmla="*/ 806979 w 11725275"/>
              <a:gd name="connsiteY1301" fmla="*/ 691356 h 2405063"/>
              <a:gd name="connsiteX1302" fmla="*/ 832380 w 11725275"/>
              <a:gd name="connsiteY1302" fmla="*/ 692150 h 2405063"/>
              <a:gd name="connsiteX1303" fmla="*/ 862542 w 11725275"/>
              <a:gd name="connsiteY1303" fmla="*/ 694531 h 2405063"/>
              <a:gd name="connsiteX1304" fmla="*/ 867833 w 11725275"/>
              <a:gd name="connsiteY1304" fmla="*/ 696119 h 2405063"/>
              <a:gd name="connsiteX1305" fmla="*/ 870480 w 11725275"/>
              <a:gd name="connsiteY1305" fmla="*/ 696913 h 2405063"/>
              <a:gd name="connsiteX1306" fmla="*/ 881063 w 11725275"/>
              <a:gd name="connsiteY1306" fmla="*/ 697706 h 2405063"/>
              <a:gd name="connsiteX1307" fmla="*/ 910167 w 11725275"/>
              <a:gd name="connsiteY1307" fmla="*/ 700088 h 2405063"/>
              <a:gd name="connsiteX1308" fmla="*/ 923396 w 11725275"/>
              <a:gd name="connsiteY1308" fmla="*/ 700088 h 2405063"/>
              <a:gd name="connsiteX1309" fmla="*/ 937154 w 11725275"/>
              <a:gd name="connsiteY1309" fmla="*/ 701675 h 2405063"/>
              <a:gd name="connsiteX1310" fmla="*/ 952500 w 11725275"/>
              <a:gd name="connsiteY1310" fmla="*/ 702469 h 2405063"/>
              <a:gd name="connsiteX1311" fmla="*/ 967846 w 11725275"/>
              <a:gd name="connsiteY1311" fmla="*/ 702469 h 2405063"/>
              <a:gd name="connsiteX1312" fmla="*/ 984250 w 11725275"/>
              <a:gd name="connsiteY1312" fmla="*/ 702469 h 2405063"/>
              <a:gd name="connsiteX1313" fmla="*/ 999596 w 11725275"/>
              <a:gd name="connsiteY1313" fmla="*/ 703263 h 2405063"/>
              <a:gd name="connsiteX1314" fmla="*/ 1014413 w 11725275"/>
              <a:gd name="connsiteY1314" fmla="*/ 703263 h 2405063"/>
              <a:gd name="connsiteX1315" fmla="*/ 1027642 w 11725275"/>
              <a:gd name="connsiteY1315" fmla="*/ 704057 h 2405063"/>
              <a:gd name="connsiteX1316" fmla="*/ 1058334 w 11725275"/>
              <a:gd name="connsiteY1316" fmla="*/ 703263 h 2405063"/>
              <a:gd name="connsiteX1317" fmla="*/ 1101196 w 11725275"/>
              <a:gd name="connsiteY1317" fmla="*/ 702469 h 2405063"/>
              <a:gd name="connsiteX1318" fmla="*/ 1151996 w 11725275"/>
              <a:gd name="connsiteY1318" fmla="*/ 699294 h 2405063"/>
              <a:gd name="connsiteX1319" fmla="*/ 1206500 w 11725275"/>
              <a:gd name="connsiteY1319" fmla="*/ 696119 h 2405063"/>
              <a:gd name="connsiteX1320" fmla="*/ 1261004 w 11725275"/>
              <a:gd name="connsiteY1320" fmla="*/ 691356 h 2405063"/>
              <a:gd name="connsiteX1321" fmla="*/ 1311804 w 11725275"/>
              <a:gd name="connsiteY1321" fmla="*/ 686594 h 2405063"/>
              <a:gd name="connsiteX1322" fmla="*/ 1334559 w 11725275"/>
              <a:gd name="connsiteY1322" fmla="*/ 683419 h 2405063"/>
              <a:gd name="connsiteX1323" fmla="*/ 1355196 w 11725275"/>
              <a:gd name="connsiteY1323" fmla="*/ 681038 h 2405063"/>
              <a:gd name="connsiteX1324" fmla="*/ 1372659 w 11725275"/>
              <a:gd name="connsiteY1324" fmla="*/ 677863 h 2405063"/>
              <a:gd name="connsiteX1325" fmla="*/ 1386417 w 11725275"/>
              <a:gd name="connsiteY1325" fmla="*/ 675481 h 2405063"/>
              <a:gd name="connsiteX1326" fmla="*/ 1395413 w 11725275"/>
              <a:gd name="connsiteY1326" fmla="*/ 681832 h 2405063"/>
              <a:gd name="connsiteX1327" fmla="*/ 1394354 w 11725275"/>
              <a:gd name="connsiteY1327" fmla="*/ 681832 h 2405063"/>
              <a:gd name="connsiteX1328" fmla="*/ 1391709 w 11725275"/>
              <a:gd name="connsiteY1328" fmla="*/ 682625 h 2405063"/>
              <a:gd name="connsiteX1329" fmla="*/ 1388004 w 11725275"/>
              <a:gd name="connsiteY1329" fmla="*/ 686594 h 2405063"/>
              <a:gd name="connsiteX1330" fmla="*/ 1383771 w 11725275"/>
              <a:gd name="connsiteY1330" fmla="*/ 692944 h 2405063"/>
              <a:gd name="connsiteX1331" fmla="*/ 1381125 w 11725275"/>
              <a:gd name="connsiteY1331" fmla="*/ 693738 h 2405063"/>
              <a:gd name="connsiteX1332" fmla="*/ 1374246 w 11725275"/>
              <a:gd name="connsiteY1332" fmla="*/ 693738 h 2405063"/>
              <a:gd name="connsiteX1333" fmla="*/ 1365250 w 11725275"/>
              <a:gd name="connsiteY1333" fmla="*/ 694531 h 2405063"/>
              <a:gd name="connsiteX1334" fmla="*/ 1357313 w 11725275"/>
              <a:gd name="connsiteY1334" fmla="*/ 696119 h 2405063"/>
              <a:gd name="connsiteX1335" fmla="*/ 1354138 w 11725275"/>
              <a:gd name="connsiteY1335" fmla="*/ 696913 h 2405063"/>
              <a:gd name="connsiteX1336" fmla="*/ 1352021 w 11725275"/>
              <a:gd name="connsiteY1336" fmla="*/ 697706 h 2405063"/>
              <a:gd name="connsiteX1337" fmla="*/ 1351492 w 11725275"/>
              <a:gd name="connsiteY1337" fmla="*/ 698500 h 2405063"/>
              <a:gd name="connsiteX1338" fmla="*/ 1350434 w 11725275"/>
              <a:gd name="connsiteY1338" fmla="*/ 698500 h 2405063"/>
              <a:gd name="connsiteX1339" fmla="*/ 1351492 w 11725275"/>
              <a:gd name="connsiteY1339" fmla="*/ 699294 h 2405063"/>
              <a:gd name="connsiteX1340" fmla="*/ 1351492 w 11725275"/>
              <a:gd name="connsiteY1340" fmla="*/ 700088 h 2405063"/>
              <a:gd name="connsiteX1341" fmla="*/ 1353609 w 11725275"/>
              <a:gd name="connsiteY1341" fmla="*/ 701675 h 2405063"/>
              <a:gd name="connsiteX1342" fmla="*/ 1358900 w 11725275"/>
              <a:gd name="connsiteY1342" fmla="*/ 703263 h 2405063"/>
              <a:gd name="connsiteX1343" fmla="*/ 1365250 w 11725275"/>
              <a:gd name="connsiteY1343" fmla="*/ 704850 h 2405063"/>
              <a:gd name="connsiteX1344" fmla="*/ 1374775 w 11725275"/>
              <a:gd name="connsiteY1344" fmla="*/ 707231 h 2405063"/>
              <a:gd name="connsiteX1345" fmla="*/ 1376363 w 11725275"/>
              <a:gd name="connsiteY1345" fmla="*/ 707231 h 2405063"/>
              <a:gd name="connsiteX1346" fmla="*/ 1376363 w 11725275"/>
              <a:gd name="connsiteY1346" fmla="*/ 708025 h 2405063"/>
              <a:gd name="connsiteX1347" fmla="*/ 1375304 w 11725275"/>
              <a:gd name="connsiteY1347" fmla="*/ 708819 h 2405063"/>
              <a:gd name="connsiteX1348" fmla="*/ 1374246 w 11725275"/>
              <a:gd name="connsiteY1348" fmla="*/ 709613 h 2405063"/>
              <a:gd name="connsiteX1349" fmla="*/ 1371071 w 11725275"/>
              <a:gd name="connsiteY1349" fmla="*/ 711994 h 2405063"/>
              <a:gd name="connsiteX1350" fmla="*/ 1368954 w 11725275"/>
              <a:gd name="connsiteY1350" fmla="*/ 714375 h 2405063"/>
              <a:gd name="connsiteX1351" fmla="*/ 1406525 w 11725275"/>
              <a:gd name="connsiteY1351" fmla="*/ 709613 h 2405063"/>
              <a:gd name="connsiteX1352" fmla="*/ 1424517 w 11725275"/>
              <a:gd name="connsiteY1352" fmla="*/ 708025 h 2405063"/>
              <a:gd name="connsiteX1353" fmla="*/ 1427012 w 11725275"/>
              <a:gd name="connsiteY1353" fmla="*/ 707685 h 2405063"/>
              <a:gd name="connsiteX1354" fmla="*/ 1426104 w 11725275"/>
              <a:gd name="connsiteY1354" fmla="*/ 708025 h 2405063"/>
              <a:gd name="connsiteX1355" fmla="*/ 1424517 w 11725275"/>
              <a:gd name="connsiteY1355" fmla="*/ 708819 h 2405063"/>
              <a:gd name="connsiteX1356" fmla="*/ 1424517 w 11725275"/>
              <a:gd name="connsiteY1356" fmla="*/ 709613 h 2405063"/>
              <a:gd name="connsiteX1357" fmla="*/ 1424517 w 11725275"/>
              <a:gd name="connsiteY1357" fmla="*/ 710407 h 2405063"/>
              <a:gd name="connsiteX1358" fmla="*/ 1426104 w 11725275"/>
              <a:gd name="connsiteY1358" fmla="*/ 711994 h 2405063"/>
              <a:gd name="connsiteX1359" fmla="*/ 1429809 w 11725275"/>
              <a:gd name="connsiteY1359" fmla="*/ 712788 h 2405063"/>
              <a:gd name="connsiteX1360" fmla="*/ 1437217 w 11725275"/>
              <a:gd name="connsiteY1360" fmla="*/ 714375 h 2405063"/>
              <a:gd name="connsiteX1361" fmla="*/ 1448859 w 11725275"/>
              <a:gd name="connsiteY1361" fmla="*/ 715169 h 2405063"/>
              <a:gd name="connsiteX1362" fmla="*/ 1464204 w 11725275"/>
              <a:gd name="connsiteY1362" fmla="*/ 717550 h 2405063"/>
              <a:gd name="connsiteX1363" fmla="*/ 1764771 w 11725275"/>
              <a:gd name="connsiteY1363" fmla="*/ 698500 h 2405063"/>
              <a:gd name="connsiteX1364" fmla="*/ 1728259 w 11725275"/>
              <a:gd name="connsiteY1364" fmla="*/ 687388 h 2405063"/>
              <a:gd name="connsiteX1365" fmla="*/ 1701800 w 11725275"/>
              <a:gd name="connsiteY1365" fmla="*/ 681038 h 2405063"/>
              <a:gd name="connsiteX1366" fmla="*/ 1683809 w 11725275"/>
              <a:gd name="connsiteY1366" fmla="*/ 677069 h 2405063"/>
              <a:gd name="connsiteX1367" fmla="*/ 1669521 w 11725275"/>
              <a:gd name="connsiteY1367" fmla="*/ 675481 h 2405063"/>
              <a:gd name="connsiteX1368" fmla="*/ 1655234 w 11725275"/>
              <a:gd name="connsiteY1368" fmla="*/ 674688 h 2405063"/>
              <a:gd name="connsiteX1369" fmla="*/ 1639359 w 11725275"/>
              <a:gd name="connsiteY1369" fmla="*/ 673100 h 2405063"/>
              <a:gd name="connsiteX1370" fmla="*/ 1616075 w 11725275"/>
              <a:gd name="connsiteY1370" fmla="*/ 671513 h 2405063"/>
              <a:gd name="connsiteX1371" fmla="*/ 1582209 w 11725275"/>
              <a:gd name="connsiteY1371" fmla="*/ 669131 h 2405063"/>
              <a:gd name="connsiteX1372" fmla="*/ 1578504 w 11725275"/>
              <a:gd name="connsiteY1372" fmla="*/ 667544 h 2405063"/>
              <a:gd name="connsiteX1373" fmla="*/ 1574800 w 11725275"/>
              <a:gd name="connsiteY1373" fmla="*/ 666750 h 2405063"/>
              <a:gd name="connsiteX1374" fmla="*/ 1553634 w 11725275"/>
              <a:gd name="connsiteY1374" fmla="*/ 664369 h 2405063"/>
              <a:gd name="connsiteX1375" fmla="*/ 1527175 w 11725275"/>
              <a:gd name="connsiteY1375" fmla="*/ 661194 h 2405063"/>
              <a:gd name="connsiteX1376" fmla="*/ 1497013 w 11725275"/>
              <a:gd name="connsiteY1376" fmla="*/ 658813 h 2405063"/>
              <a:gd name="connsiteX1377" fmla="*/ 1462617 w 11725275"/>
              <a:gd name="connsiteY1377" fmla="*/ 656431 h 2405063"/>
              <a:gd name="connsiteX1378" fmla="*/ 1426104 w 11725275"/>
              <a:gd name="connsiteY1378" fmla="*/ 654050 h 2405063"/>
              <a:gd name="connsiteX1379" fmla="*/ 1387475 w 11725275"/>
              <a:gd name="connsiteY1379" fmla="*/ 651669 h 2405063"/>
              <a:gd name="connsiteX1380" fmla="*/ 1346729 w 11725275"/>
              <a:gd name="connsiteY1380" fmla="*/ 650081 h 2405063"/>
              <a:gd name="connsiteX1381" fmla="*/ 1306513 w 11725275"/>
              <a:gd name="connsiteY1381" fmla="*/ 648494 h 2405063"/>
              <a:gd name="connsiteX1382" fmla="*/ 1265767 w 11725275"/>
              <a:gd name="connsiteY1382" fmla="*/ 646113 h 2405063"/>
              <a:gd name="connsiteX1383" fmla="*/ 1226079 w 11725275"/>
              <a:gd name="connsiteY1383" fmla="*/ 645319 h 2405063"/>
              <a:gd name="connsiteX1384" fmla="*/ 1187979 w 11725275"/>
              <a:gd name="connsiteY1384" fmla="*/ 643732 h 2405063"/>
              <a:gd name="connsiteX1385" fmla="*/ 1152525 w 11725275"/>
              <a:gd name="connsiteY1385" fmla="*/ 642938 h 2405063"/>
              <a:gd name="connsiteX1386" fmla="*/ 1120246 w 11725275"/>
              <a:gd name="connsiteY1386" fmla="*/ 642144 h 2405063"/>
              <a:gd name="connsiteX1387" fmla="*/ 1091671 w 11725275"/>
              <a:gd name="connsiteY1387" fmla="*/ 640556 h 2405063"/>
              <a:gd name="connsiteX1388" fmla="*/ 1068388 w 11725275"/>
              <a:gd name="connsiteY1388" fmla="*/ 640556 h 2405063"/>
              <a:gd name="connsiteX1389" fmla="*/ 1050396 w 11725275"/>
              <a:gd name="connsiteY1389" fmla="*/ 640556 h 2405063"/>
              <a:gd name="connsiteX1390" fmla="*/ 891646 w 11725275"/>
              <a:gd name="connsiteY1390" fmla="*/ 640556 h 2405063"/>
              <a:gd name="connsiteX1391" fmla="*/ 759354 w 11725275"/>
              <a:gd name="connsiteY1391" fmla="*/ 640556 h 2405063"/>
              <a:gd name="connsiteX1392" fmla="*/ 650875 w 11725275"/>
              <a:gd name="connsiteY1392" fmla="*/ 639763 h 2405063"/>
              <a:gd name="connsiteX1393" fmla="*/ 561975 w 11725275"/>
              <a:gd name="connsiteY1393" fmla="*/ 638969 h 2405063"/>
              <a:gd name="connsiteX1394" fmla="*/ 492654 w 11725275"/>
              <a:gd name="connsiteY1394" fmla="*/ 637382 h 2405063"/>
              <a:gd name="connsiteX1395" fmla="*/ 438150 w 11725275"/>
              <a:gd name="connsiteY1395" fmla="*/ 634206 h 2405063"/>
              <a:gd name="connsiteX1396" fmla="*/ 415396 w 11725275"/>
              <a:gd name="connsiteY1396" fmla="*/ 632619 h 2405063"/>
              <a:gd name="connsiteX1397" fmla="*/ 396346 w 11725275"/>
              <a:gd name="connsiteY1397" fmla="*/ 630238 h 2405063"/>
              <a:gd name="connsiteX1398" fmla="*/ 380471 w 11725275"/>
              <a:gd name="connsiteY1398" fmla="*/ 628650 h 2405063"/>
              <a:gd name="connsiteX1399" fmla="*/ 365654 w 11725275"/>
              <a:gd name="connsiteY1399" fmla="*/ 627063 h 2405063"/>
              <a:gd name="connsiteX1400" fmla="*/ 353484 w 11725275"/>
              <a:gd name="connsiteY1400" fmla="*/ 623888 h 2405063"/>
              <a:gd name="connsiteX1401" fmla="*/ 342900 w 11725275"/>
              <a:gd name="connsiteY1401" fmla="*/ 621507 h 2405063"/>
              <a:gd name="connsiteX1402" fmla="*/ 333375 w 11725275"/>
              <a:gd name="connsiteY1402" fmla="*/ 618331 h 2405063"/>
              <a:gd name="connsiteX1403" fmla="*/ 325438 w 11725275"/>
              <a:gd name="connsiteY1403" fmla="*/ 615950 h 2405063"/>
              <a:gd name="connsiteX1404" fmla="*/ 310092 w 11725275"/>
              <a:gd name="connsiteY1404" fmla="*/ 608013 h 2405063"/>
              <a:gd name="connsiteX1405" fmla="*/ 295275 w 11725275"/>
              <a:gd name="connsiteY1405" fmla="*/ 600869 h 2405063"/>
              <a:gd name="connsiteX1406" fmla="*/ 278342 w 11725275"/>
              <a:gd name="connsiteY1406" fmla="*/ 591344 h 2405063"/>
              <a:gd name="connsiteX1407" fmla="*/ 255588 w 11725275"/>
              <a:gd name="connsiteY1407" fmla="*/ 581025 h 2405063"/>
              <a:gd name="connsiteX1408" fmla="*/ 242359 w 11725275"/>
              <a:gd name="connsiteY1408" fmla="*/ 575469 h 2405063"/>
              <a:gd name="connsiteX1409" fmla="*/ 226484 w 11725275"/>
              <a:gd name="connsiteY1409" fmla="*/ 569913 h 2405063"/>
              <a:gd name="connsiteX1410" fmla="*/ 207434 w 11725275"/>
              <a:gd name="connsiteY1410" fmla="*/ 563563 h 2405063"/>
              <a:gd name="connsiteX1411" fmla="*/ 186267 w 11725275"/>
              <a:gd name="connsiteY1411" fmla="*/ 557213 h 2405063"/>
              <a:gd name="connsiteX1412" fmla="*/ 188913 w 11725275"/>
              <a:gd name="connsiteY1412" fmla="*/ 542132 h 2405063"/>
              <a:gd name="connsiteX1413" fmla="*/ 190500 w 11725275"/>
              <a:gd name="connsiteY1413" fmla="*/ 534988 h 2405063"/>
              <a:gd name="connsiteX1414" fmla="*/ 191029 w 11725275"/>
              <a:gd name="connsiteY1414" fmla="*/ 531813 h 2405063"/>
              <a:gd name="connsiteX1415" fmla="*/ 192088 w 11725275"/>
              <a:gd name="connsiteY1415" fmla="*/ 531019 h 2405063"/>
              <a:gd name="connsiteX1416" fmla="*/ 192617 w 11725275"/>
              <a:gd name="connsiteY1416" fmla="*/ 530225 h 2405063"/>
              <a:gd name="connsiteX1417" fmla="*/ 193675 w 11725275"/>
              <a:gd name="connsiteY1417" fmla="*/ 530225 h 2405063"/>
              <a:gd name="connsiteX1418" fmla="*/ 194734 w 11725275"/>
              <a:gd name="connsiteY1418" fmla="*/ 531019 h 2405063"/>
              <a:gd name="connsiteX1419" fmla="*/ 197379 w 11725275"/>
              <a:gd name="connsiteY1419" fmla="*/ 531813 h 2405063"/>
              <a:gd name="connsiteX1420" fmla="*/ 198438 w 11725275"/>
              <a:gd name="connsiteY1420" fmla="*/ 531813 h 2405063"/>
              <a:gd name="connsiteX1421" fmla="*/ 200025 w 11725275"/>
              <a:gd name="connsiteY1421" fmla="*/ 531019 h 2405063"/>
              <a:gd name="connsiteX1422" fmla="*/ 202142 w 11725275"/>
              <a:gd name="connsiteY1422" fmla="*/ 530225 h 2405063"/>
              <a:gd name="connsiteX1423" fmla="*/ 204259 w 11725275"/>
              <a:gd name="connsiteY1423" fmla="*/ 527050 h 2405063"/>
              <a:gd name="connsiteX1424" fmla="*/ 217488 w 11725275"/>
              <a:gd name="connsiteY1424" fmla="*/ 514350 h 2405063"/>
              <a:gd name="connsiteX1425" fmla="*/ 220663 w 11725275"/>
              <a:gd name="connsiteY1425" fmla="*/ 511969 h 2405063"/>
              <a:gd name="connsiteX1426" fmla="*/ 222779 w 11725275"/>
              <a:gd name="connsiteY1426" fmla="*/ 511175 h 2405063"/>
              <a:gd name="connsiteX1427" fmla="*/ 223308 w 11725275"/>
              <a:gd name="connsiteY1427" fmla="*/ 509588 h 2405063"/>
              <a:gd name="connsiteX1428" fmla="*/ 224367 w 11725275"/>
              <a:gd name="connsiteY1428" fmla="*/ 508000 h 2405063"/>
              <a:gd name="connsiteX1429" fmla="*/ 139171 w 11725275"/>
              <a:gd name="connsiteY1429" fmla="*/ 488950 h 2405063"/>
              <a:gd name="connsiteX1430" fmla="*/ 152929 w 11725275"/>
              <a:gd name="connsiteY1430" fmla="*/ 483394 h 2405063"/>
              <a:gd name="connsiteX1431" fmla="*/ 161396 w 11725275"/>
              <a:gd name="connsiteY1431" fmla="*/ 478631 h 2405063"/>
              <a:gd name="connsiteX1432" fmla="*/ 161396 w 11725275"/>
              <a:gd name="connsiteY1432" fmla="*/ 477044 h 2405063"/>
              <a:gd name="connsiteX1433" fmla="*/ 161396 w 11725275"/>
              <a:gd name="connsiteY1433" fmla="*/ 473869 h 2405063"/>
              <a:gd name="connsiteX1434" fmla="*/ 159808 w 11725275"/>
              <a:gd name="connsiteY1434" fmla="*/ 470694 h 2405063"/>
              <a:gd name="connsiteX1435" fmla="*/ 157692 w 11725275"/>
              <a:gd name="connsiteY1435" fmla="*/ 465931 h 2405063"/>
              <a:gd name="connsiteX1436" fmla="*/ 149754 w 11725275"/>
              <a:gd name="connsiteY1436" fmla="*/ 451644 h 2405063"/>
              <a:gd name="connsiteX1437" fmla="*/ 136525 w 11725275"/>
              <a:gd name="connsiteY1437" fmla="*/ 431007 h 2405063"/>
              <a:gd name="connsiteX1438" fmla="*/ 127000 w 11725275"/>
              <a:gd name="connsiteY1438" fmla="*/ 418307 h 2405063"/>
              <a:gd name="connsiteX1439" fmla="*/ 121709 w 11725275"/>
              <a:gd name="connsiteY1439" fmla="*/ 411163 h 2405063"/>
              <a:gd name="connsiteX1440" fmla="*/ 120121 w 11725275"/>
              <a:gd name="connsiteY1440" fmla="*/ 407988 h 2405063"/>
              <a:gd name="connsiteX1441" fmla="*/ 119592 w 11725275"/>
              <a:gd name="connsiteY1441" fmla="*/ 407194 h 2405063"/>
              <a:gd name="connsiteX1442" fmla="*/ 118534 w 11725275"/>
              <a:gd name="connsiteY1442" fmla="*/ 404813 h 2405063"/>
              <a:gd name="connsiteX1443" fmla="*/ 119592 w 11725275"/>
              <a:gd name="connsiteY1443" fmla="*/ 404019 h 2405063"/>
              <a:gd name="connsiteX1444" fmla="*/ 121709 w 11725275"/>
              <a:gd name="connsiteY1444" fmla="*/ 402432 h 2405063"/>
              <a:gd name="connsiteX1445" fmla="*/ 124354 w 11725275"/>
              <a:gd name="connsiteY1445" fmla="*/ 397669 h 2405063"/>
              <a:gd name="connsiteX1446" fmla="*/ 127000 w 11725275"/>
              <a:gd name="connsiteY1446" fmla="*/ 393700 h 2405063"/>
              <a:gd name="connsiteX1447" fmla="*/ 129117 w 11725275"/>
              <a:gd name="connsiteY1447" fmla="*/ 388144 h 2405063"/>
              <a:gd name="connsiteX1448" fmla="*/ 130704 w 11725275"/>
              <a:gd name="connsiteY1448" fmla="*/ 381794 h 2405063"/>
              <a:gd name="connsiteX1449" fmla="*/ 132821 w 11725275"/>
              <a:gd name="connsiteY1449" fmla="*/ 372269 h 2405063"/>
              <a:gd name="connsiteX1450" fmla="*/ 463021 w 11725275"/>
              <a:gd name="connsiteY1450" fmla="*/ 355600 h 2405063"/>
              <a:gd name="connsiteX1451" fmla="*/ 503238 w 11725275"/>
              <a:gd name="connsiteY1451" fmla="*/ 354013 h 2405063"/>
              <a:gd name="connsiteX1452" fmla="*/ 535517 w 11725275"/>
              <a:gd name="connsiteY1452" fmla="*/ 350838 h 2405063"/>
              <a:gd name="connsiteX1453" fmla="*/ 560388 w 11725275"/>
              <a:gd name="connsiteY1453" fmla="*/ 349250 h 2405063"/>
              <a:gd name="connsiteX1454" fmla="*/ 579438 w 11725275"/>
              <a:gd name="connsiteY1454" fmla="*/ 347663 h 2405063"/>
              <a:gd name="connsiteX1455" fmla="*/ 594254 w 11725275"/>
              <a:gd name="connsiteY1455" fmla="*/ 346869 h 2405063"/>
              <a:gd name="connsiteX1456" fmla="*/ 604838 w 11725275"/>
              <a:gd name="connsiteY1456" fmla="*/ 345281 h 2405063"/>
              <a:gd name="connsiteX1457" fmla="*/ 611717 w 11725275"/>
              <a:gd name="connsiteY1457" fmla="*/ 345281 h 2405063"/>
              <a:gd name="connsiteX1458" fmla="*/ 617538 w 11725275"/>
              <a:gd name="connsiteY1458" fmla="*/ 346869 h 2405063"/>
              <a:gd name="connsiteX1459" fmla="*/ 622300 w 11725275"/>
              <a:gd name="connsiteY1459" fmla="*/ 347663 h 2405063"/>
              <a:gd name="connsiteX1460" fmla="*/ 627063 w 11725275"/>
              <a:gd name="connsiteY1460" fmla="*/ 349250 h 2405063"/>
              <a:gd name="connsiteX1461" fmla="*/ 633413 w 11725275"/>
              <a:gd name="connsiteY1461" fmla="*/ 352425 h 2405063"/>
              <a:gd name="connsiteX1462" fmla="*/ 641879 w 11725275"/>
              <a:gd name="connsiteY1462" fmla="*/ 356394 h 2405063"/>
              <a:gd name="connsiteX1463" fmla="*/ 652992 w 11725275"/>
              <a:gd name="connsiteY1463" fmla="*/ 361156 h 2405063"/>
              <a:gd name="connsiteX1464" fmla="*/ 668867 w 11725275"/>
              <a:gd name="connsiteY1464" fmla="*/ 366713 h 2405063"/>
              <a:gd name="connsiteX1465" fmla="*/ 689504 w 11725275"/>
              <a:gd name="connsiteY1465" fmla="*/ 374650 h 2405063"/>
              <a:gd name="connsiteX1466" fmla="*/ 717550 w 11725275"/>
              <a:gd name="connsiteY1466" fmla="*/ 382588 h 2405063"/>
              <a:gd name="connsiteX1467" fmla="*/ 735013 w 11725275"/>
              <a:gd name="connsiteY1467" fmla="*/ 372269 h 2405063"/>
              <a:gd name="connsiteX1468" fmla="*/ 750358 w 11725275"/>
              <a:gd name="connsiteY1468" fmla="*/ 364331 h 2405063"/>
              <a:gd name="connsiteX1469" fmla="*/ 764117 w 11725275"/>
              <a:gd name="connsiteY1469" fmla="*/ 357981 h 2405063"/>
              <a:gd name="connsiteX1470" fmla="*/ 778934 w 11725275"/>
              <a:gd name="connsiteY1470" fmla="*/ 352425 h 2405063"/>
              <a:gd name="connsiteX1471" fmla="*/ 787930 w 11725275"/>
              <a:gd name="connsiteY1471" fmla="*/ 349250 h 2405063"/>
              <a:gd name="connsiteX1472" fmla="*/ 796396 w 11725275"/>
              <a:gd name="connsiteY1472" fmla="*/ 347663 h 2405063"/>
              <a:gd name="connsiteX1473" fmla="*/ 806979 w 11725275"/>
              <a:gd name="connsiteY1473" fmla="*/ 345281 h 2405063"/>
              <a:gd name="connsiteX1474" fmla="*/ 818621 w 11725275"/>
              <a:gd name="connsiteY1474" fmla="*/ 344488 h 2405063"/>
              <a:gd name="connsiteX1475" fmla="*/ 845608 w 11725275"/>
              <a:gd name="connsiteY1475" fmla="*/ 342106 h 2405063"/>
              <a:gd name="connsiteX1476" fmla="*/ 881592 w 11725275"/>
              <a:gd name="connsiteY1476" fmla="*/ 341313 h 2405063"/>
              <a:gd name="connsiteX1477" fmla="*/ 863071 w 11725275"/>
              <a:gd name="connsiteY1477" fmla="*/ 369888 h 2405063"/>
              <a:gd name="connsiteX1478" fmla="*/ 897467 w 11725275"/>
              <a:gd name="connsiteY1478" fmla="*/ 366713 h 2405063"/>
              <a:gd name="connsiteX1479" fmla="*/ 921809 w 11725275"/>
              <a:gd name="connsiteY1479" fmla="*/ 365125 h 2405063"/>
              <a:gd name="connsiteX1480" fmla="*/ 940330 w 11725275"/>
              <a:gd name="connsiteY1480" fmla="*/ 365125 h 2405063"/>
              <a:gd name="connsiteX1481" fmla="*/ 955675 w 11725275"/>
              <a:gd name="connsiteY1481" fmla="*/ 365919 h 2405063"/>
              <a:gd name="connsiteX1482" fmla="*/ 970492 w 11725275"/>
              <a:gd name="connsiteY1482" fmla="*/ 365919 h 2405063"/>
              <a:gd name="connsiteX1483" fmla="*/ 989542 w 11725275"/>
              <a:gd name="connsiteY1483" fmla="*/ 365125 h 2405063"/>
              <a:gd name="connsiteX1484" fmla="*/ 1014413 w 11725275"/>
              <a:gd name="connsiteY1484" fmla="*/ 363538 h 2405063"/>
              <a:gd name="connsiteX1485" fmla="*/ 1049338 w 11725275"/>
              <a:gd name="connsiteY1485" fmla="*/ 357981 h 2405063"/>
              <a:gd name="connsiteX1486" fmla="*/ 1087438 w 11725275"/>
              <a:gd name="connsiteY1486" fmla="*/ 353219 h 2405063"/>
              <a:gd name="connsiteX1487" fmla="*/ 1130829 w 11725275"/>
              <a:gd name="connsiteY1487" fmla="*/ 349250 h 2405063"/>
              <a:gd name="connsiteX1488" fmla="*/ 1178454 w 11725275"/>
              <a:gd name="connsiteY1488" fmla="*/ 345281 h 2405063"/>
              <a:gd name="connsiteX1489" fmla="*/ 1227667 w 11725275"/>
              <a:gd name="connsiteY1489" fmla="*/ 342900 h 2405063"/>
              <a:gd name="connsiteX1490" fmla="*/ 1276350 w 11725275"/>
              <a:gd name="connsiteY1490" fmla="*/ 342106 h 2405063"/>
              <a:gd name="connsiteX1491" fmla="*/ 1323975 w 11725275"/>
              <a:gd name="connsiteY1491" fmla="*/ 342106 h 2405063"/>
              <a:gd name="connsiteX1492" fmla="*/ 1368425 w 11725275"/>
              <a:gd name="connsiteY1492" fmla="*/ 342900 h 2405063"/>
              <a:gd name="connsiteX1493" fmla="*/ 1406525 w 11725275"/>
              <a:gd name="connsiteY1493" fmla="*/ 344488 h 2405063"/>
              <a:gd name="connsiteX1494" fmla="*/ 1416579 w 11725275"/>
              <a:gd name="connsiteY1494" fmla="*/ 345281 h 2405063"/>
              <a:gd name="connsiteX1495" fmla="*/ 1425575 w 11725275"/>
              <a:gd name="connsiteY1495" fmla="*/ 347663 h 2405063"/>
              <a:gd name="connsiteX1496" fmla="*/ 1433513 w 11725275"/>
              <a:gd name="connsiteY1496" fmla="*/ 349250 h 2405063"/>
              <a:gd name="connsiteX1497" fmla="*/ 1439863 w 11725275"/>
              <a:gd name="connsiteY1497" fmla="*/ 350838 h 2405063"/>
              <a:gd name="connsiteX1498" fmla="*/ 1450975 w 11725275"/>
              <a:gd name="connsiteY1498" fmla="*/ 355600 h 2405063"/>
              <a:gd name="connsiteX1499" fmla="*/ 1462088 w 11725275"/>
              <a:gd name="connsiteY1499" fmla="*/ 360363 h 2405063"/>
              <a:gd name="connsiteX1500" fmla="*/ 1473200 w 11725275"/>
              <a:gd name="connsiteY1500" fmla="*/ 365919 h 2405063"/>
              <a:gd name="connsiteX1501" fmla="*/ 1487488 w 11725275"/>
              <a:gd name="connsiteY1501" fmla="*/ 370681 h 2405063"/>
              <a:gd name="connsiteX1502" fmla="*/ 1496484 w 11725275"/>
              <a:gd name="connsiteY1502" fmla="*/ 373856 h 2405063"/>
              <a:gd name="connsiteX1503" fmla="*/ 1506538 w 11725275"/>
              <a:gd name="connsiteY1503" fmla="*/ 375444 h 2405063"/>
              <a:gd name="connsiteX1504" fmla="*/ 1518179 w 11725275"/>
              <a:gd name="connsiteY1504" fmla="*/ 377031 h 2405063"/>
              <a:gd name="connsiteX1505" fmla="*/ 1532467 w 11725275"/>
              <a:gd name="connsiteY1505" fmla="*/ 379413 h 2405063"/>
              <a:gd name="connsiteX1506" fmla="*/ 1538817 w 11725275"/>
              <a:gd name="connsiteY1506" fmla="*/ 350838 h 2405063"/>
              <a:gd name="connsiteX1507" fmla="*/ 1542521 w 11725275"/>
              <a:gd name="connsiteY1507" fmla="*/ 346869 h 2405063"/>
              <a:gd name="connsiteX1508" fmla="*/ 1547813 w 11725275"/>
              <a:gd name="connsiteY1508" fmla="*/ 343694 h 2405063"/>
              <a:gd name="connsiteX1509" fmla="*/ 1553104 w 11725275"/>
              <a:gd name="connsiteY1509" fmla="*/ 341313 h 2405063"/>
              <a:gd name="connsiteX1510" fmla="*/ 1558925 w 11725275"/>
              <a:gd name="connsiteY1510" fmla="*/ 338931 h 2405063"/>
              <a:gd name="connsiteX1511" fmla="*/ 1572684 w 11725275"/>
              <a:gd name="connsiteY1511" fmla="*/ 337344 h 2405063"/>
              <a:gd name="connsiteX1512" fmla="*/ 1588029 w 11725275"/>
              <a:gd name="connsiteY1512" fmla="*/ 336550 h 2405063"/>
              <a:gd name="connsiteX1513" fmla="*/ 1605492 w 11725275"/>
              <a:gd name="connsiteY1513" fmla="*/ 336550 h 2405063"/>
              <a:gd name="connsiteX1514" fmla="*/ 1622954 w 11725275"/>
              <a:gd name="connsiteY1514" fmla="*/ 336550 h 2405063"/>
              <a:gd name="connsiteX1515" fmla="*/ 1642534 w 11725275"/>
              <a:gd name="connsiteY1515" fmla="*/ 334169 h 2405063"/>
              <a:gd name="connsiteX1516" fmla="*/ 1660525 w 11725275"/>
              <a:gd name="connsiteY1516" fmla="*/ 331788 h 2405063"/>
              <a:gd name="connsiteX1517" fmla="*/ 1675342 w 11725275"/>
              <a:gd name="connsiteY1517" fmla="*/ 327819 h 2405063"/>
              <a:gd name="connsiteX1518" fmla="*/ 1680634 w 11725275"/>
              <a:gd name="connsiteY1518" fmla="*/ 325438 h 2405063"/>
              <a:gd name="connsiteX1519" fmla="*/ 1679575 w 11725275"/>
              <a:gd name="connsiteY1519" fmla="*/ 323056 h 2405063"/>
              <a:gd name="connsiteX1520" fmla="*/ 1677459 w 11725275"/>
              <a:gd name="connsiteY1520" fmla="*/ 323056 h 2405063"/>
              <a:gd name="connsiteX1521" fmla="*/ 1677988 w 11725275"/>
              <a:gd name="connsiteY1521" fmla="*/ 322263 h 2405063"/>
              <a:gd name="connsiteX1522" fmla="*/ 1684867 w 11725275"/>
              <a:gd name="connsiteY1522" fmla="*/ 321469 h 2405063"/>
              <a:gd name="connsiteX1523" fmla="*/ 1702329 w 11725275"/>
              <a:gd name="connsiteY1523" fmla="*/ 319881 h 2405063"/>
              <a:gd name="connsiteX1524" fmla="*/ 1734079 w 11725275"/>
              <a:gd name="connsiteY1524" fmla="*/ 315913 h 2405063"/>
              <a:gd name="connsiteX1525" fmla="*/ 1757892 w 11725275"/>
              <a:gd name="connsiteY1525" fmla="*/ 313531 h 2405063"/>
              <a:gd name="connsiteX1526" fmla="*/ 1778529 w 11725275"/>
              <a:gd name="connsiteY1526" fmla="*/ 313531 h 2405063"/>
              <a:gd name="connsiteX1527" fmla="*/ 1799167 w 11725275"/>
              <a:gd name="connsiteY1527" fmla="*/ 315913 h 2405063"/>
              <a:gd name="connsiteX1528" fmla="*/ 1818746 w 11725275"/>
              <a:gd name="connsiteY1528" fmla="*/ 317500 h 2405063"/>
              <a:gd name="connsiteX1529" fmla="*/ 1839913 w 11725275"/>
              <a:gd name="connsiteY1529" fmla="*/ 320675 h 2405063"/>
              <a:gd name="connsiteX1530" fmla="*/ 1864254 w 11725275"/>
              <a:gd name="connsiteY1530" fmla="*/ 322263 h 2405063"/>
              <a:gd name="connsiteX1531" fmla="*/ 1892829 w 11725275"/>
              <a:gd name="connsiteY1531" fmla="*/ 323850 h 2405063"/>
              <a:gd name="connsiteX1532" fmla="*/ 1925638 w 11725275"/>
              <a:gd name="connsiteY1532" fmla="*/ 323850 h 2405063"/>
              <a:gd name="connsiteX1533" fmla="*/ 1924579 w 11725275"/>
              <a:gd name="connsiteY1533" fmla="*/ 318294 h 2405063"/>
              <a:gd name="connsiteX1534" fmla="*/ 1922992 w 11725275"/>
              <a:gd name="connsiteY1534" fmla="*/ 311944 h 2405063"/>
              <a:gd name="connsiteX1535" fmla="*/ 1919817 w 11725275"/>
              <a:gd name="connsiteY1535" fmla="*/ 305594 h 2405063"/>
              <a:gd name="connsiteX1536" fmla="*/ 1917171 w 11725275"/>
              <a:gd name="connsiteY1536" fmla="*/ 298450 h 2405063"/>
              <a:gd name="connsiteX1537" fmla="*/ 1909234 w 11725275"/>
              <a:gd name="connsiteY1537" fmla="*/ 283369 h 2405063"/>
              <a:gd name="connsiteX1538" fmla="*/ 1898650 w 11725275"/>
              <a:gd name="connsiteY1538" fmla="*/ 266700 h 2405063"/>
              <a:gd name="connsiteX1539" fmla="*/ 1875896 w 11725275"/>
              <a:gd name="connsiteY1539" fmla="*/ 231775 h 2405063"/>
              <a:gd name="connsiteX1540" fmla="*/ 1853142 w 11725275"/>
              <a:gd name="connsiteY1540" fmla="*/ 195263 h 2405063"/>
              <a:gd name="connsiteX1541" fmla="*/ 1843088 w 11725275"/>
              <a:gd name="connsiteY1541" fmla="*/ 177006 h 2405063"/>
              <a:gd name="connsiteX1542" fmla="*/ 1834092 w 11725275"/>
              <a:gd name="connsiteY1542" fmla="*/ 160338 h 2405063"/>
              <a:gd name="connsiteX1543" fmla="*/ 1830388 w 11725275"/>
              <a:gd name="connsiteY1543" fmla="*/ 150813 h 2405063"/>
              <a:gd name="connsiteX1544" fmla="*/ 1827742 w 11725275"/>
              <a:gd name="connsiteY1544" fmla="*/ 143669 h 2405063"/>
              <a:gd name="connsiteX1545" fmla="*/ 1825625 w 11725275"/>
              <a:gd name="connsiteY1545" fmla="*/ 134938 h 2405063"/>
              <a:gd name="connsiteX1546" fmla="*/ 1824038 w 11725275"/>
              <a:gd name="connsiteY1546" fmla="*/ 127794 h 2405063"/>
              <a:gd name="connsiteX1547" fmla="*/ 1823509 w 11725275"/>
              <a:gd name="connsiteY1547" fmla="*/ 119856 h 2405063"/>
              <a:gd name="connsiteX1548" fmla="*/ 1823509 w 11725275"/>
              <a:gd name="connsiteY1548" fmla="*/ 112713 h 2405063"/>
              <a:gd name="connsiteX1549" fmla="*/ 1824038 w 11725275"/>
              <a:gd name="connsiteY1549" fmla="*/ 106363 h 2405063"/>
              <a:gd name="connsiteX1550" fmla="*/ 1826154 w 11725275"/>
              <a:gd name="connsiteY1550" fmla="*/ 100806 h 2405063"/>
              <a:gd name="connsiteX1551" fmla="*/ 1829329 w 11725275"/>
              <a:gd name="connsiteY1551" fmla="*/ 95250 h 2405063"/>
              <a:gd name="connsiteX1552" fmla="*/ 1833563 w 11725275"/>
              <a:gd name="connsiteY1552" fmla="*/ 89694 h 2405063"/>
              <a:gd name="connsiteX1553" fmla="*/ 1838854 w 11725275"/>
              <a:gd name="connsiteY1553" fmla="*/ 84931 h 2405063"/>
              <a:gd name="connsiteX1554" fmla="*/ 1845204 w 11725275"/>
              <a:gd name="connsiteY1554" fmla="*/ 80963 h 2405063"/>
              <a:gd name="connsiteX1555" fmla="*/ 1860021 w 11725275"/>
              <a:gd name="connsiteY1555" fmla="*/ 78581 h 2405063"/>
              <a:gd name="connsiteX1556" fmla="*/ 1882775 w 11725275"/>
              <a:gd name="connsiteY1556" fmla="*/ 76200 h 2405063"/>
              <a:gd name="connsiteX1557" fmla="*/ 1911879 w 11725275"/>
              <a:gd name="connsiteY1557" fmla="*/ 73819 h 2405063"/>
              <a:gd name="connsiteX1558" fmla="*/ 1947863 w 11725275"/>
              <a:gd name="connsiteY1558" fmla="*/ 70644 h 2405063"/>
              <a:gd name="connsiteX1559" fmla="*/ 1988079 w 11725275"/>
              <a:gd name="connsiteY1559" fmla="*/ 68263 h 2405063"/>
              <a:gd name="connsiteX1560" fmla="*/ 2031471 w 11725275"/>
              <a:gd name="connsiteY1560" fmla="*/ 65881 h 2405063"/>
              <a:gd name="connsiteX1561" fmla="*/ 2078567 w 11725275"/>
              <a:gd name="connsiteY1561" fmla="*/ 63500 h 2405063"/>
              <a:gd name="connsiteX1562" fmla="*/ 2126192 w 11725275"/>
              <a:gd name="connsiteY1562" fmla="*/ 61119 h 2405063"/>
              <a:gd name="connsiteX1563" fmla="*/ 2173817 w 11725275"/>
              <a:gd name="connsiteY1563" fmla="*/ 59531 h 2405063"/>
              <a:gd name="connsiteX1564" fmla="*/ 2220384 w 11725275"/>
              <a:gd name="connsiteY1564" fmla="*/ 58738 h 2405063"/>
              <a:gd name="connsiteX1565" fmla="*/ 2265363 w 11725275"/>
              <a:gd name="connsiteY1565" fmla="*/ 57150 h 2405063"/>
              <a:gd name="connsiteX1566" fmla="*/ 2307167 w 11725275"/>
              <a:gd name="connsiteY1566" fmla="*/ 57150 h 2405063"/>
              <a:gd name="connsiteX1567" fmla="*/ 2344209 w 11725275"/>
              <a:gd name="connsiteY1567" fmla="*/ 55563 h 2405063"/>
              <a:gd name="connsiteX1568" fmla="*/ 2375959 w 11725275"/>
              <a:gd name="connsiteY1568" fmla="*/ 55563 h 2405063"/>
              <a:gd name="connsiteX1569" fmla="*/ 2400830 w 11725275"/>
              <a:gd name="connsiteY1569" fmla="*/ 57150 h 2405063"/>
              <a:gd name="connsiteX1570" fmla="*/ 2418292 w 11725275"/>
              <a:gd name="connsiteY1570" fmla="*/ 57944 h 2405063"/>
              <a:gd name="connsiteX1571" fmla="*/ 2430992 w 11725275"/>
              <a:gd name="connsiteY1571" fmla="*/ 59531 h 2405063"/>
              <a:gd name="connsiteX1572" fmla="*/ 2440517 w 11725275"/>
              <a:gd name="connsiteY1572" fmla="*/ 61119 h 2405063"/>
              <a:gd name="connsiteX1573" fmla="*/ 2446867 w 11725275"/>
              <a:gd name="connsiteY1573" fmla="*/ 63500 h 2405063"/>
              <a:gd name="connsiteX1574" fmla="*/ 2451100 w 11725275"/>
              <a:gd name="connsiteY1574" fmla="*/ 64294 h 2405063"/>
              <a:gd name="connsiteX1575" fmla="*/ 2454805 w 11725275"/>
              <a:gd name="connsiteY1575" fmla="*/ 66675 h 2405063"/>
              <a:gd name="connsiteX1576" fmla="*/ 2456921 w 11725275"/>
              <a:gd name="connsiteY1576" fmla="*/ 69056 h 2405063"/>
              <a:gd name="connsiteX1577" fmla="*/ 2460625 w 11725275"/>
              <a:gd name="connsiteY1577" fmla="*/ 69056 h 2405063"/>
              <a:gd name="connsiteX1578" fmla="*/ 2471738 w 11725275"/>
              <a:gd name="connsiteY1578" fmla="*/ 68263 h 2405063"/>
              <a:gd name="connsiteX1579" fmla="*/ 2494492 w 11725275"/>
              <a:gd name="connsiteY1579" fmla="*/ 65088 h 2405063"/>
              <a:gd name="connsiteX1580" fmla="*/ 2532592 w 11725275"/>
              <a:gd name="connsiteY1580" fmla="*/ 60325 h 2405063"/>
              <a:gd name="connsiteX1581" fmla="*/ 2578100 w 11725275"/>
              <a:gd name="connsiteY1581" fmla="*/ 55563 h 2405063"/>
              <a:gd name="connsiteX1582" fmla="*/ 2619905 w 11725275"/>
              <a:gd name="connsiteY1582" fmla="*/ 53181 h 2405063"/>
              <a:gd name="connsiteX1583" fmla="*/ 2658005 w 11725275"/>
              <a:gd name="connsiteY1583" fmla="*/ 51594 h 2405063"/>
              <a:gd name="connsiteX1584" fmla="*/ 2692930 w 11725275"/>
              <a:gd name="connsiteY1584" fmla="*/ 51594 h 2405063"/>
              <a:gd name="connsiteX1585" fmla="*/ 2726267 w 11725275"/>
              <a:gd name="connsiteY1585" fmla="*/ 52388 h 2405063"/>
              <a:gd name="connsiteX1586" fmla="*/ 2757488 w 11725275"/>
              <a:gd name="connsiteY1586" fmla="*/ 53181 h 2405063"/>
              <a:gd name="connsiteX1587" fmla="*/ 2787650 w 11725275"/>
              <a:gd name="connsiteY1587" fmla="*/ 54769 h 2405063"/>
              <a:gd name="connsiteX1588" fmla="*/ 2818342 w 11725275"/>
              <a:gd name="connsiteY1588" fmla="*/ 57150 h 2405063"/>
              <a:gd name="connsiteX1589" fmla="*/ 2848505 w 11725275"/>
              <a:gd name="connsiteY1589" fmla="*/ 58738 h 2405063"/>
              <a:gd name="connsiteX1590" fmla="*/ 2880783 w 11725275"/>
              <a:gd name="connsiteY1590" fmla="*/ 60325 h 2405063"/>
              <a:gd name="connsiteX1591" fmla="*/ 2913592 w 11725275"/>
              <a:gd name="connsiteY1591" fmla="*/ 61119 h 2405063"/>
              <a:gd name="connsiteX1592" fmla="*/ 2949575 w 11725275"/>
              <a:gd name="connsiteY1592" fmla="*/ 61119 h 2405063"/>
              <a:gd name="connsiteX1593" fmla="*/ 2988733 w 11725275"/>
              <a:gd name="connsiteY1593" fmla="*/ 60325 h 2405063"/>
              <a:gd name="connsiteX1594" fmla="*/ 3031067 w 11725275"/>
              <a:gd name="connsiteY1594" fmla="*/ 58738 h 2405063"/>
              <a:gd name="connsiteX1595" fmla="*/ 3077105 w 11725275"/>
              <a:gd name="connsiteY1595" fmla="*/ 54769 h 2405063"/>
              <a:gd name="connsiteX1596" fmla="*/ 3128434 w 11725275"/>
              <a:gd name="connsiteY1596" fmla="*/ 48419 h 2405063"/>
              <a:gd name="connsiteX1597" fmla="*/ 3179763 w 11725275"/>
              <a:gd name="connsiteY1597" fmla="*/ 42863 h 2405063"/>
              <a:gd name="connsiteX1598" fmla="*/ 3227917 w 11725275"/>
              <a:gd name="connsiteY1598" fmla="*/ 38100 h 2405063"/>
              <a:gd name="connsiteX1599" fmla="*/ 3272896 w 11725275"/>
              <a:gd name="connsiteY1599" fmla="*/ 34131 h 2405063"/>
              <a:gd name="connsiteX1600" fmla="*/ 3313642 w 11725275"/>
              <a:gd name="connsiteY1600" fmla="*/ 32544 h 2405063"/>
              <a:gd name="connsiteX1601" fmla="*/ 3351742 w 11725275"/>
              <a:gd name="connsiteY1601" fmla="*/ 30956 h 2405063"/>
              <a:gd name="connsiteX1602" fmla="*/ 3387196 w 11725275"/>
              <a:gd name="connsiteY1602" fmla="*/ 30163 h 2405063"/>
              <a:gd name="connsiteX1603" fmla="*/ 3418417 w 11725275"/>
              <a:gd name="connsiteY1603" fmla="*/ 30163 h 2405063"/>
              <a:gd name="connsiteX1604" fmla="*/ 3448050 w 11725275"/>
              <a:gd name="connsiteY1604" fmla="*/ 30956 h 2405063"/>
              <a:gd name="connsiteX1605" fmla="*/ 3498321 w 11725275"/>
              <a:gd name="connsiteY1605" fmla="*/ 32544 h 2405063"/>
              <a:gd name="connsiteX1606" fmla="*/ 3539596 w 11725275"/>
              <a:gd name="connsiteY1606" fmla="*/ 35719 h 2405063"/>
              <a:gd name="connsiteX1607" fmla="*/ 3570288 w 11725275"/>
              <a:gd name="connsiteY1607" fmla="*/ 38100 h 2405063"/>
              <a:gd name="connsiteX1608" fmla="*/ 3593571 w 11725275"/>
              <a:gd name="connsiteY1608" fmla="*/ 38100 h 2405063"/>
              <a:gd name="connsiteX1609" fmla="*/ 3754438 w 11725275"/>
              <a:gd name="connsiteY1609" fmla="*/ 25400 h 2405063"/>
              <a:gd name="connsiteX1610" fmla="*/ 3793067 w 11725275"/>
              <a:gd name="connsiteY1610" fmla="*/ 22225 h 2405063"/>
              <a:gd name="connsiteX1611" fmla="*/ 3823230 w 11725275"/>
              <a:gd name="connsiteY1611" fmla="*/ 21431 h 2405063"/>
              <a:gd name="connsiteX1612" fmla="*/ 3845983 w 11725275"/>
              <a:gd name="connsiteY1612" fmla="*/ 20638 h 2405063"/>
              <a:gd name="connsiteX1613" fmla="*/ 3863446 w 11725275"/>
              <a:gd name="connsiteY1613" fmla="*/ 21431 h 2405063"/>
              <a:gd name="connsiteX1614" fmla="*/ 3878792 w 11725275"/>
              <a:gd name="connsiteY1614" fmla="*/ 22225 h 2405063"/>
              <a:gd name="connsiteX1615" fmla="*/ 3892550 w 11725275"/>
              <a:gd name="connsiteY1615" fmla="*/ 23019 h 2405063"/>
              <a:gd name="connsiteX1616" fmla="*/ 3908425 w 11725275"/>
              <a:gd name="connsiteY1616" fmla="*/ 26194 h 2405063"/>
              <a:gd name="connsiteX1617" fmla="*/ 3926417 w 11725275"/>
              <a:gd name="connsiteY1617" fmla="*/ 28575 h 2405063"/>
              <a:gd name="connsiteX1618" fmla="*/ 3941233 w 11725275"/>
              <a:gd name="connsiteY1618" fmla="*/ 30163 h 2405063"/>
              <a:gd name="connsiteX1619" fmla="*/ 3956050 w 11725275"/>
              <a:gd name="connsiteY1619" fmla="*/ 30163 h 2405063"/>
              <a:gd name="connsiteX1620" fmla="*/ 3971925 w 11725275"/>
              <a:gd name="connsiteY1620" fmla="*/ 27781 h 2405063"/>
              <a:gd name="connsiteX1621" fmla="*/ 3987800 w 11725275"/>
              <a:gd name="connsiteY1621" fmla="*/ 26194 h 2405063"/>
              <a:gd name="connsiteX1622" fmla="*/ 4006321 w 11725275"/>
              <a:gd name="connsiteY1622" fmla="*/ 24606 h 2405063"/>
              <a:gd name="connsiteX1623" fmla="*/ 4026429 w 11725275"/>
              <a:gd name="connsiteY1623" fmla="*/ 22225 h 2405063"/>
              <a:gd name="connsiteX1624" fmla="*/ 4048125 w 11725275"/>
              <a:gd name="connsiteY1624" fmla="*/ 20638 h 2405063"/>
              <a:gd name="connsiteX1625" fmla="*/ 4072996 w 11725275"/>
              <a:gd name="connsiteY1625" fmla="*/ 19844 h 2405063"/>
              <a:gd name="connsiteX1626" fmla="*/ 4112683 w 11725275"/>
              <a:gd name="connsiteY1626" fmla="*/ 19844 h 2405063"/>
              <a:gd name="connsiteX1627" fmla="*/ 4158192 w 11725275"/>
              <a:gd name="connsiteY1627" fmla="*/ 22225 h 2405063"/>
              <a:gd name="connsiteX1628" fmla="*/ 4208463 w 11725275"/>
              <a:gd name="connsiteY1628" fmla="*/ 26194 h 2405063"/>
              <a:gd name="connsiteX1629" fmla="*/ 4261909 w 11725275"/>
              <a:gd name="connsiteY1629" fmla="*/ 30163 h 2405063"/>
              <a:gd name="connsiteX1630" fmla="*/ 4316942 w 11725275"/>
              <a:gd name="connsiteY1630" fmla="*/ 33338 h 2405063"/>
              <a:gd name="connsiteX1631" fmla="*/ 4373034 w 11725275"/>
              <a:gd name="connsiteY1631" fmla="*/ 37306 h 2405063"/>
              <a:gd name="connsiteX1632" fmla="*/ 4426479 w 11725275"/>
              <a:gd name="connsiteY1632" fmla="*/ 38894 h 2405063"/>
              <a:gd name="connsiteX1633" fmla="*/ 4477809 w 11725275"/>
              <a:gd name="connsiteY1633" fmla="*/ 38894 h 2405063"/>
              <a:gd name="connsiteX1634" fmla="*/ 4512204 w 11725275"/>
              <a:gd name="connsiteY1634" fmla="*/ 38100 h 2405063"/>
              <a:gd name="connsiteX1635" fmla="*/ 4544484 w 11725275"/>
              <a:gd name="connsiteY1635" fmla="*/ 35719 h 2405063"/>
              <a:gd name="connsiteX1636" fmla="*/ 4574117 w 11725275"/>
              <a:gd name="connsiteY1636" fmla="*/ 32544 h 2405063"/>
              <a:gd name="connsiteX1637" fmla="*/ 4604279 w 11725275"/>
              <a:gd name="connsiteY1637" fmla="*/ 30163 h 2405063"/>
              <a:gd name="connsiteX1638" fmla="*/ 4634971 w 11725275"/>
              <a:gd name="connsiteY1638" fmla="*/ 26988 h 2405063"/>
              <a:gd name="connsiteX1639" fmla="*/ 4667250 w 11725275"/>
              <a:gd name="connsiteY1639" fmla="*/ 25400 h 2405063"/>
              <a:gd name="connsiteX1640" fmla="*/ 4685242 w 11725275"/>
              <a:gd name="connsiteY1640" fmla="*/ 25400 h 2405063"/>
              <a:gd name="connsiteX1641" fmla="*/ 4704292 w 11725275"/>
              <a:gd name="connsiteY1641" fmla="*/ 25400 h 2405063"/>
              <a:gd name="connsiteX1642" fmla="*/ 4723342 w 11725275"/>
              <a:gd name="connsiteY1642" fmla="*/ 25400 h 2405063"/>
              <a:gd name="connsiteX1643" fmla="*/ 4744509 w 11725275"/>
              <a:gd name="connsiteY1643" fmla="*/ 26988 h 2405063"/>
              <a:gd name="connsiteX1644" fmla="*/ 4777317 w 11725275"/>
              <a:gd name="connsiteY1644" fmla="*/ 30163 h 2405063"/>
              <a:gd name="connsiteX1645" fmla="*/ 4795838 w 11725275"/>
              <a:gd name="connsiteY1645" fmla="*/ 32544 h 2405063"/>
              <a:gd name="connsiteX1646" fmla="*/ 4804304 w 11725275"/>
              <a:gd name="connsiteY1646" fmla="*/ 35719 h 2405063"/>
              <a:gd name="connsiteX1647" fmla="*/ 4810125 w 11725275"/>
              <a:gd name="connsiteY1647" fmla="*/ 38100 h 2405063"/>
              <a:gd name="connsiteX1648" fmla="*/ 4817004 w 11725275"/>
              <a:gd name="connsiteY1648" fmla="*/ 39688 h 2405063"/>
              <a:gd name="connsiteX1649" fmla="*/ 4830234 w 11725275"/>
              <a:gd name="connsiteY1649" fmla="*/ 42069 h 2405063"/>
              <a:gd name="connsiteX1650" fmla="*/ 4855104 w 11725275"/>
              <a:gd name="connsiteY1650" fmla="*/ 42863 h 2405063"/>
              <a:gd name="connsiteX1651" fmla="*/ 4896909 w 11725275"/>
              <a:gd name="connsiteY1651" fmla="*/ 42863 h 2405063"/>
              <a:gd name="connsiteX1652" fmla="*/ 4891088 w 11725275"/>
              <a:gd name="connsiteY1652" fmla="*/ 54769 h 2405063"/>
              <a:gd name="connsiteX1653" fmla="*/ 4886325 w 11725275"/>
              <a:gd name="connsiteY1653" fmla="*/ 65088 h 2405063"/>
              <a:gd name="connsiteX1654" fmla="*/ 4885796 w 11725275"/>
              <a:gd name="connsiteY1654" fmla="*/ 74613 h 2405063"/>
              <a:gd name="connsiteX1655" fmla="*/ 4886325 w 11725275"/>
              <a:gd name="connsiteY1655" fmla="*/ 76200 h 2405063"/>
              <a:gd name="connsiteX1656" fmla="*/ 4887384 w 11725275"/>
              <a:gd name="connsiteY1656" fmla="*/ 76200 h 2405063"/>
              <a:gd name="connsiteX1657" fmla="*/ 4890029 w 11725275"/>
              <a:gd name="connsiteY1657" fmla="*/ 76994 h 2405063"/>
              <a:gd name="connsiteX1658" fmla="*/ 4893734 w 11725275"/>
              <a:gd name="connsiteY1658" fmla="*/ 79375 h 2405063"/>
              <a:gd name="connsiteX1659" fmla="*/ 4898496 w 11725275"/>
              <a:gd name="connsiteY1659" fmla="*/ 81756 h 2405063"/>
              <a:gd name="connsiteX1660" fmla="*/ 4929717 w 11725275"/>
              <a:gd name="connsiteY1660" fmla="*/ 80963 h 2405063"/>
              <a:gd name="connsiteX1661" fmla="*/ 4954588 w 11725275"/>
              <a:gd name="connsiteY1661" fmla="*/ 79375 h 2405063"/>
              <a:gd name="connsiteX1662" fmla="*/ 4973109 w 11725275"/>
              <a:gd name="connsiteY1662" fmla="*/ 78581 h 2405063"/>
              <a:gd name="connsiteX1663" fmla="*/ 4986338 w 11725275"/>
              <a:gd name="connsiteY1663" fmla="*/ 76200 h 2405063"/>
              <a:gd name="connsiteX1664" fmla="*/ 4994804 w 11725275"/>
              <a:gd name="connsiteY1664" fmla="*/ 74613 h 2405063"/>
              <a:gd name="connsiteX1665" fmla="*/ 4998509 w 11725275"/>
              <a:gd name="connsiteY1665" fmla="*/ 71438 h 2405063"/>
              <a:gd name="connsiteX1666" fmla="*/ 4999567 w 11725275"/>
              <a:gd name="connsiteY1666" fmla="*/ 70644 h 2405063"/>
              <a:gd name="connsiteX1667" fmla="*/ 4999567 w 11725275"/>
              <a:gd name="connsiteY1667" fmla="*/ 69850 h 2405063"/>
              <a:gd name="connsiteX1668" fmla="*/ 4998509 w 11725275"/>
              <a:gd name="connsiteY1668" fmla="*/ 68263 h 2405063"/>
              <a:gd name="connsiteX1669" fmla="*/ 4996921 w 11725275"/>
              <a:gd name="connsiteY1669" fmla="*/ 66675 h 2405063"/>
              <a:gd name="connsiteX1670" fmla="*/ 4986867 w 11725275"/>
              <a:gd name="connsiteY1670" fmla="*/ 59531 h 2405063"/>
              <a:gd name="connsiteX1671" fmla="*/ 4973109 w 11725275"/>
              <a:gd name="connsiteY1671" fmla="*/ 51594 h 2405063"/>
              <a:gd name="connsiteX1672" fmla="*/ 4965701 w 11725275"/>
              <a:gd name="connsiteY1672" fmla="*/ 46831 h 2405063"/>
              <a:gd name="connsiteX1673" fmla="*/ 4959879 w 11725275"/>
              <a:gd name="connsiteY1673" fmla="*/ 41275 h 2405063"/>
              <a:gd name="connsiteX1674" fmla="*/ 4957763 w 11725275"/>
              <a:gd name="connsiteY1674" fmla="*/ 38100 h 2405063"/>
              <a:gd name="connsiteX1675" fmla="*/ 4955646 w 11725275"/>
              <a:gd name="connsiteY1675" fmla="*/ 35719 h 2405063"/>
              <a:gd name="connsiteX1676" fmla="*/ 4954059 w 11725275"/>
              <a:gd name="connsiteY1676" fmla="*/ 32544 h 2405063"/>
              <a:gd name="connsiteX1677" fmla="*/ 4953000 w 11725275"/>
              <a:gd name="connsiteY1677" fmla="*/ 30163 h 2405063"/>
              <a:gd name="connsiteX1678" fmla="*/ 4953000 w 11725275"/>
              <a:gd name="connsiteY1678" fmla="*/ 16669 h 2405063"/>
              <a:gd name="connsiteX1679" fmla="*/ 4953000 w 11725275"/>
              <a:gd name="connsiteY1679" fmla="*/ 14288 h 2405063"/>
              <a:gd name="connsiteX1680" fmla="*/ 4954059 w 11725275"/>
              <a:gd name="connsiteY1680" fmla="*/ 11906 h 2405063"/>
              <a:gd name="connsiteX1681" fmla="*/ 4955646 w 11725275"/>
              <a:gd name="connsiteY1681" fmla="*/ 3175 h 2405063"/>
              <a:gd name="connsiteX1682" fmla="*/ 4971521 w 11725275"/>
              <a:gd name="connsiteY1682" fmla="*/ 6350 h 2405063"/>
              <a:gd name="connsiteX1683" fmla="*/ 4979459 w 11725275"/>
              <a:gd name="connsiteY1683" fmla="*/ 9525 h 2405063"/>
              <a:gd name="connsiteX1684" fmla="*/ 4988454 w 11725275"/>
              <a:gd name="connsiteY1684" fmla="*/ 11906 h 2405063"/>
              <a:gd name="connsiteX1685" fmla="*/ 5006446 w 11725275"/>
              <a:gd name="connsiteY1685" fmla="*/ 17463 h 2405063"/>
              <a:gd name="connsiteX1686" fmla="*/ 5023379 w 11725275"/>
              <a:gd name="connsiteY1686" fmla="*/ 21431 h 2405063"/>
              <a:gd name="connsiteX1687" fmla="*/ 5040313 w 11725275"/>
              <a:gd name="connsiteY1687" fmla="*/ 24606 h 2405063"/>
              <a:gd name="connsiteX1688" fmla="*/ 5058834 w 11725275"/>
              <a:gd name="connsiteY1688" fmla="*/ 26988 h 2405063"/>
              <a:gd name="connsiteX1689" fmla="*/ 5076825 w 11725275"/>
              <a:gd name="connsiteY1689" fmla="*/ 28575 h 2405063"/>
              <a:gd name="connsiteX1690" fmla="*/ 5114925 w 11725275"/>
              <a:gd name="connsiteY1690" fmla="*/ 30956 h 2405063"/>
              <a:gd name="connsiteX1691" fmla="*/ 5152496 w 11725275"/>
              <a:gd name="connsiteY1691" fmla="*/ 31750 h 2405063"/>
              <a:gd name="connsiteX1692" fmla="*/ 5189009 w 11725275"/>
              <a:gd name="connsiteY1692" fmla="*/ 31750 h 2405063"/>
              <a:gd name="connsiteX1693" fmla="*/ 5222875 w 11725275"/>
              <a:gd name="connsiteY1693" fmla="*/ 30956 h 2405063"/>
              <a:gd name="connsiteX1694" fmla="*/ 5253038 w 11725275"/>
              <a:gd name="connsiteY1694" fmla="*/ 30163 h 2405063"/>
              <a:gd name="connsiteX1695" fmla="*/ 5276850 w 11725275"/>
              <a:gd name="connsiteY1695" fmla="*/ 30163 h 2405063"/>
              <a:gd name="connsiteX1696" fmla="*/ 5413904 w 11725275"/>
              <a:gd name="connsiteY1696" fmla="*/ 25400 h 2405063"/>
              <a:gd name="connsiteX1697" fmla="*/ 5421313 w 11725275"/>
              <a:gd name="connsiteY1697" fmla="*/ 26194 h 2405063"/>
              <a:gd name="connsiteX1698" fmla="*/ 5428192 w 11725275"/>
              <a:gd name="connsiteY1698" fmla="*/ 26988 h 2405063"/>
              <a:gd name="connsiteX1699" fmla="*/ 5434542 w 11725275"/>
              <a:gd name="connsiteY1699" fmla="*/ 27781 h 2405063"/>
              <a:gd name="connsiteX1700" fmla="*/ 5441421 w 11725275"/>
              <a:gd name="connsiteY1700" fmla="*/ 28575 h 2405063"/>
              <a:gd name="connsiteX1701" fmla="*/ 5712354 w 11725275"/>
              <a:gd name="connsiteY1701" fmla="*/ 49213 h 2405063"/>
              <a:gd name="connsiteX1702" fmla="*/ 5706534 w 11725275"/>
              <a:gd name="connsiteY1702" fmla="*/ 44450 h 2405063"/>
              <a:gd name="connsiteX1703" fmla="*/ 5700713 w 11725275"/>
              <a:gd name="connsiteY1703" fmla="*/ 39688 h 2405063"/>
              <a:gd name="connsiteX1704" fmla="*/ 5694892 w 11725275"/>
              <a:gd name="connsiteY1704" fmla="*/ 36513 h 2405063"/>
              <a:gd name="connsiteX1705" fmla="*/ 5689072 w 11725275"/>
              <a:gd name="connsiteY1705" fmla="*/ 33338 h 2405063"/>
              <a:gd name="connsiteX1706" fmla="*/ 5675842 w 11725275"/>
              <a:gd name="connsiteY1706" fmla="*/ 28575 h 2405063"/>
              <a:gd name="connsiteX1707" fmla="*/ 5662084 w 11725275"/>
              <a:gd name="connsiteY1707" fmla="*/ 25400 h 2405063"/>
              <a:gd name="connsiteX1708" fmla="*/ 5645679 w 11725275"/>
              <a:gd name="connsiteY1708" fmla="*/ 22225 h 2405063"/>
              <a:gd name="connsiteX1709" fmla="*/ 5627159 w 11725275"/>
              <a:gd name="connsiteY1709" fmla="*/ 17463 h 2405063"/>
              <a:gd name="connsiteX1710" fmla="*/ 5605992 w 11725275"/>
              <a:gd name="connsiteY1710" fmla="*/ 11113 h 2405063"/>
              <a:gd name="connsiteX1711" fmla="*/ 5582709 w 11725275"/>
              <a:gd name="connsiteY1711" fmla="*/ 3175 h 2405063"/>
              <a:gd name="connsiteX1712" fmla="*/ 5655734 w 11725275"/>
              <a:gd name="connsiteY1712" fmla="*/ 794 h 24050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  <a:cxn ang="0">
                <a:pos x="connsiteX422" y="connsiteY422"/>
              </a:cxn>
              <a:cxn ang="0">
                <a:pos x="connsiteX423" y="connsiteY423"/>
              </a:cxn>
              <a:cxn ang="0">
                <a:pos x="connsiteX424" y="connsiteY424"/>
              </a:cxn>
              <a:cxn ang="0">
                <a:pos x="connsiteX425" y="connsiteY425"/>
              </a:cxn>
              <a:cxn ang="0">
                <a:pos x="connsiteX426" y="connsiteY426"/>
              </a:cxn>
              <a:cxn ang="0">
                <a:pos x="connsiteX427" y="connsiteY427"/>
              </a:cxn>
              <a:cxn ang="0">
                <a:pos x="connsiteX428" y="connsiteY428"/>
              </a:cxn>
              <a:cxn ang="0">
                <a:pos x="connsiteX429" y="connsiteY429"/>
              </a:cxn>
              <a:cxn ang="0">
                <a:pos x="connsiteX430" y="connsiteY430"/>
              </a:cxn>
              <a:cxn ang="0">
                <a:pos x="connsiteX431" y="connsiteY431"/>
              </a:cxn>
              <a:cxn ang="0">
                <a:pos x="connsiteX432" y="connsiteY432"/>
              </a:cxn>
              <a:cxn ang="0">
                <a:pos x="connsiteX433" y="connsiteY433"/>
              </a:cxn>
              <a:cxn ang="0">
                <a:pos x="connsiteX434" y="connsiteY434"/>
              </a:cxn>
              <a:cxn ang="0">
                <a:pos x="connsiteX435" y="connsiteY435"/>
              </a:cxn>
              <a:cxn ang="0">
                <a:pos x="connsiteX436" y="connsiteY436"/>
              </a:cxn>
              <a:cxn ang="0">
                <a:pos x="connsiteX437" y="connsiteY437"/>
              </a:cxn>
              <a:cxn ang="0">
                <a:pos x="connsiteX438" y="connsiteY438"/>
              </a:cxn>
              <a:cxn ang="0">
                <a:pos x="connsiteX439" y="connsiteY439"/>
              </a:cxn>
              <a:cxn ang="0">
                <a:pos x="connsiteX440" y="connsiteY440"/>
              </a:cxn>
              <a:cxn ang="0">
                <a:pos x="connsiteX441" y="connsiteY441"/>
              </a:cxn>
              <a:cxn ang="0">
                <a:pos x="connsiteX442" y="connsiteY442"/>
              </a:cxn>
              <a:cxn ang="0">
                <a:pos x="connsiteX443" y="connsiteY443"/>
              </a:cxn>
              <a:cxn ang="0">
                <a:pos x="connsiteX444" y="connsiteY444"/>
              </a:cxn>
              <a:cxn ang="0">
                <a:pos x="connsiteX445" y="connsiteY445"/>
              </a:cxn>
              <a:cxn ang="0">
                <a:pos x="connsiteX446" y="connsiteY446"/>
              </a:cxn>
              <a:cxn ang="0">
                <a:pos x="connsiteX447" y="connsiteY447"/>
              </a:cxn>
              <a:cxn ang="0">
                <a:pos x="connsiteX448" y="connsiteY448"/>
              </a:cxn>
              <a:cxn ang="0">
                <a:pos x="connsiteX449" y="connsiteY449"/>
              </a:cxn>
              <a:cxn ang="0">
                <a:pos x="connsiteX450" y="connsiteY450"/>
              </a:cxn>
              <a:cxn ang="0">
                <a:pos x="connsiteX451" y="connsiteY451"/>
              </a:cxn>
              <a:cxn ang="0">
                <a:pos x="connsiteX452" y="connsiteY452"/>
              </a:cxn>
              <a:cxn ang="0">
                <a:pos x="connsiteX453" y="connsiteY453"/>
              </a:cxn>
              <a:cxn ang="0">
                <a:pos x="connsiteX454" y="connsiteY454"/>
              </a:cxn>
              <a:cxn ang="0">
                <a:pos x="connsiteX455" y="connsiteY455"/>
              </a:cxn>
              <a:cxn ang="0">
                <a:pos x="connsiteX456" y="connsiteY456"/>
              </a:cxn>
              <a:cxn ang="0">
                <a:pos x="connsiteX457" y="connsiteY457"/>
              </a:cxn>
              <a:cxn ang="0">
                <a:pos x="connsiteX458" y="connsiteY458"/>
              </a:cxn>
              <a:cxn ang="0">
                <a:pos x="connsiteX459" y="connsiteY459"/>
              </a:cxn>
              <a:cxn ang="0">
                <a:pos x="connsiteX460" y="connsiteY460"/>
              </a:cxn>
              <a:cxn ang="0">
                <a:pos x="connsiteX461" y="connsiteY461"/>
              </a:cxn>
              <a:cxn ang="0">
                <a:pos x="connsiteX462" y="connsiteY462"/>
              </a:cxn>
              <a:cxn ang="0">
                <a:pos x="connsiteX463" y="connsiteY463"/>
              </a:cxn>
              <a:cxn ang="0">
                <a:pos x="connsiteX464" y="connsiteY464"/>
              </a:cxn>
              <a:cxn ang="0">
                <a:pos x="connsiteX465" y="connsiteY465"/>
              </a:cxn>
              <a:cxn ang="0">
                <a:pos x="connsiteX466" y="connsiteY466"/>
              </a:cxn>
              <a:cxn ang="0">
                <a:pos x="connsiteX467" y="connsiteY467"/>
              </a:cxn>
              <a:cxn ang="0">
                <a:pos x="connsiteX468" y="connsiteY468"/>
              </a:cxn>
              <a:cxn ang="0">
                <a:pos x="connsiteX469" y="connsiteY469"/>
              </a:cxn>
              <a:cxn ang="0">
                <a:pos x="connsiteX470" y="connsiteY470"/>
              </a:cxn>
              <a:cxn ang="0">
                <a:pos x="connsiteX471" y="connsiteY471"/>
              </a:cxn>
              <a:cxn ang="0">
                <a:pos x="connsiteX472" y="connsiteY472"/>
              </a:cxn>
              <a:cxn ang="0">
                <a:pos x="connsiteX473" y="connsiteY473"/>
              </a:cxn>
              <a:cxn ang="0">
                <a:pos x="connsiteX474" y="connsiteY474"/>
              </a:cxn>
              <a:cxn ang="0">
                <a:pos x="connsiteX475" y="connsiteY475"/>
              </a:cxn>
              <a:cxn ang="0">
                <a:pos x="connsiteX476" y="connsiteY476"/>
              </a:cxn>
              <a:cxn ang="0">
                <a:pos x="connsiteX477" y="connsiteY477"/>
              </a:cxn>
              <a:cxn ang="0">
                <a:pos x="connsiteX478" y="connsiteY478"/>
              </a:cxn>
              <a:cxn ang="0">
                <a:pos x="connsiteX479" y="connsiteY479"/>
              </a:cxn>
              <a:cxn ang="0">
                <a:pos x="connsiteX480" y="connsiteY480"/>
              </a:cxn>
              <a:cxn ang="0">
                <a:pos x="connsiteX481" y="connsiteY481"/>
              </a:cxn>
              <a:cxn ang="0">
                <a:pos x="connsiteX482" y="connsiteY482"/>
              </a:cxn>
              <a:cxn ang="0">
                <a:pos x="connsiteX483" y="connsiteY483"/>
              </a:cxn>
              <a:cxn ang="0">
                <a:pos x="connsiteX484" y="connsiteY484"/>
              </a:cxn>
              <a:cxn ang="0">
                <a:pos x="connsiteX485" y="connsiteY485"/>
              </a:cxn>
              <a:cxn ang="0">
                <a:pos x="connsiteX486" y="connsiteY486"/>
              </a:cxn>
              <a:cxn ang="0">
                <a:pos x="connsiteX487" y="connsiteY487"/>
              </a:cxn>
              <a:cxn ang="0">
                <a:pos x="connsiteX488" y="connsiteY488"/>
              </a:cxn>
              <a:cxn ang="0">
                <a:pos x="connsiteX489" y="connsiteY489"/>
              </a:cxn>
              <a:cxn ang="0">
                <a:pos x="connsiteX490" y="connsiteY490"/>
              </a:cxn>
              <a:cxn ang="0">
                <a:pos x="connsiteX491" y="connsiteY491"/>
              </a:cxn>
              <a:cxn ang="0">
                <a:pos x="connsiteX492" y="connsiteY492"/>
              </a:cxn>
              <a:cxn ang="0">
                <a:pos x="connsiteX493" y="connsiteY493"/>
              </a:cxn>
              <a:cxn ang="0">
                <a:pos x="connsiteX494" y="connsiteY494"/>
              </a:cxn>
              <a:cxn ang="0">
                <a:pos x="connsiteX495" y="connsiteY495"/>
              </a:cxn>
              <a:cxn ang="0">
                <a:pos x="connsiteX496" y="connsiteY496"/>
              </a:cxn>
              <a:cxn ang="0">
                <a:pos x="connsiteX497" y="connsiteY497"/>
              </a:cxn>
              <a:cxn ang="0">
                <a:pos x="connsiteX498" y="connsiteY498"/>
              </a:cxn>
              <a:cxn ang="0">
                <a:pos x="connsiteX499" y="connsiteY499"/>
              </a:cxn>
              <a:cxn ang="0">
                <a:pos x="connsiteX500" y="connsiteY500"/>
              </a:cxn>
              <a:cxn ang="0">
                <a:pos x="connsiteX501" y="connsiteY501"/>
              </a:cxn>
              <a:cxn ang="0">
                <a:pos x="connsiteX502" y="connsiteY502"/>
              </a:cxn>
              <a:cxn ang="0">
                <a:pos x="connsiteX503" y="connsiteY503"/>
              </a:cxn>
              <a:cxn ang="0">
                <a:pos x="connsiteX504" y="connsiteY504"/>
              </a:cxn>
              <a:cxn ang="0">
                <a:pos x="connsiteX505" y="connsiteY505"/>
              </a:cxn>
              <a:cxn ang="0">
                <a:pos x="connsiteX506" y="connsiteY506"/>
              </a:cxn>
              <a:cxn ang="0">
                <a:pos x="connsiteX507" y="connsiteY507"/>
              </a:cxn>
              <a:cxn ang="0">
                <a:pos x="connsiteX508" y="connsiteY508"/>
              </a:cxn>
              <a:cxn ang="0">
                <a:pos x="connsiteX509" y="connsiteY509"/>
              </a:cxn>
              <a:cxn ang="0">
                <a:pos x="connsiteX510" y="connsiteY510"/>
              </a:cxn>
              <a:cxn ang="0">
                <a:pos x="connsiteX511" y="connsiteY511"/>
              </a:cxn>
              <a:cxn ang="0">
                <a:pos x="connsiteX512" y="connsiteY512"/>
              </a:cxn>
              <a:cxn ang="0">
                <a:pos x="connsiteX513" y="connsiteY513"/>
              </a:cxn>
              <a:cxn ang="0">
                <a:pos x="connsiteX514" y="connsiteY514"/>
              </a:cxn>
              <a:cxn ang="0">
                <a:pos x="connsiteX515" y="connsiteY515"/>
              </a:cxn>
              <a:cxn ang="0">
                <a:pos x="connsiteX516" y="connsiteY516"/>
              </a:cxn>
              <a:cxn ang="0">
                <a:pos x="connsiteX517" y="connsiteY517"/>
              </a:cxn>
              <a:cxn ang="0">
                <a:pos x="connsiteX518" y="connsiteY518"/>
              </a:cxn>
              <a:cxn ang="0">
                <a:pos x="connsiteX519" y="connsiteY519"/>
              </a:cxn>
              <a:cxn ang="0">
                <a:pos x="connsiteX520" y="connsiteY520"/>
              </a:cxn>
              <a:cxn ang="0">
                <a:pos x="connsiteX521" y="connsiteY521"/>
              </a:cxn>
              <a:cxn ang="0">
                <a:pos x="connsiteX522" y="connsiteY522"/>
              </a:cxn>
              <a:cxn ang="0">
                <a:pos x="connsiteX523" y="connsiteY523"/>
              </a:cxn>
              <a:cxn ang="0">
                <a:pos x="connsiteX524" y="connsiteY524"/>
              </a:cxn>
              <a:cxn ang="0">
                <a:pos x="connsiteX525" y="connsiteY525"/>
              </a:cxn>
              <a:cxn ang="0">
                <a:pos x="connsiteX526" y="connsiteY526"/>
              </a:cxn>
              <a:cxn ang="0">
                <a:pos x="connsiteX527" y="connsiteY527"/>
              </a:cxn>
              <a:cxn ang="0">
                <a:pos x="connsiteX528" y="connsiteY528"/>
              </a:cxn>
              <a:cxn ang="0">
                <a:pos x="connsiteX529" y="connsiteY529"/>
              </a:cxn>
              <a:cxn ang="0">
                <a:pos x="connsiteX530" y="connsiteY530"/>
              </a:cxn>
              <a:cxn ang="0">
                <a:pos x="connsiteX531" y="connsiteY531"/>
              </a:cxn>
              <a:cxn ang="0">
                <a:pos x="connsiteX532" y="connsiteY532"/>
              </a:cxn>
              <a:cxn ang="0">
                <a:pos x="connsiteX533" y="connsiteY533"/>
              </a:cxn>
              <a:cxn ang="0">
                <a:pos x="connsiteX534" y="connsiteY534"/>
              </a:cxn>
              <a:cxn ang="0">
                <a:pos x="connsiteX535" y="connsiteY535"/>
              </a:cxn>
              <a:cxn ang="0">
                <a:pos x="connsiteX536" y="connsiteY536"/>
              </a:cxn>
              <a:cxn ang="0">
                <a:pos x="connsiteX537" y="connsiteY537"/>
              </a:cxn>
              <a:cxn ang="0">
                <a:pos x="connsiteX538" y="connsiteY538"/>
              </a:cxn>
              <a:cxn ang="0">
                <a:pos x="connsiteX539" y="connsiteY539"/>
              </a:cxn>
              <a:cxn ang="0">
                <a:pos x="connsiteX540" y="connsiteY540"/>
              </a:cxn>
              <a:cxn ang="0">
                <a:pos x="connsiteX541" y="connsiteY541"/>
              </a:cxn>
              <a:cxn ang="0">
                <a:pos x="connsiteX542" y="connsiteY542"/>
              </a:cxn>
              <a:cxn ang="0">
                <a:pos x="connsiteX543" y="connsiteY543"/>
              </a:cxn>
              <a:cxn ang="0">
                <a:pos x="connsiteX544" y="connsiteY544"/>
              </a:cxn>
              <a:cxn ang="0">
                <a:pos x="connsiteX545" y="connsiteY545"/>
              </a:cxn>
              <a:cxn ang="0">
                <a:pos x="connsiteX546" y="connsiteY546"/>
              </a:cxn>
              <a:cxn ang="0">
                <a:pos x="connsiteX547" y="connsiteY547"/>
              </a:cxn>
              <a:cxn ang="0">
                <a:pos x="connsiteX548" y="connsiteY548"/>
              </a:cxn>
              <a:cxn ang="0">
                <a:pos x="connsiteX549" y="connsiteY549"/>
              </a:cxn>
              <a:cxn ang="0">
                <a:pos x="connsiteX550" y="connsiteY550"/>
              </a:cxn>
              <a:cxn ang="0">
                <a:pos x="connsiteX551" y="connsiteY551"/>
              </a:cxn>
              <a:cxn ang="0">
                <a:pos x="connsiteX552" y="connsiteY552"/>
              </a:cxn>
              <a:cxn ang="0">
                <a:pos x="connsiteX553" y="connsiteY553"/>
              </a:cxn>
              <a:cxn ang="0">
                <a:pos x="connsiteX554" y="connsiteY554"/>
              </a:cxn>
              <a:cxn ang="0">
                <a:pos x="connsiteX555" y="connsiteY555"/>
              </a:cxn>
              <a:cxn ang="0">
                <a:pos x="connsiteX556" y="connsiteY556"/>
              </a:cxn>
              <a:cxn ang="0">
                <a:pos x="connsiteX557" y="connsiteY557"/>
              </a:cxn>
              <a:cxn ang="0">
                <a:pos x="connsiteX558" y="connsiteY558"/>
              </a:cxn>
              <a:cxn ang="0">
                <a:pos x="connsiteX559" y="connsiteY559"/>
              </a:cxn>
              <a:cxn ang="0">
                <a:pos x="connsiteX560" y="connsiteY560"/>
              </a:cxn>
              <a:cxn ang="0">
                <a:pos x="connsiteX561" y="connsiteY561"/>
              </a:cxn>
              <a:cxn ang="0">
                <a:pos x="connsiteX562" y="connsiteY562"/>
              </a:cxn>
              <a:cxn ang="0">
                <a:pos x="connsiteX563" y="connsiteY563"/>
              </a:cxn>
              <a:cxn ang="0">
                <a:pos x="connsiteX564" y="connsiteY564"/>
              </a:cxn>
              <a:cxn ang="0">
                <a:pos x="connsiteX565" y="connsiteY565"/>
              </a:cxn>
              <a:cxn ang="0">
                <a:pos x="connsiteX566" y="connsiteY566"/>
              </a:cxn>
              <a:cxn ang="0">
                <a:pos x="connsiteX567" y="connsiteY567"/>
              </a:cxn>
              <a:cxn ang="0">
                <a:pos x="connsiteX568" y="connsiteY568"/>
              </a:cxn>
              <a:cxn ang="0">
                <a:pos x="connsiteX569" y="connsiteY569"/>
              </a:cxn>
              <a:cxn ang="0">
                <a:pos x="connsiteX570" y="connsiteY570"/>
              </a:cxn>
              <a:cxn ang="0">
                <a:pos x="connsiteX571" y="connsiteY571"/>
              </a:cxn>
              <a:cxn ang="0">
                <a:pos x="connsiteX572" y="connsiteY572"/>
              </a:cxn>
              <a:cxn ang="0">
                <a:pos x="connsiteX573" y="connsiteY573"/>
              </a:cxn>
              <a:cxn ang="0">
                <a:pos x="connsiteX574" y="connsiteY574"/>
              </a:cxn>
              <a:cxn ang="0">
                <a:pos x="connsiteX575" y="connsiteY575"/>
              </a:cxn>
              <a:cxn ang="0">
                <a:pos x="connsiteX576" y="connsiteY576"/>
              </a:cxn>
              <a:cxn ang="0">
                <a:pos x="connsiteX577" y="connsiteY577"/>
              </a:cxn>
              <a:cxn ang="0">
                <a:pos x="connsiteX578" y="connsiteY578"/>
              </a:cxn>
              <a:cxn ang="0">
                <a:pos x="connsiteX579" y="connsiteY579"/>
              </a:cxn>
              <a:cxn ang="0">
                <a:pos x="connsiteX580" y="connsiteY580"/>
              </a:cxn>
              <a:cxn ang="0">
                <a:pos x="connsiteX581" y="connsiteY581"/>
              </a:cxn>
              <a:cxn ang="0">
                <a:pos x="connsiteX582" y="connsiteY582"/>
              </a:cxn>
              <a:cxn ang="0">
                <a:pos x="connsiteX583" y="connsiteY583"/>
              </a:cxn>
              <a:cxn ang="0">
                <a:pos x="connsiteX584" y="connsiteY584"/>
              </a:cxn>
              <a:cxn ang="0">
                <a:pos x="connsiteX585" y="connsiteY585"/>
              </a:cxn>
              <a:cxn ang="0">
                <a:pos x="connsiteX586" y="connsiteY586"/>
              </a:cxn>
              <a:cxn ang="0">
                <a:pos x="connsiteX587" y="connsiteY587"/>
              </a:cxn>
              <a:cxn ang="0">
                <a:pos x="connsiteX588" y="connsiteY588"/>
              </a:cxn>
              <a:cxn ang="0">
                <a:pos x="connsiteX589" y="connsiteY589"/>
              </a:cxn>
              <a:cxn ang="0">
                <a:pos x="connsiteX590" y="connsiteY590"/>
              </a:cxn>
              <a:cxn ang="0">
                <a:pos x="connsiteX591" y="connsiteY591"/>
              </a:cxn>
              <a:cxn ang="0">
                <a:pos x="connsiteX592" y="connsiteY592"/>
              </a:cxn>
              <a:cxn ang="0">
                <a:pos x="connsiteX593" y="connsiteY593"/>
              </a:cxn>
              <a:cxn ang="0">
                <a:pos x="connsiteX594" y="connsiteY594"/>
              </a:cxn>
              <a:cxn ang="0">
                <a:pos x="connsiteX595" y="connsiteY595"/>
              </a:cxn>
              <a:cxn ang="0">
                <a:pos x="connsiteX596" y="connsiteY596"/>
              </a:cxn>
              <a:cxn ang="0">
                <a:pos x="connsiteX597" y="connsiteY597"/>
              </a:cxn>
              <a:cxn ang="0">
                <a:pos x="connsiteX598" y="connsiteY598"/>
              </a:cxn>
              <a:cxn ang="0">
                <a:pos x="connsiteX599" y="connsiteY599"/>
              </a:cxn>
              <a:cxn ang="0">
                <a:pos x="connsiteX600" y="connsiteY600"/>
              </a:cxn>
              <a:cxn ang="0">
                <a:pos x="connsiteX601" y="connsiteY601"/>
              </a:cxn>
              <a:cxn ang="0">
                <a:pos x="connsiteX602" y="connsiteY602"/>
              </a:cxn>
              <a:cxn ang="0">
                <a:pos x="connsiteX603" y="connsiteY603"/>
              </a:cxn>
              <a:cxn ang="0">
                <a:pos x="connsiteX604" y="connsiteY604"/>
              </a:cxn>
              <a:cxn ang="0">
                <a:pos x="connsiteX605" y="connsiteY605"/>
              </a:cxn>
              <a:cxn ang="0">
                <a:pos x="connsiteX606" y="connsiteY606"/>
              </a:cxn>
              <a:cxn ang="0">
                <a:pos x="connsiteX607" y="connsiteY607"/>
              </a:cxn>
              <a:cxn ang="0">
                <a:pos x="connsiteX608" y="connsiteY608"/>
              </a:cxn>
              <a:cxn ang="0">
                <a:pos x="connsiteX609" y="connsiteY609"/>
              </a:cxn>
              <a:cxn ang="0">
                <a:pos x="connsiteX610" y="connsiteY610"/>
              </a:cxn>
              <a:cxn ang="0">
                <a:pos x="connsiteX611" y="connsiteY611"/>
              </a:cxn>
              <a:cxn ang="0">
                <a:pos x="connsiteX612" y="connsiteY612"/>
              </a:cxn>
              <a:cxn ang="0">
                <a:pos x="connsiteX613" y="connsiteY613"/>
              </a:cxn>
              <a:cxn ang="0">
                <a:pos x="connsiteX614" y="connsiteY614"/>
              </a:cxn>
              <a:cxn ang="0">
                <a:pos x="connsiteX615" y="connsiteY615"/>
              </a:cxn>
              <a:cxn ang="0">
                <a:pos x="connsiteX616" y="connsiteY616"/>
              </a:cxn>
              <a:cxn ang="0">
                <a:pos x="connsiteX617" y="connsiteY617"/>
              </a:cxn>
              <a:cxn ang="0">
                <a:pos x="connsiteX618" y="connsiteY618"/>
              </a:cxn>
              <a:cxn ang="0">
                <a:pos x="connsiteX619" y="connsiteY619"/>
              </a:cxn>
              <a:cxn ang="0">
                <a:pos x="connsiteX620" y="connsiteY620"/>
              </a:cxn>
              <a:cxn ang="0">
                <a:pos x="connsiteX621" y="connsiteY621"/>
              </a:cxn>
              <a:cxn ang="0">
                <a:pos x="connsiteX622" y="connsiteY622"/>
              </a:cxn>
              <a:cxn ang="0">
                <a:pos x="connsiteX623" y="connsiteY623"/>
              </a:cxn>
              <a:cxn ang="0">
                <a:pos x="connsiteX624" y="connsiteY624"/>
              </a:cxn>
              <a:cxn ang="0">
                <a:pos x="connsiteX625" y="connsiteY625"/>
              </a:cxn>
              <a:cxn ang="0">
                <a:pos x="connsiteX626" y="connsiteY626"/>
              </a:cxn>
              <a:cxn ang="0">
                <a:pos x="connsiteX627" y="connsiteY627"/>
              </a:cxn>
              <a:cxn ang="0">
                <a:pos x="connsiteX628" y="connsiteY628"/>
              </a:cxn>
              <a:cxn ang="0">
                <a:pos x="connsiteX629" y="connsiteY629"/>
              </a:cxn>
              <a:cxn ang="0">
                <a:pos x="connsiteX630" y="connsiteY630"/>
              </a:cxn>
              <a:cxn ang="0">
                <a:pos x="connsiteX631" y="connsiteY631"/>
              </a:cxn>
              <a:cxn ang="0">
                <a:pos x="connsiteX632" y="connsiteY632"/>
              </a:cxn>
              <a:cxn ang="0">
                <a:pos x="connsiteX633" y="connsiteY633"/>
              </a:cxn>
              <a:cxn ang="0">
                <a:pos x="connsiteX634" y="connsiteY634"/>
              </a:cxn>
              <a:cxn ang="0">
                <a:pos x="connsiteX635" y="connsiteY635"/>
              </a:cxn>
              <a:cxn ang="0">
                <a:pos x="connsiteX636" y="connsiteY636"/>
              </a:cxn>
              <a:cxn ang="0">
                <a:pos x="connsiteX637" y="connsiteY637"/>
              </a:cxn>
              <a:cxn ang="0">
                <a:pos x="connsiteX638" y="connsiteY638"/>
              </a:cxn>
              <a:cxn ang="0">
                <a:pos x="connsiteX639" y="connsiteY639"/>
              </a:cxn>
              <a:cxn ang="0">
                <a:pos x="connsiteX640" y="connsiteY640"/>
              </a:cxn>
              <a:cxn ang="0">
                <a:pos x="connsiteX641" y="connsiteY641"/>
              </a:cxn>
              <a:cxn ang="0">
                <a:pos x="connsiteX642" y="connsiteY642"/>
              </a:cxn>
              <a:cxn ang="0">
                <a:pos x="connsiteX643" y="connsiteY643"/>
              </a:cxn>
              <a:cxn ang="0">
                <a:pos x="connsiteX644" y="connsiteY644"/>
              </a:cxn>
              <a:cxn ang="0">
                <a:pos x="connsiteX645" y="connsiteY645"/>
              </a:cxn>
              <a:cxn ang="0">
                <a:pos x="connsiteX646" y="connsiteY646"/>
              </a:cxn>
              <a:cxn ang="0">
                <a:pos x="connsiteX647" y="connsiteY647"/>
              </a:cxn>
              <a:cxn ang="0">
                <a:pos x="connsiteX648" y="connsiteY648"/>
              </a:cxn>
              <a:cxn ang="0">
                <a:pos x="connsiteX649" y="connsiteY649"/>
              </a:cxn>
              <a:cxn ang="0">
                <a:pos x="connsiteX650" y="connsiteY650"/>
              </a:cxn>
              <a:cxn ang="0">
                <a:pos x="connsiteX651" y="connsiteY651"/>
              </a:cxn>
              <a:cxn ang="0">
                <a:pos x="connsiteX652" y="connsiteY652"/>
              </a:cxn>
              <a:cxn ang="0">
                <a:pos x="connsiteX653" y="connsiteY653"/>
              </a:cxn>
              <a:cxn ang="0">
                <a:pos x="connsiteX654" y="connsiteY654"/>
              </a:cxn>
              <a:cxn ang="0">
                <a:pos x="connsiteX655" y="connsiteY655"/>
              </a:cxn>
              <a:cxn ang="0">
                <a:pos x="connsiteX656" y="connsiteY656"/>
              </a:cxn>
              <a:cxn ang="0">
                <a:pos x="connsiteX657" y="connsiteY657"/>
              </a:cxn>
              <a:cxn ang="0">
                <a:pos x="connsiteX658" y="connsiteY658"/>
              </a:cxn>
              <a:cxn ang="0">
                <a:pos x="connsiteX659" y="connsiteY659"/>
              </a:cxn>
              <a:cxn ang="0">
                <a:pos x="connsiteX660" y="connsiteY660"/>
              </a:cxn>
              <a:cxn ang="0">
                <a:pos x="connsiteX661" y="connsiteY661"/>
              </a:cxn>
              <a:cxn ang="0">
                <a:pos x="connsiteX662" y="connsiteY662"/>
              </a:cxn>
              <a:cxn ang="0">
                <a:pos x="connsiteX663" y="connsiteY663"/>
              </a:cxn>
              <a:cxn ang="0">
                <a:pos x="connsiteX664" y="connsiteY664"/>
              </a:cxn>
              <a:cxn ang="0">
                <a:pos x="connsiteX665" y="connsiteY665"/>
              </a:cxn>
              <a:cxn ang="0">
                <a:pos x="connsiteX666" y="connsiteY666"/>
              </a:cxn>
              <a:cxn ang="0">
                <a:pos x="connsiteX667" y="connsiteY667"/>
              </a:cxn>
              <a:cxn ang="0">
                <a:pos x="connsiteX668" y="connsiteY668"/>
              </a:cxn>
              <a:cxn ang="0">
                <a:pos x="connsiteX669" y="connsiteY669"/>
              </a:cxn>
              <a:cxn ang="0">
                <a:pos x="connsiteX670" y="connsiteY670"/>
              </a:cxn>
              <a:cxn ang="0">
                <a:pos x="connsiteX671" y="connsiteY671"/>
              </a:cxn>
              <a:cxn ang="0">
                <a:pos x="connsiteX672" y="connsiteY672"/>
              </a:cxn>
              <a:cxn ang="0">
                <a:pos x="connsiteX673" y="connsiteY673"/>
              </a:cxn>
              <a:cxn ang="0">
                <a:pos x="connsiteX674" y="connsiteY674"/>
              </a:cxn>
              <a:cxn ang="0">
                <a:pos x="connsiteX675" y="connsiteY675"/>
              </a:cxn>
              <a:cxn ang="0">
                <a:pos x="connsiteX676" y="connsiteY676"/>
              </a:cxn>
              <a:cxn ang="0">
                <a:pos x="connsiteX677" y="connsiteY677"/>
              </a:cxn>
              <a:cxn ang="0">
                <a:pos x="connsiteX678" y="connsiteY678"/>
              </a:cxn>
              <a:cxn ang="0">
                <a:pos x="connsiteX679" y="connsiteY679"/>
              </a:cxn>
              <a:cxn ang="0">
                <a:pos x="connsiteX680" y="connsiteY680"/>
              </a:cxn>
              <a:cxn ang="0">
                <a:pos x="connsiteX681" y="connsiteY681"/>
              </a:cxn>
              <a:cxn ang="0">
                <a:pos x="connsiteX682" y="connsiteY682"/>
              </a:cxn>
              <a:cxn ang="0">
                <a:pos x="connsiteX683" y="connsiteY683"/>
              </a:cxn>
              <a:cxn ang="0">
                <a:pos x="connsiteX684" y="connsiteY684"/>
              </a:cxn>
              <a:cxn ang="0">
                <a:pos x="connsiteX685" y="connsiteY685"/>
              </a:cxn>
              <a:cxn ang="0">
                <a:pos x="connsiteX686" y="connsiteY686"/>
              </a:cxn>
              <a:cxn ang="0">
                <a:pos x="connsiteX687" y="connsiteY687"/>
              </a:cxn>
              <a:cxn ang="0">
                <a:pos x="connsiteX688" y="connsiteY688"/>
              </a:cxn>
              <a:cxn ang="0">
                <a:pos x="connsiteX689" y="connsiteY689"/>
              </a:cxn>
              <a:cxn ang="0">
                <a:pos x="connsiteX690" y="connsiteY690"/>
              </a:cxn>
              <a:cxn ang="0">
                <a:pos x="connsiteX691" y="connsiteY691"/>
              </a:cxn>
              <a:cxn ang="0">
                <a:pos x="connsiteX692" y="connsiteY692"/>
              </a:cxn>
              <a:cxn ang="0">
                <a:pos x="connsiteX693" y="connsiteY693"/>
              </a:cxn>
              <a:cxn ang="0">
                <a:pos x="connsiteX694" y="connsiteY694"/>
              </a:cxn>
              <a:cxn ang="0">
                <a:pos x="connsiteX695" y="connsiteY695"/>
              </a:cxn>
              <a:cxn ang="0">
                <a:pos x="connsiteX696" y="connsiteY696"/>
              </a:cxn>
              <a:cxn ang="0">
                <a:pos x="connsiteX697" y="connsiteY697"/>
              </a:cxn>
              <a:cxn ang="0">
                <a:pos x="connsiteX698" y="connsiteY698"/>
              </a:cxn>
              <a:cxn ang="0">
                <a:pos x="connsiteX699" y="connsiteY699"/>
              </a:cxn>
              <a:cxn ang="0">
                <a:pos x="connsiteX700" y="connsiteY700"/>
              </a:cxn>
              <a:cxn ang="0">
                <a:pos x="connsiteX701" y="connsiteY701"/>
              </a:cxn>
              <a:cxn ang="0">
                <a:pos x="connsiteX702" y="connsiteY702"/>
              </a:cxn>
              <a:cxn ang="0">
                <a:pos x="connsiteX703" y="connsiteY703"/>
              </a:cxn>
              <a:cxn ang="0">
                <a:pos x="connsiteX704" y="connsiteY704"/>
              </a:cxn>
              <a:cxn ang="0">
                <a:pos x="connsiteX705" y="connsiteY705"/>
              </a:cxn>
              <a:cxn ang="0">
                <a:pos x="connsiteX706" y="connsiteY706"/>
              </a:cxn>
              <a:cxn ang="0">
                <a:pos x="connsiteX707" y="connsiteY707"/>
              </a:cxn>
              <a:cxn ang="0">
                <a:pos x="connsiteX708" y="connsiteY708"/>
              </a:cxn>
              <a:cxn ang="0">
                <a:pos x="connsiteX709" y="connsiteY709"/>
              </a:cxn>
              <a:cxn ang="0">
                <a:pos x="connsiteX710" y="connsiteY710"/>
              </a:cxn>
              <a:cxn ang="0">
                <a:pos x="connsiteX711" y="connsiteY711"/>
              </a:cxn>
              <a:cxn ang="0">
                <a:pos x="connsiteX712" y="connsiteY712"/>
              </a:cxn>
              <a:cxn ang="0">
                <a:pos x="connsiteX713" y="connsiteY713"/>
              </a:cxn>
              <a:cxn ang="0">
                <a:pos x="connsiteX714" y="connsiteY714"/>
              </a:cxn>
              <a:cxn ang="0">
                <a:pos x="connsiteX715" y="connsiteY715"/>
              </a:cxn>
              <a:cxn ang="0">
                <a:pos x="connsiteX716" y="connsiteY716"/>
              </a:cxn>
              <a:cxn ang="0">
                <a:pos x="connsiteX717" y="connsiteY717"/>
              </a:cxn>
              <a:cxn ang="0">
                <a:pos x="connsiteX718" y="connsiteY718"/>
              </a:cxn>
              <a:cxn ang="0">
                <a:pos x="connsiteX719" y="connsiteY719"/>
              </a:cxn>
              <a:cxn ang="0">
                <a:pos x="connsiteX720" y="connsiteY720"/>
              </a:cxn>
              <a:cxn ang="0">
                <a:pos x="connsiteX721" y="connsiteY721"/>
              </a:cxn>
              <a:cxn ang="0">
                <a:pos x="connsiteX722" y="connsiteY722"/>
              </a:cxn>
              <a:cxn ang="0">
                <a:pos x="connsiteX723" y="connsiteY723"/>
              </a:cxn>
              <a:cxn ang="0">
                <a:pos x="connsiteX724" y="connsiteY724"/>
              </a:cxn>
              <a:cxn ang="0">
                <a:pos x="connsiteX725" y="connsiteY725"/>
              </a:cxn>
              <a:cxn ang="0">
                <a:pos x="connsiteX726" y="connsiteY726"/>
              </a:cxn>
              <a:cxn ang="0">
                <a:pos x="connsiteX727" y="connsiteY727"/>
              </a:cxn>
              <a:cxn ang="0">
                <a:pos x="connsiteX728" y="connsiteY728"/>
              </a:cxn>
              <a:cxn ang="0">
                <a:pos x="connsiteX729" y="connsiteY729"/>
              </a:cxn>
              <a:cxn ang="0">
                <a:pos x="connsiteX730" y="connsiteY730"/>
              </a:cxn>
              <a:cxn ang="0">
                <a:pos x="connsiteX731" y="connsiteY731"/>
              </a:cxn>
              <a:cxn ang="0">
                <a:pos x="connsiteX732" y="connsiteY732"/>
              </a:cxn>
              <a:cxn ang="0">
                <a:pos x="connsiteX733" y="connsiteY733"/>
              </a:cxn>
              <a:cxn ang="0">
                <a:pos x="connsiteX734" y="connsiteY734"/>
              </a:cxn>
              <a:cxn ang="0">
                <a:pos x="connsiteX735" y="connsiteY735"/>
              </a:cxn>
              <a:cxn ang="0">
                <a:pos x="connsiteX736" y="connsiteY736"/>
              </a:cxn>
              <a:cxn ang="0">
                <a:pos x="connsiteX737" y="connsiteY737"/>
              </a:cxn>
              <a:cxn ang="0">
                <a:pos x="connsiteX738" y="connsiteY738"/>
              </a:cxn>
              <a:cxn ang="0">
                <a:pos x="connsiteX739" y="connsiteY739"/>
              </a:cxn>
              <a:cxn ang="0">
                <a:pos x="connsiteX740" y="connsiteY740"/>
              </a:cxn>
              <a:cxn ang="0">
                <a:pos x="connsiteX741" y="connsiteY741"/>
              </a:cxn>
              <a:cxn ang="0">
                <a:pos x="connsiteX742" y="connsiteY742"/>
              </a:cxn>
              <a:cxn ang="0">
                <a:pos x="connsiteX743" y="connsiteY743"/>
              </a:cxn>
              <a:cxn ang="0">
                <a:pos x="connsiteX744" y="connsiteY744"/>
              </a:cxn>
              <a:cxn ang="0">
                <a:pos x="connsiteX745" y="connsiteY745"/>
              </a:cxn>
              <a:cxn ang="0">
                <a:pos x="connsiteX746" y="connsiteY746"/>
              </a:cxn>
              <a:cxn ang="0">
                <a:pos x="connsiteX747" y="connsiteY747"/>
              </a:cxn>
              <a:cxn ang="0">
                <a:pos x="connsiteX748" y="connsiteY748"/>
              </a:cxn>
              <a:cxn ang="0">
                <a:pos x="connsiteX749" y="connsiteY749"/>
              </a:cxn>
              <a:cxn ang="0">
                <a:pos x="connsiteX750" y="connsiteY750"/>
              </a:cxn>
              <a:cxn ang="0">
                <a:pos x="connsiteX751" y="connsiteY751"/>
              </a:cxn>
              <a:cxn ang="0">
                <a:pos x="connsiteX752" y="connsiteY752"/>
              </a:cxn>
              <a:cxn ang="0">
                <a:pos x="connsiteX753" y="connsiteY753"/>
              </a:cxn>
              <a:cxn ang="0">
                <a:pos x="connsiteX754" y="connsiteY754"/>
              </a:cxn>
              <a:cxn ang="0">
                <a:pos x="connsiteX755" y="connsiteY755"/>
              </a:cxn>
              <a:cxn ang="0">
                <a:pos x="connsiteX756" y="connsiteY756"/>
              </a:cxn>
              <a:cxn ang="0">
                <a:pos x="connsiteX757" y="connsiteY757"/>
              </a:cxn>
              <a:cxn ang="0">
                <a:pos x="connsiteX758" y="connsiteY758"/>
              </a:cxn>
              <a:cxn ang="0">
                <a:pos x="connsiteX759" y="connsiteY759"/>
              </a:cxn>
              <a:cxn ang="0">
                <a:pos x="connsiteX760" y="connsiteY760"/>
              </a:cxn>
              <a:cxn ang="0">
                <a:pos x="connsiteX761" y="connsiteY761"/>
              </a:cxn>
              <a:cxn ang="0">
                <a:pos x="connsiteX762" y="connsiteY762"/>
              </a:cxn>
              <a:cxn ang="0">
                <a:pos x="connsiteX763" y="connsiteY763"/>
              </a:cxn>
              <a:cxn ang="0">
                <a:pos x="connsiteX764" y="connsiteY764"/>
              </a:cxn>
              <a:cxn ang="0">
                <a:pos x="connsiteX765" y="connsiteY765"/>
              </a:cxn>
              <a:cxn ang="0">
                <a:pos x="connsiteX766" y="connsiteY766"/>
              </a:cxn>
              <a:cxn ang="0">
                <a:pos x="connsiteX767" y="connsiteY767"/>
              </a:cxn>
              <a:cxn ang="0">
                <a:pos x="connsiteX768" y="connsiteY768"/>
              </a:cxn>
              <a:cxn ang="0">
                <a:pos x="connsiteX769" y="connsiteY769"/>
              </a:cxn>
              <a:cxn ang="0">
                <a:pos x="connsiteX770" y="connsiteY770"/>
              </a:cxn>
              <a:cxn ang="0">
                <a:pos x="connsiteX771" y="connsiteY771"/>
              </a:cxn>
              <a:cxn ang="0">
                <a:pos x="connsiteX772" y="connsiteY772"/>
              </a:cxn>
              <a:cxn ang="0">
                <a:pos x="connsiteX773" y="connsiteY773"/>
              </a:cxn>
              <a:cxn ang="0">
                <a:pos x="connsiteX774" y="connsiteY774"/>
              </a:cxn>
              <a:cxn ang="0">
                <a:pos x="connsiteX775" y="connsiteY775"/>
              </a:cxn>
              <a:cxn ang="0">
                <a:pos x="connsiteX776" y="connsiteY776"/>
              </a:cxn>
              <a:cxn ang="0">
                <a:pos x="connsiteX777" y="connsiteY777"/>
              </a:cxn>
              <a:cxn ang="0">
                <a:pos x="connsiteX778" y="connsiteY778"/>
              </a:cxn>
              <a:cxn ang="0">
                <a:pos x="connsiteX779" y="connsiteY779"/>
              </a:cxn>
              <a:cxn ang="0">
                <a:pos x="connsiteX780" y="connsiteY780"/>
              </a:cxn>
              <a:cxn ang="0">
                <a:pos x="connsiteX781" y="connsiteY781"/>
              </a:cxn>
              <a:cxn ang="0">
                <a:pos x="connsiteX782" y="connsiteY782"/>
              </a:cxn>
              <a:cxn ang="0">
                <a:pos x="connsiteX783" y="connsiteY783"/>
              </a:cxn>
              <a:cxn ang="0">
                <a:pos x="connsiteX784" y="connsiteY784"/>
              </a:cxn>
              <a:cxn ang="0">
                <a:pos x="connsiteX785" y="connsiteY785"/>
              </a:cxn>
              <a:cxn ang="0">
                <a:pos x="connsiteX786" y="connsiteY786"/>
              </a:cxn>
              <a:cxn ang="0">
                <a:pos x="connsiteX787" y="connsiteY787"/>
              </a:cxn>
              <a:cxn ang="0">
                <a:pos x="connsiteX788" y="connsiteY788"/>
              </a:cxn>
              <a:cxn ang="0">
                <a:pos x="connsiteX789" y="connsiteY789"/>
              </a:cxn>
              <a:cxn ang="0">
                <a:pos x="connsiteX790" y="connsiteY790"/>
              </a:cxn>
              <a:cxn ang="0">
                <a:pos x="connsiteX791" y="connsiteY791"/>
              </a:cxn>
              <a:cxn ang="0">
                <a:pos x="connsiteX792" y="connsiteY792"/>
              </a:cxn>
              <a:cxn ang="0">
                <a:pos x="connsiteX793" y="connsiteY793"/>
              </a:cxn>
              <a:cxn ang="0">
                <a:pos x="connsiteX794" y="connsiteY794"/>
              </a:cxn>
              <a:cxn ang="0">
                <a:pos x="connsiteX795" y="connsiteY795"/>
              </a:cxn>
              <a:cxn ang="0">
                <a:pos x="connsiteX796" y="connsiteY796"/>
              </a:cxn>
              <a:cxn ang="0">
                <a:pos x="connsiteX797" y="connsiteY797"/>
              </a:cxn>
              <a:cxn ang="0">
                <a:pos x="connsiteX798" y="connsiteY798"/>
              </a:cxn>
              <a:cxn ang="0">
                <a:pos x="connsiteX799" y="connsiteY799"/>
              </a:cxn>
              <a:cxn ang="0">
                <a:pos x="connsiteX800" y="connsiteY800"/>
              </a:cxn>
              <a:cxn ang="0">
                <a:pos x="connsiteX801" y="connsiteY801"/>
              </a:cxn>
              <a:cxn ang="0">
                <a:pos x="connsiteX802" y="connsiteY802"/>
              </a:cxn>
              <a:cxn ang="0">
                <a:pos x="connsiteX803" y="connsiteY803"/>
              </a:cxn>
              <a:cxn ang="0">
                <a:pos x="connsiteX804" y="connsiteY804"/>
              </a:cxn>
              <a:cxn ang="0">
                <a:pos x="connsiteX805" y="connsiteY805"/>
              </a:cxn>
              <a:cxn ang="0">
                <a:pos x="connsiteX806" y="connsiteY806"/>
              </a:cxn>
              <a:cxn ang="0">
                <a:pos x="connsiteX807" y="connsiteY807"/>
              </a:cxn>
              <a:cxn ang="0">
                <a:pos x="connsiteX808" y="connsiteY808"/>
              </a:cxn>
              <a:cxn ang="0">
                <a:pos x="connsiteX809" y="connsiteY809"/>
              </a:cxn>
              <a:cxn ang="0">
                <a:pos x="connsiteX810" y="connsiteY810"/>
              </a:cxn>
              <a:cxn ang="0">
                <a:pos x="connsiteX811" y="connsiteY811"/>
              </a:cxn>
              <a:cxn ang="0">
                <a:pos x="connsiteX812" y="connsiteY812"/>
              </a:cxn>
              <a:cxn ang="0">
                <a:pos x="connsiteX813" y="connsiteY813"/>
              </a:cxn>
              <a:cxn ang="0">
                <a:pos x="connsiteX814" y="connsiteY814"/>
              </a:cxn>
              <a:cxn ang="0">
                <a:pos x="connsiteX815" y="connsiteY815"/>
              </a:cxn>
              <a:cxn ang="0">
                <a:pos x="connsiteX816" y="connsiteY816"/>
              </a:cxn>
              <a:cxn ang="0">
                <a:pos x="connsiteX817" y="connsiteY817"/>
              </a:cxn>
              <a:cxn ang="0">
                <a:pos x="connsiteX818" y="connsiteY818"/>
              </a:cxn>
              <a:cxn ang="0">
                <a:pos x="connsiteX819" y="connsiteY819"/>
              </a:cxn>
              <a:cxn ang="0">
                <a:pos x="connsiteX820" y="connsiteY820"/>
              </a:cxn>
              <a:cxn ang="0">
                <a:pos x="connsiteX821" y="connsiteY821"/>
              </a:cxn>
              <a:cxn ang="0">
                <a:pos x="connsiteX822" y="connsiteY822"/>
              </a:cxn>
              <a:cxn ang="0">
                <a:pos x="connsiteX823" y="connsiteY823"/>
              </a:cxn>
              <a:cxn ang="0">
                <a:pos x="connsiteX824" y="connsiteY824"/>
              </a:cxn>
              <a:cxn ang="0">
                <a:pos x="connsiteX825" y="connsiteY825"/>
              </a:cxn>
              <a:cxn ang="0">
                <a:pos x="connsiteX826" y="connsiteY826"/>
              </a:cxn>
              <a:cxn ang="0">
                <a:pos x="connsiteX827" y="connsiteY827"/>
              </a:cxn>
              <a:cxn ang="0">
                <a:pos x="connsiteX828" y="connsiteY828"/>
              </a:cxn>
              <a:cxn ang="0">
                <a:pos x="connsiteX829" y="connsiteY829"/>
              </a:cxn>
              <a:cxn ang="0">
                <a:pos x="connsiteX830" y="connsiteY830"/>
              </a:cxn>
              <a:cxn ang="0">
                <a:pos x="connsiteX831" y="connsiteY831"/>
              </a:cxn>
              <a:cxn ang="0">
                <a:pos x="connsiteX832" y="connsiteY832"/>
              </a:cxn>
              <a:cxn ang="0">
                <a:pos x="connsiteX833" y="connsiteY833"/>
              </a:cxn>
              <a:cxn ang="0">
                <a:pos x="connsiteX834" y="connsiteY834"/>
              </a:cxn>
              <a:cxn ang="0">
                <a:pos x="connsiteX835" y="connsiteY835"/>
              </a:cxn>
              <a:cxn ang="0">
                <a:pos x="connsiteX836" y="connsiteY836"/>
              </a:cxn>
              <a:cxn ang="0">
                <a:pos x="connsiteX837" y="connsiteY837"/>
              </a:cxn>
              <a:cxn ang="0">
                <a:pos x="connsiteX838" y="connsiteY838"/>
              </a:cxn>
              <a:cxn ang="0">
                <a:pos x="connsiteX839" y="connsiteY839"/>
              </a:cxn>
              <a:cxn ang="0">
                <a:pos x="connsiteX840" y="connsiteY840"/>
              </a:cxn>
              <a:cxn ang="0">
                <a:pos x="connsiteX841" y="connsiteY841"/>
              </a:cxn>
              <a:cxn ang="0">
                <a:pos x="connsiteX842" y="connsiteY842"/>
              </a:cxn>
              <a:cxn ang="0">
                <a:pos x="connsiteX843" y="connsiteY843"/>
              </a:cxn>
              <a:cxn ang="0">
                <a:pos x="connsiteX844" y="connsiteY844"/>
              </a:cxn>
              <a:cxn ang="0">
                <a:pos x="connsiteX845" y="connsiteY845"/>
              </a:cxn>
              <a:cxn ang="0">
                <a:pos x="connsiteX846" y="connsiteY846"/>
              </a:cxn>
              <a:cxn ang="0">
                <a:pos x="connsiteX847" y="connsiteY847"/>
              </a:cxn>
              <a:cxn ang="0">
                <a:pos x="connsiteX848" y="connsiteY848"/>
              </a:cxn>
              <a:cxn ang="0">
                <a:pos x="connsiteX849" y="connsiteY849"/>
              </a:cxn>
              <a:cxn ang="0">
                <a:pos x="connsiteX850" y="connsiteY850"/>
              </a:cxn>
              <a:cxn ang="0">
                <a:pos x="connsiteX851" y="connsiteY851"/>
              </a:cxn>
              <a:cxn ang="0">
                <a:pos x="connsiteX852" y="connsiteY852"/>
              </a:cxn>
              <a:cxn ang="0">
                <a:pos x="connsiteX853" y="connsiteY853"/>
              </a:cxn>
              <a:cxn ang="0">
                <a:pos x="connsiteX854" y="connsiteY854"/>
              </a:cxn>
              <a:cxn ang="0">
                <a:pos x="connsiteX855" y="connsiteY855"/>
              </a:cxn>
              <a:cxn ang="0">
                <a:pos x="connsiteX856" y="connsiteY856"/>
              </a:cxn>
              <a:cxn ang="0">
                <a:pos x="connsiteX857" y="connsiteY857"/>
              </a:cxn>
              <a:cxn ang="0">
                <a:pos x="connsiteX858" y="connsiteY858"/>
              </a:cxn>
              <a:cxn ang="0">
                <a:pos x="connsiteX859" y="connsiteY859"/>
              </a:cxn>
              <a:cxn ang="0">
                <a:pos x="connsiteX860" y="connsiteY860"/>
              </a:cxn>
              <a:cxn ang="0">
                <a:pos x="connsiteX861" y="connsiteY861"/>
              </a:cxn>
              <a:cxn ang="0">
                <a:pos x="connsiteX862" y="connsiteY862"/>
              </a:cxn>
              <a:cxn ang="0">
                <a:pos x="connsiteX863" y="connsiteY863"/>
              </a:cxn>
              <a:cxn ang="0">
                <a:pos x="connsiteX864" y="connsiteY864"/>
              </a:cxn>
              <a:cxn ang="0">
                <a:pos x="connsiteX865" y="connsiteY865"/>
              </a:cxn>
              <a:cxn ang="0">
                <a:pos x="connsiteX866" y="connsiteY866"/>
              </a:cxn>
              <a:cxn ang="0">
                <a:pos x="connsiteX867" y="connsiteY867"/>
              </a:cxn>
              <a:cxn ang="0">
                <a:pos x="connsiteX868" y="connsiteY868"/>
              </a:cxn>
              <a:cxn ang="0">
                <a:pos x="connsiteX869" y="connsiteY869"/>
              </a:cxn>
              <a:cxn ang="0">
                <a:pos x="connsiteX870" y="connsiteY870"/>
              </a:cxn>
              <a:cxn ang="0">
                <a:pos x="connsiteX871" y="connsiteY871"/>
              </a:cxn>
              <a:cxn ang="0">
                <a:pos x="connsiteX872" y="connsiteY872"/>
              </a:cxn>
              <a:cxn ang="0">
                <a:pos x="connsiteX873" y="connsiteY873"/>
              </a:cxn>
              <a:cxn ang="0">
                <a:pos x="connsiteX874" y="connsiteY874"/>
              </a:cxn>
              <a:cxn ang="0">
                <a:pos x="connsiteX875" y="connsiteY875"/>
              </a:cxn>
              <a:cxn ang="0">
                <a:pos x="connsiteX876" y="connsiteY876"/>
              </a:cxn>
              <a:cxn ang="0">
                <a:pos x="connsiteX877" y="connsiteY877"/>
              </a:cxn>
              <a:cxn ang="0">
                <a:pos x="connsiteX878" y="connsiteY878"/>
              </a:cxn>
              <a:cxn ang="0">
                <a:pos x="connsiteX879" y="connsiteY879"/>
              </a:cxn>
              <a:cxn ang="0">
                <a:pos x="connsiteX880" y="connsiteY880"/>
              </a:cxn>
              <a:cxn ang="0">
                <a:pos x="connsiteX881" y="connsiteY881"/>
              </a:cxn>
              <a:cxn ang="0">
                <a:pos x="connsiteX882" y="connsiteY882"/>
              </a:cxn>
              <a:cxn ang="0">
                <a:pos x="connsiteX883" y="connsiteY883"/>
              </a:cxn>
              <a:cxn ang="0">
                <a:pos x="connsiteX884" y="connsiteY884"/>
              </a:cxn>
              <a:cxn ang="0">
                <a:pos x="connsiteX885" y="connsiteY885"/>
              </a:cxn>
              <a:cxn ang="0">
                <a:pos x="connsiteX886" y="connsiteY886"/>
              </a:cxn>
              <a:cxn ang="0">
                <a:pos x="connsiteX887" y="connsiteY887"/>
              </a:cxn>
              <a:cxn ang="0">
                <a:pos x="connsiteX888" y="connsiteY888"/>
              </a:cxn>
              <a:cxn ang="0">
                <a:pos x="connsiteX889" y="connsiteY889"/>
              </a:cxn>
              <a:cxn ang="0">
                <a:pos x="connsiteX890" y="connsiteY890"/>
              </a:cxn>
              <a:cxn ang="0">
                <a:pos x="connsiteX891" y="connsiteY891"/>
              </a:cxn>
              <a:cxn ang="0">
                <a:pos x="connsiteX892" y="connsiteY892"/>
              </a:cxn>
              <a:cxn ang="0">
                <a:pos x="connsiteX893" y="connsiteY893"/>
              </a:cxn>
              <a:cxn ang="0">
                <a:pos x="connsiteX894" y="connsiteY894"/>
              </a:cxn>
              <a:cxn ang="0">
                <a:pos x="connsiteX895" y="connsiteY895"/>
              </a:cxn>
              <a:cxn ang="0">
                <a:pos x="connsiteX896" y="connsiteY896"/>
              </a:cxn>
              <a:cxn ang="0">
                <a:pos x="connsiteX897" y="connsiteY897"/>
              </a:cxn>
              <a:cxn ang="0">
                <a:pos x="connsiteX898" y="connsiteY898"/>
              </a:cxn>
              <a:cxn ang="0">
                <a:pos x="connsiteX899" y="connsiteY899"/>
              </a:cxn>
              <a:cxn ang="0">
                <a:pos x="connsiteX900" y="connsiteY900"/>
              </a:cxn>
              <a:cxn ang="0">
                <a:pos x="connsiteX901" y="connsiteY901"/>
              </a:cxn>
              <a:cxn ang="0">
                <a:pos x="connsiteX902" y="connsiteY902"/>
              </a:cxn>
              <a:cxn ang="0">
                <a:pos x="connsiteX903" y="connsiteY903"/>
              </a:cxn>
              <a:cxn ang="0">
                <a:pos x="connsiteX904" y="connsiteY904"/>
              </a:cxn>
              <a:cxn ang="0">
                <a:pos x="connsiteX905" y="connsiteY905"/>
              </a:cxn>
              <a:cxn ang="0">
                <a:pos x="connsiteX906" y="connsiteY906"/>
              </a:cxn>
              <a:cxn ang="0">
                <a:pos x="connsiteX907" y="connsiteY907"/>
              </a:cxn>
              <a:cxn ang="0">
                <a:pos x="connsiteX908" y="connsiteY908"/>
              </a:cxn>
              <a:cxn ang="0">
                <a:pos x="connsiteX909" y="connsiteY909"/>
              </a:cxn>
              <a:cxn ang="0">
                <a:pos x="connsiteX910" y="connsiteY910"/>
              </a:cxn>
              <a:cxn ang="0">
                <a:pos x="connsiteX911" y="connsiteY911"/>
              </a:cxn>
              <a:cxn ang="0">
                <a:pos x="connsiteX912" y="connsiteY912"/>
              </a:cxn>
              <a:cxn ang="0">
                <a:pos x="connsiteX913" y="connsiteY913"/>
              </a:cxn>
              <a:cxn ang="0">
                <a:pos x="connsiteX914" y="connsiteY914"/>
              </a:cxn>
              <a:cxn ang="0">
                <a:pos x="connsiteX915" y="connsiteY915"/>
              </a:cxn>
              <a:cxn ang="0">
                <a:pos x="connsiteX916" y="connsiteY916"/>
              </a:cxn>
              <a:cxn ang="0">
                <a:pos x="connsiteX917" y="connsiteY917"/>
              </a:cxn>
              <a:cxn ang="0">
                <a:pos x="connsiteX918" y="connsiteY918"/>
              </a:cxn>
              <a:cxn ang="0">
                <a:pos x="connsiteX919" y="connsiteY919"/>
              </a:cxn>
              <a:cxn ang="0">
                <a:pos x="connsiteX920" y="connsiteY920"/>
              </a:cxn>
              <a:cxn ang="0">
                <a:pos x="connsiteX921" y="connsiteY921"/>
              </a:cxn>
              <a:cxn ang="0">
                <a:pos x="connsiteX922" y="connsiteY922"/>
              </a:cxn>
              <a:cxn ang="0">
                <a:pos x="connsiteX923" y="connsiteY923"/>
              </a:cxn>
              <a:cxn ang="0">
                <a:pos x="connsiteX924" y="connsiteY924"/>
              </a:cxn>
              <a:cxn ang="0">
                <a:pos x="connsiteX925" y="connsiteY925"/>
              </a:cxn>
              <a:cxn ang="0">
                <a:pos x="connsiteX926" y="connsiteY926"/>
              </a:cxn>
              <a:cxn ang="0">
                <a:pos x="connsiteX927" y="connsiteY927"/>
              </a:cxn>
              <a:cxn ang="0">
                <a:pos x="connsiteX928" y="connsiteY928"/>
              </a:cxn>
              <a:cxn ang="0">
                <a:pos x="connsiteX929" y="connsiteY929"/>
              </a:cxn>
              <a:cxn ang="0">
                <a:pos x="connsiteX930" y="connsiteY930"/>
              </a:cxn>
              <a:cxn ang="0">
                <a:pos x="connsiteX931" y="connsiteY931"/>
              </a:cxn>
              <a:cxn ang="0">
                <a:pos x="connsiteX932" y="connsiteY932"/>
              </a:cxn>
              <a:cxn ang="0">
                <a:pos x="connsiteX933" y="connsiteY933"/>
              </a:cxn>
              <a:cxn ang="0">
                <a:pos x="connsiteX934" y="connsiteY934"/>
              </a:cxn>
              <a:cxn ang="0">
                <a:pos x="connsiteX935" y="connsiteY935"/>
              </a:cxn>
              <a:cxn ang="0">
                <a:pos x="connsiteX936" y="connsiteY936"/>
              </a:cxn>
              <a:cxn ang="0">
                <a:pos x="connsiteX937" y="connsiteY937"/>
              </a:cxn>
              <a:cxn ang="0">
                <a:pos x="connsiteX938" y="connsiteY938"/>
              </a:cxn>
              <a:cxn ang="0">
                <a:pos x="connsiteX939" y="connsiteY939"/>
              </a:cxn>
              <a:cxn ang="0">
                <a:pos x="connsiteX940" y="connsiteY940"/>
              </a:cxn>
              <a:cxn ang="0">
                <a:pos x="connsiteX941" y="connsiteY941"/>
              </a:cxn>
              <a:cxn ang="0">
                <a:pos x="connsiteX942" y="connsiteY942"/>
              </a:cxn>
              <a:cxn ang="0">
                <a:pos x="connsiteX943" y="connsiteY943"/>
              </a:cxn>
              <a:cxn ang="0">
                <a:pos x="connsiteX944" y="connsiteY944"/>
              </a:cxn>
              <a:cxn ang="0">
                <a:pos x="connsiteX945" y="connsiteY945"/>
              </a:cxn>
              <a:cxn ang="0">
                <a:pos x="connsiteX946" y="connsiteY946"/>
              </a:cxn>
              <a:cxn ang="0">
                <a:pos x="connsiteX947" y="connsiteY947"/>
              </a:cxn>
              <a:cxn ang="0">
                <a:pos x="connsiteX948" y="connsiteY948"/>
              </a:cxn>
              <a:cxn ang="0">
                <a:pos x="connsiteX949" y="connsiteY949"/>
              </a:cxn>
              <a:cxn ang="0">
                <a:pos x="connsiteX950" y="connsiteY950"/>
              </a:cxn>
              <a:cxn ang="0">
                <a:pos x="connsiteX951" y="connsiteY951"/>
              </a:cxn>
              <a:cxn ang="0">
                <a:pos x="connsiteX952" y="connsiteY952"/>
              </a:cxn>
              <a:cxn ang="0">
                <a:pos x="connsiteX953" y="connsiteY953"/>
              </a:cxn>
              <a:cxn ang="0">
                <a:pos x="connsiteX954" y="connsiteY954"/>
              </a:cxn>
              <a:cxn ang="0">
                <a:pos x="connsiteX955" y="connsiteY955"/>
              </a:cxn>
              <a:cxn ang="0">
                <a:pos x="connsiteX956" y="connsiteY956"/>
              </a:cxn>
              <a:cxn ang="0">
                <a:pos x="connsiteX957" y="connsiteY957"/>
              </a:cxn>
              <a:cxn ang="0">
                <a:pos x="connsiteX958" y="connsiteY958"/>
              </a:cxn>
              <a:cxn ang="0">
                <a:pos x="connsiteX959" y="connsiteY959"/>
              </a:cxn>
              <a:cxn ang="0">
                <a:pos x="connsiteX960" y="connsiteY960"/>
              </a:cxn>
              <a:cxn ang="0">
                <a:pos x="connsiteX961" y="connsiteY961"/>
              </a:cxn>
              <a:cxn ang="0">
                <a:pos x="connsiteX962" y="connsiteY962"/>
              </a:cxn>
              <a:cxn ang="0">
                <a:pos x="connsiteX963" y="connsiteY963"/>
              </a:cxn>
              <a:cxn ang="0">
                <a:pos x="connsiteX964" y="connsiteY964"/>
              </a:cxn>
              <a:cxn ang="0">
                <a:pos x="connsiteX965" y="connsiteY965"/>
              </a:cxn>
              <a:cxn ang="0">
                <a:pos x="connsiteX966" y="connsiteY966"/>
              </a:cxn>
              <a:cxn ang="0">
                <a:pos x="connsiteX967" y="connsiteY967"/>
              </a:cxn>
              <a:cxn ang="0">
                <a:pos x="connsiteX968" y="connsiteY968"/>
              </a:cxn>
              <a:cxn ang="0">
                <a:pos x="connsiteX969" y="connsiteY969"/>
              </a:cxn>
              <a:cxn ang="0">
                <a:pos x="connsiteX970" y="connsiteY970"/>
              </a:cxn>
              <a:cxn ang="0">
                <a:pos x="connsiteX971" y="connsiteY971"/>
              </a:cxn>
              <a:cxn ang="0">
                <a:pos x="connsiteX972" y="connsiteY972"/>
              </a:cxn>
              <a:cxn ang="0">
                <a:pos x="connsiteX973" y="connsiteY973"/>
              </a:cxn>
              <a:cxn ang="0">
                <a:pos x="connsiteX974" y="connsiteY974"/>
              </a:cxn>
              <a:cxn ang="0">
                <a:pos x="connsiteX975" y="connsiteY975"/>
              </a:cxn>
              <a:cxn ang="0">
                <a:pos x="connsiteX976" y="connsiteY976"/>
              </a:cxn>
              <a:cxn ang="0">
                <a:pos x="connsiteX977" y="connsiteY977"/>
              </a:cxn>
              <a:cxn ang="0">
                <a:pos x="connsiteX978" y="connsiteY978"/>
              </a:cxn>
              <a:cxn ang="0">
                <a:pos x="connsiteX979" y="connsiteY979"/>
              </a:cxn>
              <a:cxn ang="0">
                <a:pos x="connsiteX980" y="connsiteY980"/>
              </a:cxn>
              <a:cxn ang="0">
                <a:pos x="connsiteX981" y="connsiteY981"/>
              </a:cxn>
              <a:cxn ang="0">
                <a:pos x="connsiteX982" y="connsiteY982"/>
              </a:cxn>
              <a:cxn ang="0">
                <a:pos x="connsiteX983" y="connsiteY983"/>
              </a:cxn>
              <a:cxn ang="0">
                <a:pos x="connsiteX984" y="connsiteY984"/>
              </a:cxn>
              <a:cxn ang="0">
                <a:pos x="connsiteX985" y="connsiteY985"/>
              </a:cxn>
              <a:cxn ang="0">
                <a:pos x="connsiteX986" y="connsiteY986"/>
              </a:cxn>
              <a:cxn ang="0">
                <a:pos x="connsiteX987" y="connsiteY987"/>
              </a:cxn>
              <a:cxn ang="0">
                <a:pos x="connsiteX988" y="connsiteY988"/>
              </a:cxn>
              <a:cxn ang="0">
                <a:pos x="connsiteX989" y="connsiteY989"/>
              </a:cxn>
              <a:cxn ang="0">
                <a:pos x="connsiteX990" y="connsiteY990"/>
              </a:cxn>
              <a:cxn ang="0">
                <a:pos x="connsiteX991" y="connsiteY991"/>
              </a:cxn>
              <a:cxn ang="0">
                <a:pos x="connsiteX992" y="connsiteY992"/>
              </a:cxn>
              <a:cxn ang="0">
                <a:pos x="connsiteX993" y="connsiteY993"/>
              </a:cxn>
              <a:cxn ang="0">
                <a:pos x="connsiteX994" y="connsiteY994"/>
              </a:cxn>
              <a:cxn ang="0">
                <a:pos x="connsiteX995" y="connsiteY995"/>
              </a:cxn>
              <a:cxn ang="0">
                <a:pos x="connsiteX996" y="connsiteY996"/>
              </a:cxn>
              <a:cxn ang="0">
                <a:pos x="connsiteX997" y="connsiteY997"/>
              </a:cxn>
              <a:cxn ang="0">
                <a:pos x="connsiteX998" y="connsiteY998"/>
              </a:cxn>
              <a:cxn ang="0">
                <a:pos x="connsiteX999" y="connsiteY999"/>
              </a:cxn>
              <a:cxn ang="0">
                <a:pos x="connsiteX1000" y="connsiteY1000"/>
              </a:cxn>
              <a:cxn ang="0">
                <a:pos x="connsiteX1001" y="connsiteY1001"/>
              </a:cxn>
              <a:cxn ang="0">
                <a:pos x="connsiteX1002" y="connsiteY1002"/>
              </a:cxn>
              <a:cxn ang="0">
                <a:pos x="connsiteX1003" y="connsiteY1003"/>
              </a:cxn>
              <a:cxn ang="0">
                <a:pos x="connsiteX1004" y="connsiteY1004"/>
              </a:cxn>
              <a:cxn ang="0">
                <a:pos x="connsiteX1005" y="connsiteY1005"/>
              </a:cxn>
              <a:cxn ang="0">
                <a:pos x="connsiteX1006" y="connsiteY1006"/>
              </a:cxn>
              <a:cxn ang="0">
                <a:pos x="connsiteX1007" y="connsiteY1007"/>
              </a:cxn>
              <a:cxn ang="0">
                <a:pos x="connsiteX1008" y="connsiteY1008"/>
              </a:cxn>
              <a:cxn ang="0">
                <a:pos x="connsiteX1009" y="connsiteY1009"/>
              </a:cxn>
              <a:cxn ang="0">
                <a:pos x="connsiteX1010" y="connsiteY1010"/>
              </a:cxn>
              <a:cxn ang="0">
                <a:pos x="connsiteX1011" y="connsiteY1011"/>
              </a:cxn>
              <a:cxn ang="0">
                <a:pos x="connsiteX1012" y="connsiteY1012"/>
              </a:cxn>
              <a:cxn ang="0">
                <a:pos x="connsiteX1013" y="connsiteY1013"/>
              </a:cxn>
              <a:cxn ang="0">
                <a:pos x="connsiteX1014" y="connsiteY1014"/>
              </a:cxn>
              <a:cxn ang="0">
                <a:pos x="connsiteX1015" y="connsiteY1015"/>
              </a:cxn>
              <a:cxn ang="0">
                <a:pos x="connsiteX1016" y="connsiteY1016"/>
              </a:cxn>
              <a:cxn ang="0">
                <a:pos x="connsiteX1017" y="connsiteY1017"/>
              </a:cxn>
              <a:cxn ang="0">
                <a:pos x="connsiteX1018" y="connsiteY1018"/>
              </a:cxn>
              <a:cxn ang="0">
                <a:pos x="connsiteX1019" y="connsiteY1019"/>
              </a:cxn>
              <a:cxn ang="0">
                <a:pos x="connsiteX1020" y="connsiteY1020"/>
              </a:cxn>
              <a:cxn ang="0">
                <a:pos x="connsiteX1021" y="connsiteY1021"/>
              </a:cxn>
              <a:cxn ang="0">
                <a:pos x="connsiteX1022" y="connsiteY1022"/>
              </a:cxn>
              <a:cxn ang="0">
                <a:pos x="connsiteX1023" y="connsiteY1023"/>
              </a:cxn>
              <a:cxn ang="0">
                <a:pos x="connsiteX1024" y="connsiteY1024"/>
              </a:cxn>
              <a:cxn ang="0">
                <a:pos x="connsiteX1025" y="connsiteY1025"/>
              </a:cxn>
              <a:cxn ang="0">
                <a:pos x="connsiteX1026" y="connsiteY1026"/>
              </a:cxn>
              <a:cxn ang="0">
                <a:pos x="connsiteX1027" y="connsiteY1027"/>
              </a:cxn>
              <a:cxn ang="0">
                <a:pos x="connsiteX1028" y="connsiteY1028"/>
              </a:cxn>
              <a:cxn ang="0">
                <a:pos x="connsiteX1029" y="connsiteY1029"/>
              </a:cxn>
              <a:cxn ang="0">
                <a:pos x="connsiteX1030" y="connsiteY1030"/>
              </a:cxn>
              <a:cxn ang="0">
                <a:pos x="connsiteX1031" y="connsiteY1031"/>
              </a:cxn>
              <a:cxn ang="0">
                <a:pos x="connsiteX1032" y="connsiteY1032"/>
              </a:cxn>
              <a:cxn ang="0">
                <a:pos x="connsiteX1033" y="connsiteY1033"/>
              </a:cxn>
              <a:cxn ang="0">
                <a:pos x="connsiteX1034" y="connsiteY1034"/>
              </a:cxn>
              <a:cxn ang="0">
                <a:pos x="connsiteX1035" y="connsiteY1035"/>
              </a:cxn>
              <a:cxn ang="0">
                <a:pos x="connsiteX1036" y="connsiteY1036"/>
              </a:cxn>
              <a:cxn ang="0">
                <a:pos x="connsiteX1037" y="connsiteY1037"/>
              </a:cxn>
              <a:cxn ang="0">
                <a:pos x="connsiteX1038" y="connsiteY1038"/>
              </a:cxn>
              <a:cxn ang="0">
                <a:pos x="connsiteX1039" y="connsiteY1039"/>
              </a:cxn>
              <a:cxn ang="0">
                <a:pos x="connsiteX1040" y="connsiteY1040"/>
              </a:cxn>
              <a:cxn ang="0">
                <a:pos x="connsiteX1041" y="connsiteY1041"/>
              </a:cxn>
              <a:cxn ang="0">
                <a:pos x="connsiteX1042" y="connsiteY1042"/>
              </a:cxn>
              <a:cxn ang="0">
                <a:pos x="connsiteX1043" y="connsiteY1043"/>
              </a:cxn>
              <a:cxn ang="0">
                <a:pos x="connsiteX1044" y="connsiteY1044"/>
              </a:cxn>
              <a:cxn ang="0">
                <a:pos x="connsiteX1045" y="connsiteY1045"/>
              </a:cxn>
              <a:cxn ang="0">
                <a:pos x="connsiteX1046" y="connsiteY1046"/>
              </a:cxn>
              <a:cxn ang="0">
                <a:pos x="connsiteX1047" y="connsiteY1047"/>
              </a:cxn>
              <a:cxn ang="0">
                <a:pos x="connsiteX1048" y="connsiteY1048"/>
              </a:cxn>
              <a:cxn ang="0">
                <a:pos x="connsiteX1049" y="connsiteY1049"/>
              </a:cxn>
              <a:cxn ang="0">
                <a:pos x="connsiteX1050" y="connsiteY1050"/>
              </a:cxn>
              <a:cxn ang="0">
                <a:pos x="connsiteX1051" y="connsiteY1051"/>
              </a:cxn>
              <a:cxn ang="0">
                <a:pos x="connsiteX1052" y="connsiteY1052"/>
              </a:cxn>
              <a:cxn ang="0">
                <a:pos x="connsiteX1053" y="connsiteY1053"/>
              </a:cxn>
              <a:cxn ang="0">
                <a:pos x="connsiteX1054" y="connsiteY1054"/>
              </a:cxn>
              <a:cxn ang="0">
                <a:pos x="connsiteX1055" y="connsiteY1055"/>
              </a:cxn>
              <a:cxn ang="0">
                <a:pos x="connsiteX1056" y="connsiteY1056"/>
              </a:cxn>
              <a:cxn ang="0">
                <a:pos x="connsiteX1057" y="connsiteY1057"/>
              </a:cxn>
              <a:cxn ang="0">
                <a:pos x="connsiteX1058" y="connsiteY1058"/>
              </a:cxn>
              <a:cxn ang="0">
                <a:pos x="connsiteX1059" y="connsiteY1059"/>
              </a:cxn>
              <a:cxn ang="0">
                <a:pos x="connsiteX1060" y="connsiteY1060"/>
              </a:cxn>
              <a:cxn ang="0">
                <a:pos x="connsiteX1061" y="connsiteY1061"/>
              </a:cxn>
              <a:cxn ang="0">
                <a:pos x="connsiteX1062" y="connsiteY1062"/>
              </a:cxn>
              <a:cxn ang="0">
                <a:pos x="connsiteX1063" y="connsiteY1063"/>
              </a:cxn>
              <a:cxn ang="0">
                <a:pos x="connsiteX1064" y="connsiteY1064"/>
              </a:cxn>
              <a:cxn ang="0">
                <a:pos x="connsiteX1065" y="connsiteY1065"/>
              </a:cxn>
              <a:cxn ang="0">
                <a:pos x="connsiteX1066" y="connsiteY1066"/>
              </a:cxn>
              <a:cxn ang="0">
                <a:pos x="connsiteX1067" y="connsiteY1067"/>
              </a:cxn>
              <a:cxn ang="0">
                <a:pos x="connsiteX1068" y="connsiteY1068"/>
              </a:cxn>
              <a:cxn ang="0">
                <a:pos x="connsiteX1069" y="connsiteY1069"/>
              </a:cxn>
              <a:cxn ang="0">
                <a:pos x="connsiteX1070" y="connsiteY1070"/>
              </a:cxn>
              <a:cxn ang="0">
                <a:pos x="connsiteX1071" y="connsiteY1071"/>
              </a:cxn>
              <a:cxn ang="0">
                <a:pos x="connsiteX1072" y="connsiteY1072"/>
              </a:cxn>
              <a:cxn ang="0">
                <a:pos x="connsiteX1073" y="connsiteY1073"/>
              </a:cxn>
              <a:cxn ang="0">
                <a:pos x="connsiteX1074" y="connsiteY1074"/>
              </a:cxn>
              <a:cxn ang="0">
                <a:pos x="connsiteX1075" y="connsiteY1075"/>
              </a:cxn>
              <a:cxn ang="0">
                <a:pos x="connsiteX1076" y="connsiteY1076"/>
              </a:cxn>
              <a:cxn ang="0">
                <a:pos x="connsiteX1077" y="connsiteY1077"/>
              </a:cxn>
              <a:cxn ang="0">
                <a:pos x="connsiteX1078" y="connsiteY1078"/>
              </a:cxn>
              <a:cxn ang="0">
                <a:pos x="connsiteX1079" y="connsiteY1079"/>
              </a:cxn>
              <a:cxn ang="0">
                <a:pos x="connsiteX1080" y="connsiteY1080"/>
              </a:cxn>
              <a:cxn ang="0">
                <a:pos x="connsiteX1081" y="connsiteY1081"/>
              </a:cxn>
              <a:cxn ang="0">
                <a:pos x="connsiteX1082" y="connsiteY1082"/>
              </a:cxn>
              <a:cxn ang="0">
                <a:pos x="connsiteX1083" y="connsiteY1083"/>
              </a:cxn>
              <a:cxn ang="0">
                <a:pos x="connsiteX1084" y="connsiteY1084"/>
              </a:cxn>
              <a:cxn ang="0">
                <a:pos x="connsiteX1085" y="connsiteY1085"/>
              </a:cxn>
              <a:cxn ang="0">
                <a:pos x="connsiteX1086" y="connsiteY1086"/>
              </a:cxn>
              <a:cxn ang="0">
                <a:pos x="connsiteX1087" y="connsiteY1087"/>
              </a:cxn>
              <a:cxn ang="0">
                <a:pos x="connsiteX1088" y="connsiteY1088"/>
              </a:cxn>
              <a:cxn ang="0">
                <a:pos x="connsiteX1089" y="connsiteY1089"/>
              </a:cxn>
              <a:cxn ang="0">
                <a:pos x="connsiteX1090" y="connsiteY1090"/>
              </a:cxn>
              <a:cxn ang="0">
                <a:pos x="connsiteX1091" y="connsiteY1091"/>
              </a:cxn>
              <a:cxn ang="0">
                <a:pos x="connsiteX1092" y="connsiteY1092"/>
              </a:cxn>
              <a:cxn ang="0">
                <a:pos x="connsiteX1093" y="connsiteY1093"/>
              </a:cxn>
              <a:cxn ang="0">
                <a:pos x="connsiteX1094" y="connsiteY1094"/>
              </a:cxn>
              <a:cxn ang="0">
                <a:pos x="connsiteX1095" y="connsiteY1095"/>
              </a:cxn>
              <a:cxn ang="0">
                <a:pos x="connsiteX1096" y="connsiteY1096"/>
              </a:cxn>
              <a:cxn ang="0">
                <a:pos x="connsiteX1097" y="connsiteY1097"/>
              </a:cxn>
              <a:cxn ang="0">
                <a:pos x="connsiteX1098" y="connsiteY1098"/>
              </a:cxn>
              <a:cxn ang="0">
                <a:pos x="connsiteX1099" y="connsiteY1099"/>
              </a:cxn>
              <a:cxn ang="0">
                <a:pos x="connsiteX1100" y="connsiteY1100"/>
              </a:cxn>
              <a:cxn ang="0">
                <a:pos x="connsiteX1101" y="connsiteY1101"/>
              </a:cxn>
              <a:cxn ang="0">
                <a:pos x="connsiteX1102" y="connsiteY1102"/>
              </a:cxn>
              <a:cxn ang="0">
                <a:pos x="connsiteX1103" y="connsiteY1103"/>
              </a:cxn>
              <a:cxn ang="0">
                <a:pos x="connsiteX1104" y="connsiteY1104"/>
              </a:cxn>
              <a:cxn ang="0">
                <a:pos x="connsiteX1105" y="connsiteY1105"/>
              </a:cxn>
              <a:cxn ang="0">
                <a:pos x="connsiteX1106" y="connsiteY1106"/>
              </a:cxn>
              <a:cxn ang="0">
                <a:pos x="connsiteX1107" y="connsiteY1107"/>
              </a:cxn>
              <a:cxn ang="0">
                <a:pos x="connsiteX1108" y="connsiteY1108"/>
              </a:cxn>
              <a:cxn ang="0">
                <a:pos x="connsiteX1109" y="connsiteY1109"/>
              </a:cxn>
              <a:cxn ang="0">
                <a:pos x="connsiteX1110" y="connsiteY1110"/>
              </a:cxn>
              <a:cxn ang="0">
                <a:pos x="connsiteX1111" y="connsiteY1111"/>
              </a:cxn>
              <a:cxn ang="0">
                <a:pos x="connsiteX1112" y="connsiteY1112"/>
              </a:cxn>
              <a:cxn ang="0">
                <a:pos x="connsiteX1113" y="connsiteY1113"/>
              </a:cxn>
              <a:cxn ang="0">
                <a:pos x="connsiteX1114" y="connsiteY1114"/>
              </a:cxn>
              <a:cxn ang="0">
                <a:pos x="connsiteX1115" y="connsiteY1115"/>
              </a:cxn>
              <a:cxn ang="0">
                <a:pos x="connsiteX1116" y="connsiteY1116"/>
              </a:cxn>
              <a:cxn ang="0">
                <a:pos x="connsiteX1117" y="connsiteY1117"/>
              </a:cxn>
              <a:cxn ang="0">
                <a:pos x="connsiteX1118" y="connsiteY1118"/>
              </a:cxn>
              <a:cxn ang="0">
                <a:pos x="connsiteX1119" y="connsiteY1119"/>
              </a:cxn>
              <a:cxn ang="0">
                <a:pos x="connsiteX1120" y="connsiteY1120"/>
              </a:cxn>
              <a:cxn ang="0">
                <a:pos x="connsiteX1121" y="connsiteY1121"/>
              </a:cxn>
              <a:cxn ang="0">
                <a:pos x="connsiteX1122" y="connsiteY1122"/>
              </a:cxn>
              <a:cxn ang="0">
                <a:pos x="connsiteX1123" y="connsiteY1123"/>
              </a:cxn>
              <a:cxn ang="0">
                <a:pos x="connsiteX1124" y="connsiteY1124"/>
              </a:cxn>
              <a:cxn ang="0">
                <a:pos x="connsiteX1125" y="connsiteY1125"/>
              </a:cxn>
              <a:cxn ang="0">
                <a:pos x="connsiteX1126" y="connsiteY1126"/>
              </a:cxn>
              <a:cxn ang="0">
                <a:pos x="connsiteX1127" y="connsiteY1127"/>
              </a:cxn>
              <a:cxn ang="0">
                <a:pos x="connsiteX1128" y="connsiteY1128"/>
              </a:cxn>
              <a:cxn ang="0">
                <a:pos x="connsiteX1129" y="connsiteY1129"/>
              </a:cxn>
              <a:cxn ang="0">
                <a:pos x="connsiteX1130" y="connsiteY1130"/>
              </a:cxn>
              <a:cxn ang="0">
                <a:pos x="connsiteX1131" y="connsiteY1131"/>
              </a:cxn>
              <a:cxn ang="0">
                <a:pos x="connsiteX1132" y="connsiteY1132"/>
              </a:cxn>
              <a:cxn ang="0">
                <a:pos x="connsiteX1133" y="connsiteY1133"/>
              </a:cxn>
              <a:cxn ang="0">
                <a:pos x="connsiteX1134" y="connsiteY1134"/>
              </a:cxn>
              <a:cxn ang="0">
                <a:pos x="connsiteX1135" y="connsiteY1135"/>
              </a:cxn>
              <a:cxn ang="0">
                <a:pos x="connsiteX1136" y="connsiteY1136"/>
              </a:cxn>
              <a:cxn ang="0">
                <a:pos x="connsiteX1137" y="connsiteY1137"/>
              </a:cxn>
              <a:cxn ang="0">
                <a:pos x="connsiteX1138" y="connsiteY1138"/>
              </a:cxn>
              <a:cxn ang="0">
                <a:pos x="connsiteX1139" y="connsiteY1139"/>
              </a:cxn>
              <a:cxn ang="0">
                <a:pos x="connsiteX1140" y="connsiteY1140"/>
              </a:cxn>
              <a:cxn ang="0">
                <a:pos x="connsiteX1141" y="connsiteY1141"/>
              </a:cxn>
              <a:cxn ang="0">
                <a:pos x="connsiteX1142" y="connsiteY1142"/>
              </a:cxn>
              <a:cxn ang="0">
                <a:pos x="connsiteX1143" y="connsiteY1143"/>
              </a:cxn>
              <a:cxn ang="0">
                <a:pos x="connsiteX1144" y="connsiteY1144"/>
              </a:cxn>
              <a:cxn ang="0">
                <a:pos x="connsiteX1145" y="connsiteY1145"/>
              </a:cxn>
              <a:cxn ang="0">
                <a:pos x="connsiteX1146" y="connsiteY1146"/>
              </a:cxn>
              <a:cxn ang="0">
                <a:pos x="connsiteX1147" y="connsiteY1147"/>
              </a:cxn>
              <a:cxn ang="0">
                <a:pos x="connsiteX1148" y="connsiteY1148"/>
              </a:cxn>
              <a:cxn ang="0">
                <a:pos x="connsiteX1149" y="connsiteY1149"/>
              </a:cxn>
              <a:cxn ang="0">
                <a:pos x="connsiteX1150" y="connsiteY1150"/>
              </a:cxn>
              <a:cxn ang="0">
                <a:pos x="connsiteX1151" y="connsiteY1151"/>
              </a:cxn>
              <a:cxn ang="0">
                <a:pos x="connsiteX1152" y="connsiteY1152"/>
              </a:cxn>
              <a:cxn ang="0">
                <a:pos x="connsiteX1153" y="connsiteY1153"/>
              </a:cxn>
              <a:cxn ang="0">
                <a:pos x="connsiteX1154" y="connsiteY1154"/>
              </a:cxn>
              <a:cxn ang="0">
                <a:pos x="connsiteX1155" y="connsiteY1155"/>
              </a:cxn>
              <a:cxn ang="0">
                <a:pos x="connsiteX1156" y="connsiteY1156"/>
              </a:cxn>
              <a:cxn ang="0">
                <a:pos x="connsiteX1157" y="connsiteY1157"/>
              </a:cxn>
              <a:cxn ang="0">
                <a:pos x="connsiteX1158" y="connsiteY1158"/>
              </a:cxn>
              <a:cxn ang="0">
                <a:pos x="connsiteX1159" y="connsiteY1159"/>
              </a:cxn>
              <a:cxn ang="0">
                <a:pos x="connsiteX1160" y="connsiteY1160"/>
              </a:cxn>
              <a:cxn ang="0">
                <a:pos x="connsiteX1161" y="connsiteY1161"/>
              </a:cxn>
              <a:cxn ang="0">
                <a:pos x="connsiteX1162" y="connsiteY1162"/>
              </a:cxn>
              <a:cxn ang="0">
                <a:pos x="connsiteX1163" y="connsiteY1163"/>
              </a:cxn>
              <a:cxn ang="0">
                <a:pos x="connsiteX1164" y="connsiteY1164"/>
              </a:cxn>
              <a:cxn ang="0">
                <a:pos x="connsiteX1165" y="connsiteY1165"/>
              </a:cxn>
              <a:cxn ang="0">
                <a:pos x="connsiteX1166" y="connsiteY1166"/>
              </a:cxn>
              <a:cxn ang="0">
                <a:pos x="connsiteX1167" y="connsiteY1167"/>
              </a:cxn>
              <a:cxn ang="0">
                <a:pos x="connsiteX1168" y="connsiteY1168"/>
              </a:cxn>
              <a:cxn ang="0">
                <a:pos x="connsiteX1169" y="connsiteY1169"/>
              </a:cxn>
              <a:cxn ang="0">
                <a:pos x="connsiteX1170" y="connsiteY1170"/>
              </a:cxn>
              <a:cxn ang="0">
                <a:pos x="connsiteX1171" y="connsiteY1171"/>
              </a:cxn>
              <a:cxn ang="0">
                <a:pos x="connsiteX1172" y="connsiteY1172"/>
              </a:cxn>
              <a:cxn ang="0">
                <a:pos x="connsiteX1173" y="connsiteY1173"/>
              </a:cxn>
              <a:cxn ang="0">
                <a:pos x="connsiteX1174" y="connsiteY1174"/>
              </a:cxn>
              <a:cxn ang="0">
                <a:pos x="connsiteX1175" y="connsiteY1175"/>
              </a:cxn>
              <a:cxn ang="0">
                <a:pos x="connsiteX1176" y="connsiteY1176"/>
              </a:cxn>
              <a:cxn ang="0">
                <a:pos x="connsiteX1177" y="connsiteY1177"/>
              </a:cxn>
              <a:cxn ang="0">
                <a:pos x="connsiteX1178" y="connsiteY1178"/>
              </a:cxn>
              <a:cxn ang="0">
                <a:pos x="connsiteX1179" y="connsiteY1179"/>
              </a:cxn>
              <a:cxn ang="0">
                <a:pos x="connsiteX1180" y="connsiteY1180"/>
              </a:cxn>
              <a:cxn ang="0">
                <a:pos x="connsiteX1181" y="connsiteY1181"/>
              </a:cxn>
              <a:cxn ang="0">
                <a:pos x="connsiteX1182" y="connsiteY1182"/>
              </a:cxn>
              <a:cxn ang="0">
                <a:pos x="connsiteX1183" y="connsiteY1183"/>
              </a:cxn>
              <a:cxn ang="0">
                <a:pos x="connsiteX1184" y="connsiteY1184"/>
              </a:cxn>
              <a:cxn ang="0">
                <a:pos x="connsiteX1185" y="connsiteY1185"/>
              </a:cxn>
              <a:cxn ang="0">
                <a:pos x="connsiteX1186" y="connsiteY1186"/>
              </a:cxn>
              <a:cxn ang="0">
                <a:pos x="connsiteX1187" y="connsiteY1187"/>
              </a:cxn>
              <a:cxn ang="0">
                <a:pos x="connsiteX1188" y="connsiteY1188"/>
              </a:cxn>
              <a:cxn ang="0">
                <a:pos x="connsiteX1189" y="connsiteY1189"/>
              </a:cxn>
              <a:cxn ang="0">
                <a:pos x="connsiteX1190" y="connsiteY1190"/>
              </a:cxn>
              <a:cxn ang="0">
                <a:pos x="connsiteX1191" y="connsiteY1191"/>
              </a:cxn>
              <a:cxn ang="0">
                <a:pos x="connsiteX1192" y="connsiteY1192"/>
              </a:cxn>
              <a:cxn ang="0">
                <a:pos x="connsiteX1193" y="connsiteY1193"/>
              </a:cxn>
              <a:cxn ang="0">
                <a:pos x="connsiteX1194" y="connsiteY1194"/>
              </a:cxn>
              <a:cxn ang="0">
                <a:pos x="connsiteX1195" y="connsiteY1195"/>
              </a:cxn>
              <a:cxn ang="0">
                <a:pos x="connsiteX1196" y="connsiteY1196"/>
              </a:cxn>
              <a:cxn ang="0">
                <a:pos x="connsiteX1197" y="connsiteY1197"/>
              </a:cxn>
              <a:cxn ang="0">
                <a:pos x="connsiteX1198" y="connsiteY1198"/>
              </a:cxn>
              <a:cxn ang="0">
                <a:pos x="connsiteX1199" y="connsiteY1199"/>
              </a:cxn>
              <a:cxn ang="0">
                <a:pos x="connsiteX1200" y="connsiteY1200"/>
              </a:cxn>
              <a:cxn ang="0">
                <a:pos x="connsiteX1201" y="connsiteY1201"/>
              </a:cxn>
              <a:cxn ang="0">
                <a:pos x="connsiteX1202" y="connsiteY1202"/>
              </a:cxn>
              <a:cxn ang="0">
                <a:pos x="connsiteX1203" y="connsiteY1203"/>
              </a:cxn>
              <a:cxn ang="0">
                <a:pos x="connsiteX1204" y="connsiteY1204"/>
              </a:cxn>
              <a:cxn ang="0">
                <a:pos x="connsiteX1205" y="connsiteY1205"/>
              </a:cxn>
              <a:cxn ang="0">
                <a:pos x="connsiteX1206" y="connsiteY1206"/>
              </a:cxn>
              <a:cxn ang="0">
                <a:pos x="connsiteX1207" y="connsiteY1207"/>
              </a:cxn>
              <a:cxn ang="0">
                <a:pos x="connsiteX1208" y="connsiteY1208"/>
              </a:cxn>
              <a:cxn ang="0">
                <a:pos x="connsiteX1209" y="connsiteY1209"/>
              </a:cxn>
              <a:cxn ang="0">
                <a:pos x="connsiteX1210" y="connsiteY1210"/>
              </a:cxn>
              <a:cxn ang="0">
                <a:pos x="connsiteX1211" y="connsiteY1211"/>
              </a:cxn>
              <a:cxn ang="0">
                <a:pos x="connsiteX1212" y="connsiteY1212"/>
              </a:cxn>
              <a:cxn ang="0">
                <a:pos x="connsiteX1213" y="connsiteY1213"/>
              </a:cxn>
              <a:cxn ang="0">
                <a:pos x="connsiteX1214" y="connsiteY1214"/>
              </a:cxn>
              <a:cxn ang="0">
                <a:pos x="connsiteX1215" y="connsiteY1215"/>
              </a:cxn>
              <a:cxn ang="0">
                <a:pos x="connsiteX1216" y="connsiteY1216"/>
              </a:cxn>
              <a:cxn ang="0">
                <a:pos x="connsiteX1217" y="connsiteY1217"/>
              </a:cxn>
              <a:cxn ang="0">
                <a:pos x="connsiteX1218" y="connsiteY1218"/>
              </a:cxn>
              <a:cxn ang="0">
                <a:pos x="connsiteX1219" y="connsiteY1219"/>
              </a:cxn>
              <a:cxn ang="0">
                <a:pos x="connsiteX1220" y="connsiteY1220"/>
              </a:cxn>
              <a:cxn ang="0">
                <a:pos x="connsiteX1221" y="connsiteY1221"/>
              </a:cxn>
              <a:cxn ang="0">
                <a:pos x="connsiteX1222" y="connsiteY1222"/>
              </a:cxn>
              <a:cxn ang="0">
                <a:pos x="connsiteX1223" y="connsiteY1223"/>
              </a:cxn>
              <a:cxn ang="0">
                <a:pos x="connsiteX1224" y="connsiteY1224"/>
              </a:cxn>
              <a:cxn ang="0">
                <a:pos x="connsiteX1225" y="connsiteY1225"/>
              </a:cxn>
              <a:cxn ang="0">
                <a:pos x="connsiteX1226" y="connsiteY1226"/>
              </a:cxn>
              <a:cxn ang="0">
                <a:pos x="connsiteX1227" y="connsiteY1227"/>
              </a:cxn>
              <a:cxn ang="0">
                <a:pos x="connsiteX1228" y="connsiteY1228"/>
              </a:cxn>
              <a:cxn ang="0">
                <a:pos x="connsiteX1229" y="connsiteY1229"/>
              </a:cxn>
              <a:cxn ang="0">
                <a:pos x="connsiteX1230" y="connsiteY1230"/>
              </a:cxn>
              <a:cxn ang="0">
                <a:pos x="connsiteX1231" y="connsiteY1231"/>
              </a:cxn>
              <a:cxn ang="0">
                <a:pos x="connsiteX1232" y="connsiteY1232"/>
              </a:cxn>
              <a:cxn ang="0">
                <a:pos x="connsiteX1233" y="connsiteY1233"/>
              </a:cxn>
              <a:cxn ang="0">
                <a:pos x="connsiteX1234" y="connsiteY1234"/>
              </a:cxn>
              <a:cxn ang="0">
                <a:pos x="connsiteX1235" y="connsiteY1235"/>
              </a:cxn>
              <a:cxn ang="0">
                <a:pos x="connsiteX1236" y="connsiteY1236"/>
              </a:cxn>
              <a:cxn ang="0">
                <a:pos x="connsiteX1237" y="connsiteY1237"/>
              </a:cxn>
              <a:cxn ang="0">
                <a:pos x="connsiteX1238" y="connsiteY1238"/>
              </a:cxn>
              <a:cxn ang="0">
                <a:pos x="connsiteX1239" y="connsiteY1239"/>
              </a:cxn>
              <a:cxn ang="0">
                <a:pos x="connsiteX1240" y="connsiteY1240"/>
              </a:cxn>
              <a:cxn ang="0">
                <a:pos x="connsiteX1241" y="connsiteY1241"/>
              </a:cxn>
              <a:cxn ang="0">
                <a:pos x="connsiteX1242" y="connsiteY1242"/>
              </a:cxn>
              <a:cxn ang="0">
                <a:pos x="connsiteX1243" y="connsiteY1243"/>
              </a:cxn>
              <a:cxn ang="0">
                <a:pos x="connsiteX1244" y="connsiteY1244"/>
              </a:cxn>
              <a:cxn ang="0">
                <a:pos x="connsiteX1245" y="connsiteY1245"/>
              </a:cxn>
              <a:cxn ang="0">
                <a:pos x="connsiteX1246" y="connsiteY1246"/>
              </a:cxn>
              <a:cxn ang="0">
                <a:pos x="connsiteX1247" y="connsiteY1247"/>
              </a:cxn>
              <a:cxn ang="0">
                <a:pos x="connsiteX1248" y="connsiteY1248"/>
              </a:cxn>
              <a:cxn ang="0">
                <a:pos x="connsiteX1249" y="connsiteY1249"/>
              </a:cxn>
              <a:cxn ang="0">
                <a:pos x="connsiteX1250" y="connsiteY1250"/>
              </a:cxn>
              <a:cxn ang="0">
                <a:pos x="connsiteX1251" y="connsiteY1251"/>
              </a:cxn>
              <a:cxn ang="0">
                <a:pos x="connsiteX1252" y="connsiteY1252"/>
              </a:cxn>
              <a:cxn ang="0">
                <a:pos x="connsiteX1253" y="connsiteY1253"/>
              </a:cxn>
              <a:cxn ang="0">
                <a:pos x="connsiteX1254" y="connsiteY1254"/>
              </a:cxn>
              <a:cxn ang="0">
                <a:pos x="connsiteX1255" y="connsiteY1255"/>
              </a:cxn>
              <a:cxn ang="0">
                <a:pos x="connsiteX1256" y="connsiteY1256"/>
              </a:cxn>
              <a:cxn ang="0">
                <a:pos x="connsiteX1257" y="connsiteY1257"/>
              </a:cxn>
              <a:cxn ang="0">
                <a:pos x="connsiteX1258" y="connsiteY1258"/>
              </a:cxn>
              <a:cxn ang="0">
                <a:pos x="connsiteX1259" y="connsiteY1259"/>
              </a:cxn>
              <a:cxn ang="0">
                <a:pos x="connsiteX1260" y="connsiteY1260"/>
              </a:cxn>
              <a:cxn ang="0">
                <a:pos x="connsiteX1261" y="connsiteY1261"/>
              </a:cxn>
              <a:cxn ang="0">
                <a:pos x="connsiteX1262" y="connsiteY1262"/>
              </a:cxn>
              <a:cxn ang="0">
                <a:pos x="connsiteX1263" y="connsiteY1263"/>
              </a:cxn>
              <a:cxn ang="0">
                <a:pos x="connsiteX1264" y="connsiteY1264"/>
              </a:cxn>
              <a:cxn ang="0">
                <a:pos x="connsiteX1265" y="connsiteY1265"/>
              </a:cxn>
              <a:cxn ang="0">
                <a:pos x="connsiteX1266" y="connsiteY1266"/>
              </a:cxn>
              <a:cxn ang="0">
                <a:pos x="connsiteX1267" y="connsiteY1267"/>
              </a:cxn>
              <a:cxn ang="0">
                <a:pos x="connsiteX1268" y="connsiteY1268"/>
              </a:cxn>
              <a:cxn ang="0">
                <a:pos x="connsiteX1269" y="connsiteY1269"/>
              </a:cxn>
              <a:cxn ang="0">
                <a:pos x="connsiteX1270" y="connsiteY1270"/>
              </a:cxn>
              <a:cxn ang="0">
                <a:pos x="connsiteX1271" y="connsiteY1271"/>
              </a:cxn>
              <a:cxn ang="0">
                <a:pos x="connsiteX1272" y="connsiteY1272"/>
              </a:cxn>
              <a:cxn ang="0">
                <a:pos x="connsiteX1273" y="connsiteY1273"/>
              </a:cxn>
              <a:cxn ang="0">
                <a:pos x="connsiteX1274" y="connsiteY1274"/>
              </a:cxn>
              <a:cxn ang="0">
                <a:pos x="connsiteX1275" y="connsiteY1275"/>
              </a:cxn>
              <a:cxn ang="0">
                <a:pos x="connsiteX1276" y="connsiteY1276"/>
              </a:cxn>
              <a:cxn ang="0">
                <a:pos x="connsiteX1277" y="connsiteY1277"/>
              </a:cxn>
              <a:cxn ang="0">
                <a:pos x="connsiteX1278" y="connsiteY1278"/>
              </a:cxn>
              <a:cxn ang="0">
                <a:pos x="connsiteX1279" y="connsiteY1279"/>
              </a:cxn>
              <a:cxn ang="0">
                <a:pos x="connsiteX1280" y="connsiteY1280"/>
              </a:cxn>
              <a:cxn ang="0">
                <a:pos x="connsiteX1281" y="connsiteY1281"/>
              </a:cxn>
              <a:cxn ang="0">
                <a:pos x="connsiteX1282" y="connsiteY1282"/>
              </a:cxn>
              <a:cxn ang="0">
                <a:pos x="connsiteX1283" y="connsiteY1283"/>
              </a:cxn>
              <a:cxn ang="0">
                <a:pos x="connsiteX1284" y="connsiteY1284"/>
              </a:cxn>
              <a:cxn ang="0">
                <a:pos x="connsiteX1285" y="connsiteY1285"/>
              </a:cxn>
              <a:cxn ang="0">
                <a:pos x="connsiteX1286" y="connsiteY1286"/>
              </a:cxn>
              <a:cxn ang="0">
                <a:pos x="connsiteX1287" y="connsiteY1287"/>
              </a:cxn>
              <a:cxn ang="0">
                <a:pos x="connsiteX1288" y="connsiteY1288"/>
              </a:cxn>
              <a:cxn ang="0">
                <a:pos x="connsiteX1289" y="connsiteY1289"/>
              </a:cxn>
              <a:cxn ang="0">
                <a:pos x="connsiteX1290" y="connsiteY1290"/>
              </a:cxn>
              <a:cxn ang="0">
                <a:pos x="connsiteX1291" y="connsiteY1291"/>
              </a:cxn>
              <a:cxn ang="0">
                <a:pos x="connsiteX1292" y="connsiteY1292"/>
              </a:cxn>
              <a:cxn ang="0">
                <a:pos x="connsiteX1293" y="connsiteY1293"/>
              </a:cxn>
              <a:cxn ang="0">
                <a:pos x="connsiteX1294" y="connsiteY1294"/>
              </a:cxn>
              <a:cxn ang="0">
                <a:pos x="connsiteX1295" y="connsiteY1295"/>
              </a:cxn>
              <a:cxn ang="0">
                <a:pos x="connsiteX1296" y="connsiteY1296"/>
              </a:cxn>
              <a:cxn ang="0">
                <a:pos x="connsiteX1297" y="connsiteY1297"/>
              </a:cxn>
              <a:cxn ang="0">
                <a:pos x="connsiteX1298" y="connsiteY1298"/>
              </a:cxn>
              <a:cxn ang="0">
                <a:pos x="connsiteX1299" y="connsiteY1299"/>
              </a:cxn>
              <a:cxn ang="0">
                <a:pos x="connsiteX1300" y="connsiteY1300"/>
              </a:cxn>
              <a:cxn ang="0">
                <a:pos x="connsiteX1301" y="connsiteY1301"/>
              </a:cxn>
              <a:cxn ang="0">
                <a:pos x="connsiteX1302" y="connsiteY1302"/>
              </a:cxn>
              <a:cxn ang="0">
                <a:pos x="connsiteX1303" y="connsiteY1303"/>
              </a:cxn>
              <a:cxn ang="0">
                <a:pos x="connsiteX1304" y="connsiteY1304"/>
              </a:cxn>
              <a:cxn ang="0">
                <a:pos x="connsiteX1305" y="connsiteY1305"/>
              </a:cxn>
              <a:cxn ang="0">
                <a:pos x="connsiteX1306" y="connsiteY1306"/>
              </a:cxn>
              <a:cxn ang="0">
                <a:pos x="connsiteX1307" y="connsiteY1307"/>
              </a:cxn>
              <a:cxn ang="0">
                <a:pos x="connsiteX1308" y="connsiteY1308"/>
              </a:cxn>
              <a:cxn ang="0">
                <a:pos x="connsiteX1309" y="connsiteY1309"/>
              </a:cxn>
              <a:cxn ang="0">
                <a:pos x="connsiteX1310" y="connsiteY1310"/>
              </a:cxn>
              <a:cxn ang="0">
                <a:pos x="connsiteX1311" y="connsiteY1311"/>
              </a:cxn>
              <a:cxn ang="0">
                <a:pos x="connsiteX1312" y="connsiteY1312"/>
              </a:cxn>
              <a:cxn ang="0">
                <a:pos x="connsiteX1313" y="connsiteY1313"/>
              </a:cxn>
              <a:cxn ang="0">
                <a:pos x="connsiteX1314" y="connsiteY1314"/>
              </a:cxn>
              <a:cxn ang="0">
                <a:pos x="connsiteX1315" y="connsiteY1315"/>
              </a:cxn>
              <a:cxn ang="0">
                <a:pos x="connsiteX1316" y="connsiteY1316"/>
              </a:cxn>
              <a:cxn ang="0">
                <a:pos x="connsiteX1317" y="connsiteY1317"/>
              </a:cxn>
              <a:cxn ang="0">
                <a:pos x="connsiteX1318" y="connsiteY1318"/>
              </a:cxn>
              <a:cxn ang="0">
                <a:pos x="connsiteX1319" y="connsiteY1319"/>
              </a:cxn>
              <a:cxn ang="0">
                <a:pos x="connsiteX1320" y="connsiteY1320"/>
              </a:cxn>
              <a:cxn ang="0">
                <a:pos x="connsiteX1321" y="connsiteY1321"/>
              </a:cxn>
              <a:cxn ang="0">
                <a:pos x="connsiteX1322" y="connsiteY1322"/>
              </a:cxn>
              <a:cxn ang="0">
                <a:pos x="connsiteX1323" y="connsiteY1323"/>
              </a:cxn>
              <a:cxn ang="0">
                <a:pos x="connsiteX1324" y="connsiteY1324"/>
              </a:cxn>
              <a:cxn ang="0">
                <a:pos x="connsiteX1325" y="connsiteY1325"/>
              </a:cxn>
              <a:cxn ang="0">
                <a:pos x="connsiteX1326" y="connsiteY1326"/>
              </a:cxn>
              <a:cxn ang="0">
                <a:pos x="connsiteX1327" y="connsiteY1327"/>
              </a:cxn>
              <a:cxn ang="0">
                <a:pos x="connsiteX1328" y="connsiteY1328"/>
              </a:cxn>
              <a:cxn ang="0">
                <a:pos x="connsiteX1329" y="connsiteY1329"/>
              </a:cxn>
              <a:cxn ang="0">
                <a:pos x="connsiteX1330" y="connsiteY1330"/>
              </a:cxn>
              <a:cxn ang="0">
                <a:pos x="connsiteX1331" y="connsiteY1331"/>
              </a:cxn>
              <a:cxn ang="0">
                <a:pos x="connsiteX1332" y="connsiteY1332"/>
              </a:cxn>
              <a:cxn ang="0">
                <a:pos x="connsiteX1333" y="connsiteY1333"/>
              </a:cxn>
              <a:cxn ang="0">
                <a:pos x="connsiteX1334" y="connsiteY1334"/>
              </a:cxn>
              <a:cxn ang="0">
                <a:pos x="connsiteX1335" y="connsiteY1335"/>
              </a:cxn>
              <a:cxn ang="0">
                <a:pos x="connsiteX1336" y="connsiteY1336"/>
              </a:cxn>
              <a:cxn ang="0">
                <a:pos x="connsiteX1337" y="connsiteY1337"/>
              </a:cxn>
              <a:cxn ang="0">
                <a:pos x="connsiteX1338" y="connsiteY1338"/>
              </a:cxn>
              <a:cxn ang="0">
                <a:pos x="connsiteX1339" y="connsiteY1339"/>
              </a:cxn>
              <a:cxn ang="0">
                <a:pos x="connsiteX1340" y="connsiteY1340"/>
              </a:cxn>
              <a:cxn ang="0">
                <a:pos x="connsiteX1341" y="connsiteY1341"/>
              </a:cxn>
              <a:cxn ang="0">
                <a:pos x="connsiteX1342" y="connsiteY1342"/>
              </a:cxn>
              <a:cxn ang="0">
                <a:pos x="connsiteX1343" y="connsiteY1343"/>
              </a:cxn>
              <a:cxn ang="0">
                <a:pos x="connsiteX1344" y="connsiteY1344"/>
              </a:cxn>
              <a:cxn ang="0">
                <a:pos x="connsiteX1345" y="connsiteY1345"/>
              </a:cxn>
              <a:cxn ang="0">
                <a:pos x="connsiteX1346" y="connsiteY1346"/>
              </a:cxn>
              <a:cxn ang="0">
                <a:pos x="connsiteX1347" y="connsiteY1347"/>
              </a:cxn>
              <a:cxn ang="0">
                <a:pos x="connsiteX1348" y="connsiteY1348"/>
              </a:cxn>
              <a:cxn ang="0">
                <a:pos x="connsiteX1349" y="connsiteY1349"/>
              </a:cxn>
              <a:cxn ang="0">
                <a:pos x="connsiteX1350" y="connsiteY1350"/>
              </a:cxn>
              <a:cxn ang="0">
                <a:pos x="connsiteX1351" y="connsiteY1351"/>
              </a:cxn>
              <a:cxn ang="0">
                <a:pos x="connsiteX1352" y="connsiteY1352"/>
              </a:cxn>
              <a:cxn ang="0">
                <a:pos x="connsiteX1353" y="connsiteY1353"/>
              </a:cxn>
              <a:cxn ang="0">
                <a:pos x="connsiteX1354" y="connsiteY1354"/>
              </a:cxn>
              <a:cxn ang="0">
                <a:pos x="connsiteX1355" y="connsiteY1355"/>
              </a:cxn>
              <a:cxn ang="0">
                <a:pos x="connsiteX1356" y="connsiteY1356"/>
              </a:cxn>
              <a:cxn ang="0">
                <a:pos x="connsiteX1357" y="connsiteY1357"/>
              </a:cxn>
              <a:cxn ang="0">
                <a:pos x="connsiteX1358" y="connsiteY1358"/>
              </a:cxn>
              <a:cxn ang="0">
                <a:pos x="connsiteX1359" y="connsiteY1359"/>
              </a:cxn>
              <a:cxn ang="0">
                <a:pos x="connsiteX1360" y="connsiteY1360"/>
              </a:cxn>
              <a:cxn ang="0">
                <a:pos x="connsiteX1361" y="connsiteY1361"/>
              </a:cxn>
              <a:cxn ang="0">
                <a:pos x="connsiteX1362" y="connsiteY1362"/>
              </a:cxn>
              <a:cxn ang="0">
                <a:pos x="connsiteX1363" y="connsiteY1363"/>
              </a:cxn>
              <a:cxn ang="0">
                <a:pos x="connsiteX1364" y="connsiteY1364"/>
              </a:cxn>
              <a:cxn ang="0">
                <a:pos x="connsiteX1365" y="connsiteY1365"/>
              </a:cxn>
              <a:cxn ang="0">
                <a:pos x="connsiteX1366" y="connsiteY1366"/>
              </a:cxn>
              <a:cxn ang="0">
                <a:pos x="connsiteX1367" y="connsiteY1367"/>
              </a:cxn>
              <a:cxn ang="0">
                <a:pos x="connsiteX1368" y="connsiteY1368"/>
              </a:cxn>
              <a:cxn ang="0">
                <a:pos x="connsiteX1369" y="connsiteY1369"/>
              </a:cxn>
              <a:cxn ang="0">
                <a:pos x="connsiteX1370" y="connsiteY1370"/>
              </a:cxn>
              <a:cxn ang="0">
                <a:pos x="connsiteX1371" y="connsiteY1371"/>
              </a:cxn>
              <a:cxn ang="0">
                <a:pos x="connsiteX1372" y="connsiteY1372"/>
              </a:cxn>
              <a:cxn ang="0">
                <a:pos x="connsiteX1373" y="connsiteY1373"/>
              </a:cxn>
              <a:cxn ang="0">
                <a:pos x="connsiteX1374" y="connsiteY1374"/>
              </a:cxn>
              <a:cxn ang="0">
                <a:pos x="connsiteX1375" y="connsiteY1375"/>
              </a:cxn>
              <a:cxn ang="0">
                <a:pos x="connsiteX1376" y="connsiteY1376"/>
              </a:cxn>
              <a:cxn ang="0">
                <a:pos x="connsiteX1377" y="connsiteY1377"/>
              </a:cxn>
              <a:cxn ang="0">
                <a:pos x="connsiteX1378" y="connsiteY1378"/>
              </a:cxn>
              <a:cxn ang="0">
                <a:pos x="connsiteX1379" y="connsiteY1379"/>
              </a:cxn>
              <a:cxn ang="0">
                <a:pos x="connsiteX1380" y="connsiteY1380"/>
              </a:cxn>
              <a:cxn ang="0">
                <a:pos x="connsiteX1381" y="connsiteY1381"/>
              </a:cxn>
              <a:cxn ang="0">
                <a:pos x="connsiteX1382" y="connsiteY1382"/>
              </a:cxn>
              <a:cxn ang="0">
                <a:pos x="connsiteX1383" y="connsiteY1383"/>
              </a:cxn>
              <a:cxn ang="0">
                <a:pos x="connsiteX1384" y="connsiteY1384"/>
              </a:cxn>
              <a:cxn ang="0">
                <a:pos x="connsiteX1385" y="connsiteY1385"/>
              </a:cxn>
              <a:cxn ang="0">
                <a:pos x="connsiteX1386" y="connsiteY1386"/>
              </a:cxn>
              <a:cxn ang="0">
                <a:pos x="connsiteX1387" y="connsiteY1387"/>
              </a:cxn>
              <a:cxn ang="0">
                <a:pos x="connsiteX1388" y="connsiteY1388"/>
              </a:cxn>
              <a:cxn ang="0">
                <a:pos x="connsiteX1389" y="connsiteY1389"/>
              </a:cxn>
              <a:cxn ang="0">
                <a:pos x="connsiteX1390" y="connsiteY1390"/>
              </a:cxn>
              <a:cxn ang="0">
                <a:pos x="connsiteX1391" y="connsiteY1391"/>
              </a:cxn>
              <a:cxn ang="0">
                <a:pos x="connsiteX1392" y="connsiteY1392"/>
              </a:cxn>
              <a:cxn ang="0">
                <a:pos x="connsiteX1393" y="connsiteY1393"/>
              </a:cxn>
              <a:cxn ang="0">
                <a:pos x="connsiteX1394" y="connsiteY1394"/>
              </a:cxn>
              <a:cxn ang="0">
                <a:pos x="connsiteX1395" y="connsiteY1395"/>
              </a:cxn>
              <a:cxn ang="0">
                <a:pos x="connsiteX1396" y="connsiteY1396"/>
              </a:cxn>
              <a:cxn ang="0">
                <a:pos x="connsiteX1397" y="connsiteY1397"/>
              </a:cxn>
              <a:cxn ang="0">
                <a:pos x="connsiteX1398" y="connsiteY1398"/>
              </a:cxn>
              <a:cxn ang="0">
                <a:pos x="connsiteX1399" y="connsiteY1399"/>
              </a:cxn>
              <a:cxn ang="0">
                <a:pos x="connsiteX1400" y="connsiteY1400"/>
              </a:cxn>
              <a:cxn ang="0">
                <a:pos x="connsiteX1401" y="connsiteY1401"/>
              </a:cxn>
              <a:cxn ang="0">
                <a:pos x="connsiteX1402" y="connsiteY1402"/>
              </a:cxn>
              <a:cxn ang="0">
                <a:pos x="connsiteX1403" y="connsiteY1403"/>
              </a:cxn>
              <a:cxn ang="0">
                <a:pos x="connsiteX1404" y="connsiteY1404"/>
              </a:cxn>
              <a:cxn ang="0">
                <a:pos x="connsiteX1405" y="connsiteY1405"/>
              </a:cxn>
              <a:cxn ang="0">
                <a:pos x="connsiteX1406" y="connsiteY1406"/>
              </a:cxn>
              <a:cxn ang="0">
                <a:pos x="connsiteX1407" y="connsiteY1407"/>
              </a:cxn>
              <a:cxn ang="0">
                <a:pos x="connsiteX1408" y="connsiteY1408"/>
              </a:cxn>
              <a:cxn ang="0">
                <a:pos x="connsiteX1409" y="connsiteY1409"/>
              </a:cxn>
              <a:cxn ang="0">
                <a:pos x="connsiteX1410" y="connsiteY1410"/>
              </a:cxn>
              <a:cxn ang="0">
                <a:pos x="connsiteX1411" y="connsiteY1411"/>
              </a:cxn>
              <a:cxn ang="0">
                <a:pos x="connsiteX1412" y="connsiteY1412"/>
              </a:cxn>
              <a:cxn ang="0">
                <a:pos x="connsiteX1413" y="connsiteY1413"/>
              </a:cxn>
              <a:cxn ang="0">
                <a:pos x="connsiteX1414" y="connsiteY1414"/>
              </a:cxn>
              <a:cxn ang="0">
                <a:pos x="connsiteX1415" y="connsiteY1415"/>
              </a:cxn>
              <a:cxn ang="0">
                <a:pos x="connsiteX1416" y="connsiteY1416"/>
              </a:cxn>
              <a:cxn ang="0">
                <a:pos x="connsiteX1417" y="connsiteY1417"/>
              </a:cxn>
              <a:cxn ang="0">
                <a:pos x="connsiteX1418" y="connsiteY1418"/>
              </a:cxn>
              <a:cxn ang="0">
                <a:pos x="connsiteX1419" y="connsiteY1419"/>
              </a:cxn>
              <a:cxn ang="0">
                <a:pos x="connsiteX1420" y="connsiteY1420"/>
              </a:cxn>
              <a:cxn ang="0">
                <a:pos x="connsiteX1421" y="connsiteY1421"/>
              </a:cxn>
              <a:cxn ang="0">
                <a:pos x="connsiteX1422" y="connsiteY1422"/>
              </a:cxn>
              <a:cxn ang="0">
                <a:pos x="connsiteX1423" y="connsiteY1423"/>
              </a:cxn>
              <a:cxn ang="0">
                <a:pos x="connsiteX1424" y="connsiteY1424"/>
              </a:cxn>
              <a:cxn ang="0">
                <a:pos x="connsiteX1425" y="connsiteY1425"/>
              </a:cxn>
              <a:cxn ang="0">
                <a:pos x="connsiteX1426" y="connsiteY1426"/>
              </a:cxn>
              <a:cxn ang="0">
                <a:pos x="connsiteX1427" y="connsiteY1427"/>
              </a:cxn>
              <a:cxn ang="0">
                <a:pos x="connsiteX1428" y="connsiteY1428"/>
              </a:cxn>
              <a:cxn ang="0">
                <a:pos x="connsiteX1429" y="connsiteY1429"/>
              </a:cxn>
              <a:cxn ang="0">
                <a:pos x="connsiteX1430" y="connsiteY1430"/>
              </a:cxn>
              <a:cxn ang="0">
                <a:pos x="connsiteX1431" y="connsiteY1431"/>
              </a:cxn>
              <a:cxn ang="0">
                <a:pos x="connsiteX1432" y="connsiteY1432"/>
              </a:cxn>
              <a:cxn ang="0">
                <a:pos x="connsiteX1433" y="connsiteY1433"/>
              </a:cxn>
              <a:cxn ang="0">
                <a:pos x="connsiteX1434" y="connsiteY1434"/>
              </a:cxn>
              <a:cxn ang="0">
                <a:pos x="connsiteX1435" y="connsiteY1435"/>
              </a:cxn>
              <a:cxn ang="0">
                <a:pos x="connsiteX1436" y="connsiteY1436"/>
              </a:cxn>
              <a:cxn ang="0">
                <a:pos x="connsiteX1437" y="connsiteY1437"/>
              </a:cxn>
              <a:cxn ang="0">
                <a:pos x="connsiteX1438" y="connsiteY1438"/>
              </a:cxn>
              <a:cxn ang="0">
                <a:pos x="connsiteX1439" y="connsiteY1439"/>
              </a:cxn>
              <a:cxn ang="0">
                <a:pos x="connsiteX1440" y="connsiteY1440"/>
              </a:cxn>
              <a:cxn ang="0">
                <a:pos x="connsiteX1441" y="connsiteY1441"/>
              </a:cxn>
              <a:cxn ang="0">
                <a:pos x="connsiteX1442" y="connsiteY1442"/>
              </a:cxn>
              <a:cxn ang="0">
                <a:pos x="connsiteX1443" y="connsiteY1443"/>
              </a:cxn>
              <a:cxn ang="0">
                <a:pos x="connsiteX1444" y="connsiteY1444"/>
              </a:cxn>
              <a:cxn ang="0">
                <a:pos x="connsiteX1445" y="connsiteY1445"/>
              </a:cxn>
              <a:cxn ang="0">
                <a:pos x="connsiteX1446" y="connsiteY1446"/>
              </a:cxn>
              <a:cxn ang="0">
                <a:pos x="connsiteX1447" y="connsiteY1447"/>
              </a:cxn>
              <a:cxn ang="0">
                <a:pos x="connsiteX1448" y="connsiteY1448"/>
              </a:cxn>
              <a:cxn ang="0">
                <a:pos x="connsiteX1449" y="connsiteY1449"/>
              </a:cxn>
              <a:cxn ang="0">
                <a:pos x="connsiteX1450" y="connsiteY1450"/>
              </a:cxn>
              <a:cxn ang="0">
                <a:pos x="connsiteX1451" y="connsiteY1451"/>
              </a:cxn>
              <a:cxn ang="0">
                <a:pos x="connsiteX1452" y="connsiteY1452"/>
              </a:cxn>
              <a:cxn ang="0">
                <a:pos x="connsiteX1453" y="connsiteY1453"/>
              </a:cxn>
              <a:cxn ang="0">
                <a:pos x="connsiteX1454" y="connsiteY1454"/>
              </a:cxn>
              <a:cxn ang="0">
                <a:pos x="connsiteX1455" y="connsiteY1455"/>
              </a:cxn>
              <a:cxn ang="0">
                <a:pos x="connsiteX1456" y="connsiteY1456"/>
              </a:cxn>
              <a:cxn ang="0">
                <a:pos x="connsiteX1457" y="connsiteY1457"/>
              </a:cxn>
              <a:cxn ang="0">
                <a:pos x="connsiteX1458" y="connsiteY1458"/>
              </a:cxn>
              <a:cxn ang="0">
                <a:pos x="connsiteX1459" y="connsiteY1459"/>
              </a:cxn>
              <a:cxn ang="0">
                <a:pos x="connsiteX1460" y="connsiteY1460"/>
              </a:cxn>
              <a:cxn ang="0">
                <a:pos x="connsiteX1461" y="connsiteY1461"/>
              </a:cxn>
              <a:cxn ang="0">
                <a:pos x="connsiteX1462" y="connsiteY1462"/>
              </a:cxn>
              <a:cxn ang="0">
                <a:pos x="connsiteX1463" y="connsiteY1463"/>
              </a:cxn>
              <a:cxn ang="0">
                <a:pos x="connsiteX1464" y="connsiteY1464"/>
              </a:cxn>
              <a:cxn ang="0">
                <a:pos x="connsiteX1465" y="connsiteY1465"/>
              </a:cxn>
              <a:cxn ang="0">
                <a:pos x="connsiteX1466" y="connsiteY1466"/>
              </a:cxn>
              <a:cxn ang="0">
                <a:pos x="connsiteX1467" y="connsiteY1467"/>
              </a:cxn>
              <a:cxn ang="0">
                <a:pos x="connsiteX1468" y="connsiteY1468"/>
              </a:cxn>
              <a:cxn ang="0">
                <a:pos x="connsiteX1469" y="connsiteY1469"/>
              </a:cxn>
              <a:cxn ang="0">
                <a:pos x="connsiteX1470" y="connsiteY1470"/>
              </a:cxn>
              <a:cxn ang="0">
                <a:pos x="connsiteX1471" y="connsiteY1471"/>
              </a:cxn>
              <a:cxn ang="0">
                <a:pos x="connsiteX1472" y="connsiteY1472"/>
              </a:cxn>
              <a:cxn ang="0">
                <a:pos x="connsiteX1473" y="connsiteY1473"/>
              </a:cxn>
              <a:cxn ang="0">
                <a:pos x="connsiteX1474" y="connsiteY1474"/>
              </a:cxn>
              <a:cxn ang="0">
                <a:pos x="connsiteX1475" y="connsiteY1475"/>
              </a:cxn>
              <a:cxn ang="0">
                <a:pos x="connsiteX1476" y="connsiteY1476"/>
              </a:cxn>
              <a:cxn ang="0">
                <a:pos x="connsiteX1477" y="connsiteY1477"/>
              </a:cxn>
              <a:cxn ang="0">
                <a:pos x="connsiteX1478" y="connsiteY1478"/>
              </a:cxn>
              <a:cxn ang="0">
                <a:pos x="connsiteX1479" y="connsiteY1479"/>
              </a:cxn>
              <a:cxn ang="0">
                <a:pos x="connsiteX1480" y="connsiteY1480"/>
              </a:cxn>
              <a:cxn ang="0">
                <a:pos x="connsiteX1481" y="connsiteY1481"/>
              </a:cxn>
              <a:cxn ang="0">
                <a:pos x="connsiteX1482" y="connsiteY1482"/>
              </a:cxn>
              <a:cxn ang="0">
                <a:pos x="connsiteX1483" y="connsiteY1483"/>
              </a:cxn>
              <a:cxn ang="0">
                <a:pos x="connsiteX1484" y="connsiteY1484"/>
              </a:cxn>
              <a:cxn ang="0">
                <a:pos x="connsiteX1485" y="connsiteY1485"/>
              </a:cxn>
              <a:cxn ang="0">
                <a:pos x="connsiteX1486" y="connsiteY1486"/>
              </a:cxn>
              <a:cxn ang="0">
                <a:pos x="connsiteX1487" y="connsiteY1487"/>
              </a:cxn>
              <a:cxn ang="0">
                <a:pos x="connsiteX1488" y="connsiteY1488"/>
              </a:cxn>
              <a:cxn ang="0">
                <a:pos x="connsiteX1489" y="connsiteY1489"/>
              </a:cxn>
              <a:cxn ang="0">
                <a:pos x="connsiteX1490" y="connsiteY1490"/>
              </a:cxn>
              <a:cxn ang="0">
                <a:pos x="connsiteX1491" y="connsiteY1491"/>
              </a:cxn>
              <a:cxn ang="0">
                <a:pos x="connsiteX1492" y="connsiteY1492"/>
              </a:cxn>
              <a:cxn ang="0">
                <a:pos x="connsiteX1493" y="connsiteY1493"/>
              </a:cxn>
              <a:cxn ang="0">
                <a:pos x="connsiteX1494" y="connsiteY1494"/>
              </a:cxn>
              <a:cxn ang="0">
                <a:pos x="connsiteX1495" y="connsiteY1495"/>
              </a:cxn>
              <a:cxn ang="0">
                <a:pos x="connsiteX1496" y="connsiteY1496"/>
              </a:cxn>
              <a:cxn ang="0">
                <a:pos x="connsiteX1497" y="connsiteY1497"/>
              </a:cxn>
              <a:cxn ang="0">
                <a:pos x="connsiteX1498" y="connsiteY1498"/>
              </a:cxn>
              <a:cxn ang="0">
                <a:pos x="connsiteX1499" y="connsiteY1499"/>
              </a:cxn>
              <a:cxn ang="0">
                <a:pos x="connsiteX1500" y="connsiteY1500"/>
              </a:cxn>
              <a:cxn ang="0">
                <a:pos x="connsiteX1501" y="connsiteY1501"/>
              </a:cxn>
              <a:cxn ang="0">
                <a:pos x="connsiteX1502" y="connsiteY1502"/>
              </a:cxn>
              <a:cxn ang="0">
                <a:pos x="connsiteX1503" y="connsiteY1503"/>
              </a:cxn>
              <a:cxn ang="0">
                <a:pos x="connsiteX1504" y="connsiteY1504"/>
              </a:cxn>
              <a:cxn ang="0">
                <a:pos x="connsiteX1505" y="connsiteY1505"/>
              </a:cxn>
              <a:cxn ang="0">
                <a:pos x="connsiteX1506" y="connsiteY1506"/>
              </a:cxn>
              <a:cxn ang="0">
                <a:pos x="connsiteX1507" y="connsiteY1507"/>
              </a:cxn>
              <a:cxn ang="0">
                <a:pos x="connsiteX1508" y="connsiteY1508"/>
              </a:cxn>
              <a:cxn ang="0">
                <a:pos x="connsiteX1509" y="connsiteY1509"/>
              </a:cxn>
              <a:cxn ang="0">
                <a:pos x="connsiteX1510" y="connsiteY1510"/>
              </a:cxn>
              <a:cxn ang="0">
                <a:pos x="connsiteX1511" y="connsiteY1511"/>
              </a:cxn>
              <a:cxn ang="0">
                <a:pos x="connsiteX1512" y="connsiteY1512"/>
              </a:cxn>
              <a:cxn ang="0">
                <a:pos x="connsiteX1513" y="connsiteY1513"/>
              </a:cxn>
              <a:cxn ang="0">
                <a:pos x="connsiteX1514" y="connsiteY1514"/>
              </a:cxn>
              <a:cxn ang="0">
                <a:pos x="connsiteX1515" y="connsiteY1515"/>
              </a:cxn>
              <a:cxn ang="0">
                <a:pos x="connsiteX1516" y="connsiteY1516"/>
              </a:cxn>
              <a:cxn ang="0">
                <a:pos x="connsiteX1517" y="connsiteY1517"/>
              </a:cxn>
              <a:cxn ang="0">
                <a:pos x="connsiteX1518" y="connsiteY1518"/>
              </a:cxn>
              <a:cxn ang="0">
                <a:pos x="connsiteX1519" y="connsiteY1519"/>
              </a:cxn>
              <a:cxn ang="0">
                <a:pos x="connsiteX1520" y="connsiteY1520"/>
              </a:cxn>
              <a:cxn ang="0">
                <a:pos x="connsiteX1521" y="connsiteY1521"/>
              </a:cxn>
              <a:cxn ang="0">
                <a:pos x="connsiteX1522" y="connsiteY1522"/>
              </a:cxn>
              <a:cxn ang="0">
                <a:pos x="connsiteX1523" y="connsiteY1523"/>
              </a:cxn>
              <a:cxn ang="0">
                <a:pos x="connsiteX1524" y="connsiteY1524"/>
              </a:cxn>
              <a:cxn ang="0">
                <a:pos x="connsiteX1525" y="connsiteY1525"/>
              </a:cxn>
              <a:cxn ang="0">
                <a:pos x="connsiteX1526" y="connsiteY1526"/>
              </a:cxn>
              <a:cxn ang="0">
                <a:pos x="connsiteX1527" y="connsiteY1527"/>
              </a:cxn>
              <a:cxn ang="0">
                <a:pos x="connsiteX1528" y="connsiteY1528"/>
              </a:cxn>
              <a:cxn ang="0">
                <a:pos x="connsiteX1529" y="connsiteY1529"/>
              </a:cxn>
              <a:cxn ang="0">
                <a:pos x="connsiteX1530" y="connsiteY1530"/>
              </a:cxn>
              <a:cxn ang="0">
                <a:pos x="connsiteX1531" y="connsiteY1531"/>
              </a:cxn>
              <a:cxn ang="0">
                <a:pos x="connsiteX1532" y="connsiteY1532"/>
              </a:cxn>
              <a:cxn ang="0">
                <a:pos x="connsiteX1533" y="connsiteY1533"/>
              </a:cxn>
              <a:cxn ang="0">
                <a:pos x="connsiteX1534" y="connsiteY1534"/>
              </a:cxn>
              <a:cxn ang="0">
                <a:pos x="connsiteX1535" y="connsiteY1535"/>
              </a:cxn>
              <a:cxn ang="0">
                <a:pos x="connsiteX1536" y="connsiteY1536"/>
              </a:cxn>
              <a:cxn ang="0">
                <a:pos x="connsiteX1537" y="connsiteY1537"/>
              </a:cxn>
              <a:cxn ang="0">
                <a:pos x="connsiteX1538" y="connsiteY1538"/>
              </a:cxn>
              <a:cxn ang="0">
                <a:pos x="connsiteX1539" y="connsiteY1539"/>
              </a:cxn>
              <a:cxn ang="0">
                <a:pos x="connsiteX1540" y="connsiteY1540"/>
              </a:cxn>
              <a:cxn ang="0">
                <a:pos x="connsiteX1541" y="connsiteY1541"/>
              </a:cxn>
              <a:cxn ang="0">
                <a:pos x="connsiteX1542" y="connsiteY1542"/>
              </a:cxn>
              <a:cxn ang="0">
                <a:pos x="connsiteX1543" y="connsiteY1543"/>
              </a:cxn>
              <a:cxn ang="0">
                <a:pos x="connsiteX1544" y="connsiteY1544"/>
              </a:cxn>
              <a:cxn ang="0">
                <a:pos x="connsiteX1545" y="connsiteY1545"/>
              </a:cxn>
              <a:cxn ang="0">
                <a:pos x="connsiteX1546" y="connsiteY1546"/>
              </a:cxn>
              <a:cxn ang="0">
                <a:pos x="connsiteX1547" y="connsiteY1547"/>
              </a:cxn>
              <a:cxn ang="0">
                <a:pos x="connsiteX1548" y="connsiteY1548"/>
              </a:cxn>
              <a:cxn ang="0">
                <a:pos x="connsiteX1549" y="connsiteY1549"/>
              </a:cxn>
              <a:cxn ang="0">
                <a:pos x="connsiteX1550" y="connsiteY1550"/>
              </a:cxn>
              <a:cxn ang="0">
                <a:pos x="connsiteX1551" y="connsiteY1551"/>
              </a:cxn>
              <a:cxn ang="0">
                <a:pos x="connsiteX1552" y="connsiteY1552"/>
              </a:cxn>
              <a:cxn ang="0">
                <a:pos x="connsiteX1553" y="connsiteY1553"/>
              </a:cxn>
              <a:cxn ang="0">
                <a:pos x="connsiteX1554" y="connsiteY1554"/>
              </a:cxn>
              <a:cxn ang="0">
                <a:pos x="connsiteX1555" y="connsiteY1555"/>
              </a:cxn>
              <a:cxn ang="0">
                <a:pos x="connsiteX1556" y="connsiteY1556"/>
              </a:cxn>
              <a:cxn ang="0">
                <a:pos x="connsiteX1557" y="connsiteY1557"/>
              </a:cxn>
              <a:cxn ang="0">
                <a:pos x="connsiteX1558" y="connsiteY1558"/>
              </a:cxn>
              <a:cxn ang="0">
                <a:pos x="connsiteX1559" y="connsiteY1559"/>
              </a:cxn>
              <a:cxn ang="0">
                <a:pos x="connsiteX1560" y="connsiteY1560"/>
              </a:cxn>
              <a:cxn ang="0">
                <a:pos x="connsiteX1561" y="connsiteY1561"/>
              </a:cxn>
              <a:cxn ang="0">
                <a:pos x="connsiteX1562" y="connsiteY1562"/>
              </a:cxn>
              <a:cxn ang="0">
                <a:pos x="connsiteX1563" y="connsiteY1563"/>
              </a:cxn>
              <a:cxn ang="0">
                <a:pos x="connsiteX1564" y="connsiteY1564"/>
              </a:cxn>
              <a:cxn ang="0">
                <a:pos x="connsiteX1565" y="connsiteY1565"/>
              </a:cxn>
              <a:cxn ang="0">
                <a:pos x="connsiteX1566" y="connsiteY1566"/>
              </a:cxn>
              <a:cxn ang="0">
                <a:pos x="connsiteX1567" y="connsiteY1567"/>
              </a:cxn>
              <a:cxn ang="0">
                <a:pos x="connsiteX1568" y="connsiteY1568"/>
              </a:cxn>
              <a:cxn ang="0">
                <a:pos x="connsiteX1569" y="connsiteY1569"/>
              </a:cxn>
              <a:cxn ang="0">
                <a:pos x="connsiteX1570" y="connsiteY1570"/>
              </a:cxn>
              <a:cxn ang="0">
                <a:pos x="connsiteX1571" y="connsiteY1571"/>
              </a:cxn>
              <a:cxn ang="0">
                <a:pos x="connsiteX1572" y="connsiteY1572"/>
              </a:cxn>
              <a:cxn ang="0">
                <a:pos x="connsiteX1573" y="connsiteY1573"/>
              </a:cxn>
              <a:cxn ang="0">
                <a:pos x="connsiteX1574" y="connsiteY1574"/>
              </a:cxn>
              <a:cxn ang="0">
                <a:pos x="connsiteX1575" y="connsiteY1575"/>
              </a:cxn>
              <a:cxn ang="0">
                <a:pos x="connsiteX1576" y="connsiteY1576"/>
              </a:cxn>
              <a:cxn ang="0">
                <a:pos x="connsiteX1577" y="connsiteY1577"/>
              </a:cxn>
              <a:cxn ang="0">
                <a:pos x="connsiteX1578" y="connsiteY1578"/>
              </a:cxn>
              <a:cxn ang="0">
                <a:pos x="connsiteX1579" y="connsiteY1579"/>
              </a:cxn>
              <a:cxn ang="0">
                <a:pos x="connsiteX1580" y="connsiteY1580"/>
              </a:cxn>
              <a:cxn ang="0">
                <a:pos x="connsiteX1581" y="connsiteY1581"/>
              </a:cxn>
              <a:cxn ang="0">
                <a:pos x="connsiteX1582" y="connsiteY1582"/>
              </a:cxn>
              <a:cxn ang="0">
                <a:pos x="connsiteX1583" y="connsiteY1583"/>
              </a:cxn>
              <a:cxn ang="0">
                <a:pos x="connsiteX1584" y="connsiteY1584"/>
              </a:cxn>
              <a:cxn ang="0">
                <a:pos x="connsiteX1585" y="connsiteY1585"/>
              </a:cxn>
              <a:cxn ang="0">
                <a:pos x="connsiteX1586" y="connsiteY1586"/>
              </a:cxn>
              <a:cxn ang="0">
                <a:pos x="connsiteX1587" y="connsiteY1587"/>
              </a:cxn>
              <a:cxn ang="0">
                <a:pos x="connsiteX1588" y="connsiteY1588"/>
              </a:cxn>
              <a:cxn ang="0">
                <a:pos x="connsiteX1589" y="connsiteY1589"/>
              </a:cxn>
              <a:cxn ang="0">
                <a:pos x="connsiteX1590" y="connsiteY1590"/>
              </a:cxn>
              <a:cxn ang="0">
                <a:pos x="connsiteX1591" y="connsiteY1591"/>
              </a:cxn>
              <a:cxn ang="0">
                <a:pos x="connsiteX1592" y="connsiteY1592"/>
              </a:cxn>
              <a:cxn ang="0">
                <a:pos x="connsiteX1593" y="connsiteY1593"/>
              </a:cxn>
              <a:cxn ang="0">
                <a:pos x="connsiteX1594" y="connsiteY1594"/>
              </a:cxn>
              <a:cxn ang="0">
                <a:pos x="connsiteX1595" y="connsiteY1595"/>
              </a:cxn>
              <a:cxn ang="0">
                <a:pos x="connsiteX1596" y="connsiteY1596"/>
              </a:cxn>
              <a:cxn ang="0">
                <a:pos x="connsiteX1597" y="connsiteY1597"/>
              </a:cxn>
              <a:cxn ang="0">
                <a:pos x="connsiteX1598" y="connsiteY1598"/>
              </a:cxn>
              <a:cxn ang="0">
                <a:pos x="connsiteX1599" y="connsiteY1599"/>
              </a:cxn>
              <a:cxn ang="0">
                <a:pos x="connsiteX1600" y="connsiteY1600"/>
              </a:cxn>
              <a:cxn ang="0">
                <a:pos x="connsiteX1601" y="connsiteY1601"/>
              </a:cxn>
              <a:cxn ang="0">
                <a:pos x="connsiteX1602" y="connsiteY1602"/>
              </a:cxn>
              <a:cxn ang="0">
                <a:pos x="connsiteX1603" y="connsiteY1603"/>
              </a:cxn>
              <a:cxn ang="0">
                <a:pos x="connsiteX1604" y="connsiteY1604"/>
              </a:cxn>
              <a:cxn ang="0">
                <a:pos x="connsiteX1605" y="connsiteY1605"/>
              </a:cxn>
              <a:cxn ang="0">
                <a:pos x="connsiteX1606" y="connsiteY1606"/>
              </a:cxn>
              <a:cxn ang="0">
                <a:pos x="connsiteX1607" y="connsiteY1607"/>
              </a:cxn>
              <a:cxn ang="0">
                <a:pos x="connsiteX1608" y="connsiteY1608"/>
              </a:cxn>
              <a:cxn ang="0">
                <a:pos x="connsiteX1609" y="connsiteY1609"/>
              </a:cxn>
              <a:cxn ang="0">
                <a:pos x="connsiteX1610" y="connsiteY1610"/>
              </a:cxn>
              <a:cxn ang="0">
                <a:pos x="connsiteX1611" y="connsiteY1611"/>
              </a:cxn>
              <a:cxn ang="0">
                <a:pos x="connsiteX1612" y="connsiteY1612"/>
              </a:cxn>
              <a:cxn ang="0">
                <a:pos x="connsiteX1613" y="connsiteY1613"/>
              </a:cxn>
              <a:cxn ang="0">
                <a:pos x="connsiteX1614" y="connsiteY1614"/>
              </a:cxn>
              <a:cxn ang="0">
                <a:pos x="connsiteX1615" y="connsiteY1615"/>
              </a:cxn>
              <a:cxn ang="0">
                <a:pos x="connsiteX1616" y="connsiteY1616"/>
              </a:cxn>
              <a:cxn ang="0">
                <a:pos x="connsiteX1617" y="connsiteY1617"/>
              </a:cxn>
              <a:cxn ang="0">
                <a:pos x="connsiteX1618" y="connsiteY1618"/>
              </a:cxn>
              <a:cxn ang="0">
                <a:pos x="connsiteX1619" y="connsiteY1619"/>
              </a:cxn>
              <a:cxn ang="0">
                <a:pos x="connsiteX1620" y="connsiteY1620"/>
              </a:cxn>
              <a:cxn ang="0">
                <a:pos x="connsiteX1621" y="connsiteY1621"/>
              </a:cxn>
              <a:cxn ang="0">
                <a:pos x="connsiteX1622" y="connsiteY1622"/>
              </a:cxn>
              <a:cxn ang="0">
                <a:pos x="connsiteX1623" y="connsiteY1623"/>
              </a:cxn>
              <a:cxn ang="0">
                <a:pos x="connsiteX1624" y="connsiteY1624"/>
              </a:cxn>
              <a:cxn ang="0">
                <a:pos x="connsiteX1625" y="connsiteY1625"/>
              </a:cxn>
              <a:cxn ang="0">
                <a:pos x="connsiteX1626" y="connsiteY1626"/>
              </a:cxn>
              <a:cxn ang="0">
                <a:pos x="connsiteX1627" y="connsiteY1627"/>
              </a:cxn>
              <a:cxn ang="0">
                <a:pos x="connsiteX1628" y="connsiteY1628"/>
              </a:cxn>
              <a:cxn ang="0">
                <a:pos x="connsiteX1629" y="connsiteY1629"/>
              </a:cxn>
              <a:cxn ang="0">
                <a:pos x="connsiteX1630" y="connsiteY1630"/>
              </a:cxn>
              <a:cxn ang="0">
                <a:pos x="connsiteX1631" y="connsiteY1631"/>
              </a:cxn>
              <a:cxn ang="0">
                <a:pos x="connsiteX1632" y="connsiteY1632"/>
              </a:cxn>
              <a:cxn ang="0">
                <a:pos x="connsiteX1633" y="connsiteY1633"/>
              </a:cxn>
              <a:cxn ang="0">
                <a:pos x="connsiteX1634" y="connsiteY1634"/>
              </a:cxn>
              <a:cxn ang="0">
                <a:pos x="connsiteX1635" y="connsiteY1635"/>
              </a:cxn>
              <a:cxn ang="0">
                <a:pos x="connsiteX1636" y="connsiteY1636"/>
              </a:cxn>
              <a:cxn ang="0">
                <a:pos x="connsiteX1637" y="connsiteY1637"/>
              </a:cxn>
              <a:cxn ang="0">
                <a:pos x="connsiteX1638" y="connsiteY1638"/>
              </a:cxn>
              <a:cxn ang="0">
                <a:pos x="connsiteX1639" y="connsiteY1639"/>
              </a:cxn>
              <a:cxn ang="0">
                <a:pos x="connsiteX1640" y="connsiteY1640"/>
              </a:cxn>
              <a:cxn ang="0">
                <a:pos x="connsiteX1641" y="connsiteY1641"/>
              </a:cxn>
              <a:cxn ang="0">
                <a:pos x="connsiteX1642" y="connsiteY1642"/>
              </a:cxn>
              <a:cxn ang="0">
                <a:pos x="connsiteX1643" y="connsiteY1643"/>
              </a:cxn>
              <a:cxn ang="0">
                <a:pos x="connsiteX1644" y="connsiteY1644"/>
              </a:cxn>
              <a:cxn ang="0">
                <a:pos x="connsiteX1645" y="connsiteY1645"/>
              </a:cxn>
              <a:cxn ang="0">
                <a:pos x="connsiteX1646" y="connsiteY1646"/>
              </a:cxn>
              <a:cxn ang="0">
                <a:pos x="connsiteX1647" y="connsiteY1647"/>
              </a:cxn>
              <a:cxn ang="0">
                <a:pos x="connsiteX1648" y="connsiteY1648"/>
              </a:cxn>
              <a:cxn ang="0">
                <a:pos x="connsiteX1649" y="connsiteY1649"/>
              </a:cxn>
              <a:cxn ang="0">
                <a:pos x="connsiteX1650" y="connsiteY1650"/>
              </a:cxn>
              <a:cxn ang="0">
                <a:pos x="connsiteX1651" y="connsiteY1651"/>
              </a:cxn>
              <a:cxn ang="0">
                <a:pos x="connsiteX1652" y="connsiteY1652"/>
              </a:cxn>
              <a:cxn ang="0">
                <a:pos x="connsiteX1653" y="connsiteY1653"/>
              </a:cxn>
              <a:cxn ang="0">
                <a:pos x="connsiteX1654" y="connsiteY1654"/>
              </a:cxn>
              <a:cxn ang="0">
                <a:pos x="connsiteX1655" y="connsiteY1655"/>
              </a:cxn>
              <a:cxn ang="0">
                <a:pos x="connsiteX1656" y="connsiteY1656"/>
              </a:cxn>
              <a:cxn ang="0">
                <a:pos x="connsiteX1657" y="connsiteY1657"/>
              </a:cxn>
              <a:cxn ang="0">
                <a:pos x="connsiteX1658" y="connsiteY1658"/>
              </a:cxn>
              <a:cxn ang="0">
                <a:pos x="connsiteX1659" y="connsiteY1659"/>
              </a:cxn>
              <a:cxn ang="0">
                <a:pos x="connsiteX1660" y="connsiteY1660"/>
              </a:cxn>
              <a:cxn ang="0">
                <a:pos x="connsiteX1661" y="connsiteY1661"/>
              </a:cxn>
              <a:cxn ang="0">
                <a:pos x="connsiteX1662" y="connsiteY1662"/>
              </a:cxn>
              <a:cxn ang="0">
                <a:pos x="connsiteX1663" y="connsiteY1663"/>
              </a:cxn>
              <a:cxn ang="0">
                <a:pos x="connsiteX1664" y="connsiteY1664"/>
              </a:cxn>
              <a:cxn ang="0">
                <a:pos x="connsiteX1665" y="connsiteY1665"/>
              </a:cxn>
              <a:cxn ang="0">
                <a:pos x="connsiteX1666" y="connsiteY1666"/>
              </a:cxn>
              <a:cxn ang="0">
                <a:pos x="connsiteX1667" y="connsiteY1667"/>
              </a:cxn>
              <a:cxn ang="0">
                <a:pos x="connsiteX1668" y="connsiteY1668"/>
              </a:cxn>
              <a:cxn ang="0">
                <a:pos x="connsiteX1669" y="connsiteY1669"/>
              </a:cxn>
              <a:cxn ang="0">
                <a:pos x="connsiteX1670" y="connsiteY1670"/>
              </a:cxn>
              <a:cxn ang="0">
                <a:pos x="connsiteX1671" y="connsiteY1671"/>
              </a:cxn>
              <a:cxn ang="0">
                <a:pos x="connsiteX1672" y="connsiteY1672"/>
              </a:cxn>
              <a:cxn ang="0">
                <a:pos x="connsiteX1673" y="connsiteY1673"/>
              </a:cxn>
              <a:cxn ang="0">
                <a:pos x="connsiteX1674" y="connsiteY1674"/>
              </a:cxn>
              <a:cxn ang="0">
                <a:pos x="connsiteX1675" y="connsiteY1675"/>
              </a:cxn>
              <a:cxn ang="0">
                <a:pos x="connsiteX1676" y="connsiteY1676"/>
              </a:cxn>
              <a:cxn ang="0">
                <a:pos x="connsiteX1677" y="connsiteY1677"/>
              </a:cxn>
              <a:cxn ang="0">
                <a:pos x="connsiteX1678" y="connsiteY1678"/>
              </a:cxn>
              <a:cxn ang="0">
                <a:pos x="connsiteX1679" y="connsiteY1679"/>
              </a:cxn>
              <a:cxn ang="0">
                <a:pos x="connsiteX1680" y="connsiteY1680"/>
              </a:cxn>
              <a:cxn ang="0">
                <a:pos x="connsiteX1681" y="connsiteY1681"/>
              </a:cxn>
              <a:cxn ang="0">
                <a:pos x="connsiteX1682" y="connsiteY1682"/>
              </a:cxn>
              <a:cxn ang="0">
                <a:pos x="connsiteX1683" y="connsiteY1683"/>
              </a:cxn>
              <a:cxn ang="0">
                <a:pos x="connsiteX1684" y="connsiteY1684"/>
              </a:cxn>
              <a:cxn ang="0">
                <a:pos x="connsiteX1685" y="connsiteY1685"/>
              </a:cxn>
              <a:cxn ang="0">
                <a:pos x="connsiteX1686" y="connsiteY1686"/>
              </a:cxn>
              <a:cxn ang="0">
                <a:pos x="connsiteX1687" y="connsiteY1687"/>
              </a:cxn>
              <a:cxn ang="0">
                <a:pos x="connsiteX1688" y="connsiteY1688"/>
              </a:cxn>
              <a:cxn ang="0">
                <a:pos x="connsiteX1689" y="connsiteY1689"/>
              </a:cxn>
              <a:cxn ang="0">
                <a:pos x="connsiteX1690" y="connsiteY1690"/>
              </a:cxn>
              <a:cxn ang="0">
                <a:pos x="connsiteX1691" y="connsiteY1691"/>
              </a:cxn>
              <a:cxn ang="0">
                <a:pos x="connsiteX1692" y="connsiteY1692"/>
              </a:cxn>
              <a:cxn ang="0">
                <a:pos x="connsiteX1693" y="connsiteY1693"/>
              </a:cxn>
              <a:cxn ang="0">
                <a:pos x="connsiteX1694" y="connsiteY1694"/>
              </a:cxn>
              <a:cxn ang="0">
                <a:pos x="connsiteX1695" y="connsiteY1695"/>
              </a:cxn>
              <a:cxn ang="0">
                <a:pos x="connsiteX1696" y="connsiteY1696"/>
              </a:cxn>
              <a:cxn ang="0">
                <a:pos x="connsiteX1697" y="connsiteY1697"/>
              </a:cxn>
              <a:cxn ang="0">
                <a:pos x="connsiteX1698" y="connsiteY1698"/>
              </a:cxn>
              <a:cxn ang="0">
                <a:pos x="connsiteX1699" y="connsiteY1699"/>
              </a:cxn>
              <a:cxn ang="0">
                <a:pos x="connsiteX1700" y="connsiteY1700"/>
              </a:cxn>
              <a:cxn ang="0">
                <a:pos x="connsiteX1701" y="connsiteY1701"/>
              </a:cxn>
              <a:cxn ang="0">
                <a:pos x="connsiteX1702" y="connsiteY1702"/>
              </a:cxn>
              <a:cxn ang="0">
                <a:pos x="connsiteX1703" y="connsiteY1703"/>
              </a:cxn>
              <a:cxn ang="0">
                <a:pos x="connsiteX1704" y="connsiteY1704"/>
              </a:cxn>
              <a:cxn ang="0">
                <a:pos x="connsiteX1705" y="connsiteY1705"/>
              </a:cxn>
              <a:cxn ang="0">
                <a:pos x="connsiteX1706" y="connsiteY1706"/>
              </a:cxn>
              <a:cxn ang="0">
                <a:pos x="connsiteX1707" y="connsiteY1707"/>
              </a:cxn>
              <a:cxn ang="0">
                <a:pos x="connsiteX1708" y="connsiteY1708"/>
              </a:cxn>
              <a:cxn ang="0">
                <a:pos x="connsiteX1709" y="connsiteY1709"/>
              </a:cxn>
              <a:cxn ang="0">
                <a:pos x="connsiteX1710" y="connsiteY1710"/>
              </a:cxn>
              <a:cxn ang="0">
                <a:pos x="connsiteX1711" y="connsiteY1711"/>
              </a:cxn>
              <a:cxn ang="0">
                <a:pos x="connsiteX1712" y="connsiteY1712"/>
              </a:cxn>
            </a:cxnLst>
            <a:rect l="l" t="t" r="r" b="b"/>
            <a:pathLst>
              <a:path w="11725275" h="2405063">
                <a:moveTo>
                  <a:pt x="1428221" y="707231"/>
                </a:moveTo>
                <a:lnTo>
                  <a:pt x="1430338" y="707231"/>
                </a:lnTo>
                <a:lnTo>
                  <a:pt x="1427012" y="707685"/>
                </a:lnTo>
                <a:close/>
                <a:moveTo>
                  <a:pt x="8131704" y="446088"/>
                </a:moveTo>
                <a:lnTo>
                  <a:pt x="8131704" y="447675"/>
                </a:lnTo>
                <a:lnTo>
                  <a:pt x="8126941" y="450850"/>
                </a:lnTo>
                <a:lnTo>
                  <a:pt x="8124524" y="451858"/>
                </a:lnTo>
                <a:lnTo>
                  <a:pt x="8124296" y="451644"/>
                </a:lnTo>
                <a:lnTo>
                  <a:pt x="8094133" y="457200"/>
                </a:lnTo>
                <a:lnTo>
                  <a:pt x="8086196" y="457200"/>
                </a:lnTo>
                <a:lnTo>
                  <a:pt x="8093604" y="454819"/>
                </a:lnTo>
                <a:lnTo>
                  <a:pt x="8107363" y="450850"/>
                </a:lnTo>
                <a:lnTo>
                  <a:pt x="8122709" y="446882"/>
                </a:lnTo>
                <a:close/>
                <a:moveTo>
                  <a:pt x="5708650" y="0"/>
                </a:moveTo>
                <a:lnTo>
                  <a:pt x="5746221" y="0"/>
                </a:lnTo>
                <a:lnTo>
                  <a:pt x="5771092" y="1588"/>
                </a:lnTo>
                <a:lnTo>
                  <a:pt x="5779029" y="3175"/>
                </a:lnTo>
                <a:lnTo>
                  <a:pt x="5786438" y="4763"/>
                </a:lnTo>
                <a:lnTo>
                  <a:pt x="5791729" y="6350"/>
                </a:lnTo>
                <a:lnTo>
                  <a:pt x="5795963" y="9525"/>
                </a:lnTo>
                <a:lnTo>
                  <a:pt x="5803371" y="17463"/>
                </a:lnTo>
                <a:lnTo>
                  <a:pt x="5811309" y="28575"/>
                </a:lnTo>
                <a:lnTo>
                  <a:pt x="5815542" y="38100"/>
                </a:lnTo>
                <a:lnTo>
                  <a:pt x="5852584" y="38100"/>
                </a:lnTo>
                <a:lnTo>
                  <a:pt x="5877454" y="38100"/>
                </a:lnTo>
                <a:lnTo>
                  <a:pt x="5894388" y="36513"/>
                </a:lnTo>
                <a:lnTo>
                  <a:pt x="5904971" y="35719"/>
                </a:lnTo>
                <a:lnTo>
                  <a:pt x="5913967" y="33338"/>
                </a:lnTo>
                <a:lnTo>
                  <a:pt x="5924021" y="31750"/>
                </a:lnTo>
                <a:lnTo>
                  <a:pt x="5937250" y="30956"/>
                </a:lnTo>
                <a:lnTo>
                  <a:pt x="5958417" y="30163"/>
                </a:lnTo>
                <a:lnTo>
                  <a:pt x="6230409" y="53181"/>
                </a:lnTo>
                <a:lnTo>
                  <a:pt x="6251575" y="53181"/>
                </a:lnTo>
                <a:lnTo>
                  <a:pt x="6267979" y="52388"/>
                </a:lnTo>
                <a:lnTo>
                  <a:pt x="6281738" y="50006"/>
                </a:lnTo>
                <a:lnTo>
                  <a:pt x="6294438" y="46831"/>
                </a:lnTo>
                <a:lnTo>
                  <a:pt x="6308725" y="42863"/>
                </a:lnTo>
                <a:lnTo>
                  <a:pt x="6326717" y="38100"/>
                </a:lnTo>
                <a:lnTo>
                  <a:pt x="6349471" y="33338"/>
                </a:lnTo>
                <a:lnTo>
                  <a:pt x="6379104" y="28575"/>
                </a:lnTo>
                <a:lnTo>
                  <a:pt x="6381221" y="31750"/>
                </a:lnTo>
                <a:lnTo>
                  <a:pt x="6382279" y="34131"/>
                </a:lnTo>
                <a:lnTo>
                  <a:pt x="6382279" y="36513"/>
                </a:lnTo>
                <a:lnTo>
                  <a:pt x="6381221" y="38100"/>
                </a:lnTo>
                <a:lnTo>
                  <a:pt x="6380163" y="39688"/>
                </a:lnTo>
                <a:lnTo>
                  <a:pt x="6378046" y="41275"/>
                </a:lnTo>
                <a:lnTo>
                  <a:pt x="6378575" y="42069"/>
                </a:lnTo>
                <a:lnTo>
                  <a:pt x="6382279" y="42863"/>
                </a:lnTo>
                <a:lnTo>
                  <a:pt x="6392334" y="43656"/>
                </a:lnTo>
                <a:lnTo>
                  <a:pt x="6409267" y="44450"/>
                </a:lnTo>
                <a:lnTo>
                  <a:pt x="6430434" y="47625"/>
                </a:lnTo>
                <a:lnTo>
                  <a:pt x="6442075" y="49213"/>
                </a:lnTo>
                <a:lnTo>
                  <a:pt x="6448425" y="51594"/>
                </a:lnTo>
                <a:lnTo>
                  <a:pt x="6451071" y="53181"/>
                </a:lnTo>
                <a:lnTo>
                  <a:pt x="6455304" y="55563"/>
                </a:lnTo>
                <a:lnTo>
                  <a:pt x="6463771" y="57944"/>
                </a:lnTo>
                <a:lnTo>
                  <a:pt x="6479646" y="61119"/>
                </a:lnTo>
                <a:lnTo>
                  <a:pt x="6507692" y="65881"/>
                </a:lnTo>
                <a:lnTo>
                  <a:pt x="6501871" y="57944"/>
                </a:lnTo>
                <a:lnTo>
                  <a:pt x="6497109" y="51594"/>
                </a:lnTo>
                <a:lnTo>
                  <a:pt x="6494463" y="47625"/>
                </a:lnTo>
                <a:lnTo>
                  <a:pt x="6490759" y="44450"/>
                </a:lnTo>
                <a:lnTo>
                  <a:pt x="6481234" y="38894"/>
                </a:lnTo>
                <a:lnTo>
                  <a:pt x="6462713" y="27781"/>
                </a:lnTo>
                <a:lnTo>
                  <a:pt x="6492346" y="30163"/>
                </a:lnTo>
                <a:lnTo>
                  <a:pt x="6517746" y="31750"/>
                </a:lnTo>
                <a:lnTo>
                  <a:pt x="6539971" y="31750"/>
                </a:lnTo>
                <a:lnTo>
                  <a:pt x="6559021" y="30956"/>
                </a:lnTo>
                <a:lnTo>
                  <a:pt x="6576484" y="30163"/>
                </a:lnTo>
                <a:lnTo>
                  <a:pt x="6591829" y="27781"/>
                </a:lnTo>
                <a:lnTo>
                  <a:pt x="6605588" y="26194"/>
                </a:lnTo>
                <a:lnTo>
                  <a:pt x="6619875" y="23019"/>
                </a:lnTo>
                <a:lnTo>
                  <a:pt x="6633634" y="21431"/>
                </a:lnTo>
                <a:lnTo>
                  <a:pt x="6648450" y="19844"/>
                </a:lnTo>
                <a:lnTo>
                  <a:pt x="6663796" y="17463"/>
                </a:lnTo>
                <a:lnTo>
                  <a:pt x="6680729" y="16669"/>
                </a:lnTo>
                <a:lnTo>
                  <a:pt x="6700309" y="15875"/>
                </a:lnTo>
                <a:lnTo>
                  <a:pt x="6722004" y="16669"/>
                </a:lnTo>
                <a:lnTo>
                  <a:pt x="6747934" y="18256"/>
                </a:lnTo>
                <a:lnTo>
                  <a:pt x="6777038" y="21431"/>
                </a:lnTo>
                <a:lnTo>
                  <a:pt x="6835775" y="26988"/>
                </a:lnTo>
                <a:lnTo>
                  <a:pt x="6899804" y="32544"/>
                </a:lnTo>
                <a:lnTo>
                  <a:pt x="6967009" y="37306"/>
                </a:lnTo>
                <a:lnTo>
                  <a:pt x="7035271" y="39688"/>
                </a:lnTo>
                <a:lnTo>
                  <a:pt x="7101946" y="42069"/>
                </a:lnTo>
                <a:lnTo>
                  <a:pt x="7166504" y="42069"/>
                </a:lnTo>
                <a:lnTo>
                  <a:pt x="7197196" y="41275"/>
                </a:lnTo>
                <a:lnTo>
                  <a:pt x="7226300" y="38894"/>
                </a:lnTo>
                <a:lnTo>
                  <a:pt x="7253288" y="37306"/>
                </a:lnTo>
                <a:lnTo>
                  <a:pt x="7278688" y="34131"/>
                </a:lnTo>
                <a:lnTo>
                  <a:pt x="7315200" y="30956"/>
                </a:lnTo>
                <a:lnTo>
                  <a:pt x="7344304" y="28575"/>
                </a:lnTo>
                <a:lnTo>
                  <a:pt x="7368646" y="27781"/>
                </a:lnTo>
                <a:lnTo>
                  <a:pt x="7391929" y="28575"/>
                </a:lnTo>
                <a:lnTo>
                  <a:pt x="7416800" y="30163"/>
                </a:lnTo>
                <a:lnTo>
                  <a:pt x="7445375" y="30956"/>
                </a:lnTo>
                <a:lnTo>
                  <a:pt x="7482417" y="30956"/>
                </a:lnTo>
                <a:lnTo>
                  <a:pt x="7530042" y="30956"/>
                </a:lnTo>
                <a:lnTo>
                  <a:pt x="7531100" y="32544"/>
                </a:lnTo>
                <a:lnTo>
                  <a:pt x="7532688" y="34131"/>
                </a:lnTo>
                <a:lnTo>
                  <a:pt x="7595129" y="69056"/>
                </a:lnTo>
                <a:lnTo>
                  <a:pt x="7743825" y="64294"/>
                </a:lnTo>
                <a:lnTo>
                  <a:pt x="7785629" y="68263"/>
                </a:lnTo>
                <a:lnTo>
                  <a:pt x="7821613" y="70644"/>
                </a:lnTo>
                <a:lnTo>
                  <a:pt x="7852834" y="73025"/>
                </a:lnTo>
                <a:lnTo>
                  <a:pt x="7880350" y="73025"/>
                </a:lnTo>
                <a:lnTo>
                  <a:pt x="7903634" y="73025"/>
                </a:lnTo>
                <a:lnTo>
                  <a:pt x="7923213" y="70644"/>
                </a:lnTo>
                <a:lnTo>
                  <a:pt x="7941204" y="69056"/>
                </a:lnTo>
                <a:lnTo>
                  <a:pt x="7956550" y="66675"/>
                </a:lnTo>
                <a:lnTo>
                  <a:pt x="7982479" y="62706"/>
                </a:lnTo>
                <a:lnTo>
                  <a:pt x="8007879" y="58738"/>
                </a:lnTo>
                <a:lnTo>
                  <a:pt x="8020050" y="57150"/>
                </a:lnTo>
                <a:lnTo>
                  <a:pt x="8033809" y="55563"/>
                </a:lnTo>
                <a:lnTo>
                  <a:pt x="8049154" y="55563"/>
                </a:lnTo>
                <a:lnTo>
                  <a:pt x="8067675" y="55563"/>
                </a:lnTo>
                <a:lnTo>
                  <a:pt x="8093604" y="57944"/>
                </a:lnTo>
                <a:lnTo>
                  <a:pt x="8102071" y="59531"/>
                </a:lnTo>
                <a:lnTo>
                  <a:pt x="8100483" y="60325"/>
                </a:lnTo>
                <a:lnTo>
                  <a:pt x="8094663" y="62706"/>
                </a:lnTo>
                <a:lnTo>
                  <a:pt x="8092017" y="62706"/>
                </a:lnTo>
                <a:lnTo>
                  <a:pt x="8090429" y="63500"/>
                </a:lnTo>
                <a:lnTo>
                  <a:pt x="8092017" y="63500"/>
                </a:lnTo>
                <a:lnTo>
                  <a:pt x="8095721" y="64294"/>
                </a:lnTo>
                <a:lnTo>
                  <a:pt x="8114771" y="65088"/>
                </a:lnTo>
                <a:lnTo>
                  <a:pt x="8154459" y="65881"/>
                </a:lnTo>
                <a:lnTo>
                  <a:pt x="8168217" y="65881"/>
                </a:lnTo>
                <a:lnTo>
                  <a:pt x="8176683" y="65088"/>
                </a:lnTo>
                <a:lnTo>
                  <a:pt x="8181446" y="65088"/>
                </a:lnTo>
                <a:lnTo>
                  <a:pt x="8185679" y="64294"/>
                </a:lnTo>
                <a:lnTo>
                  <a:pt x="8192559" y="64294"/>
                </a:lnTo>
                <a:lnTo>
                  <a:pt x="8202613" y="64294"/>
                </a:lnTo>
                <a:lnTo>
                  <a:pt x="8219546" y="65088"/>
                </a:lnTo>
                <a:lnTo>
                  <a:pt x="8244946" y="66675"/>
                </a:lnTo>
                <a:lnTo>
                  <a:pt x="8546042" y="76994"/>
                </a:lnTo>
                <a:lnTo>
                  <a:pt x="8577792" y="75406"/>
                </a:lnTo>
                <a:lnTo>
                  <a:pt x="8606896" y="73819"/>
                </a:lnTo>
                <a:lnTo>
                  <a:pt x="8634412" y="73025"/>
                </a:lnTo>
                <a:lnTo>
                  <a:pt x="8661400" y="71438"/>
                </a:lnTo>
                <a:lnTo>
                  <a:pt x="8688917" y="70644"/>
                </a:lnTo>
                <a:lnTo>
                  <a:pt x="8716962" y="70644"/>
                </a:lnTo>
                <a:lnTo>
                  <a:pt x="8747125" y="71438"/>
                </a:lnTo>
                <a:lnTo>
                  <a:pt x="8779404" y="73819"/>
                </a:lnTo>
                <a:lnTo>
                  <a:pt x="8969904" y="84138"/>
                </a:lnTo>
                <a:lnTo>
                  <a:pt x="8994246" y="85725"/>
                </a:lnTo>
                <a:lnTo>
                  <a:pt x="9015942" y="85725"/>
                </a:lnTo>
                <a:lnTo>
                  <a:pt x="9034462" y="85725"/>
                </a:lnTo>
                <a:lnTo>
                  <a:pt x="9051396" y="84931"/>
                </a:lnTo>
                <a:lnTo>
                  <a:pt x="9078912" y="81756"/>
                </a:lnTo>
                <a:lnTo>
                  <a:pt x="9104842" y="76994"/>
                </a:lnTo>
                <a:lnTo>
                  <a:pt x="9118071" y="75406"/>
                </a:lnTo>
                <a:lnTo>
                  <a:pt x="9131300" y="73819"/>
                </a:lnTo>
                <a:lnTo>
                  <a:pt x="9145588" y="73025"/>
                </a:lnTo>
                <a:lnTo>
                  <a:pt x="9161992" y="73025"/>
                </a:lnTo>
                <a:lnTo>
                  <a:pt x="9181042" y="73819"/>
                </a:lnTo>
                <a:lnTo>
                  <a:pt x="9202208" y="74613"/>
                </a:lnTo>
                <a:lnTo>
                  <a:pt x="9226550" y="76994"/>
                </a:lnTo>
                <a:lnTo>
                  <a:pt x="9255125" y="81756"/>
                </a:lnTo>
                <a:lnTo>
                  <a:pt x="9279996" y="87313"/>
                </a:lnTo>
                <a:lnTo>
                  <a:pt x="9316508" y="92869"/>
                </a:lnTo>
                <a:lnTo>
                  <a:pt x="9339792" y="96838"/>
                </a:lnTo>
                <a:lnTo>
                  <a:pt x="9353021" y="98425"/>
                </a:lnTo>
                <a:lnTo>
                  <a:pt x="9360429" y="97631"/>
                </a:lnTo>
                <a:lnTo>
                  <a:pt x="9365721" y="96838"/>
                </a:lnTo>
                <a:lnTo>
                  <a:pt x="9373129" y="94456"/>
                </a:lnTo>
                <a:lnTo>
                  <a:pt x="9385829" y="90488"/>
                </a:lnTo>
                <a:lnTo>
                  <a:pt x="9408583" y="87313"/>
                </a:lnTo>
                <a:lnTo>
                  <a:pt x="9432925" y="84931"/>
                </a:lnTo>
                <a:lnTo>
                  <a:pt x="9451446" y="84138"/>
                </a:lnTo>
                <a:lnTo>
                  <a:pt x="9465204" y="84931"/>
                </a:lnTo>
                <a:lnTo>
                  <a:pt x="9477904" y="85725"/>
                </a:lnTo>
                <a:lnTo>
                  <a:pt x="9490075" y="87313"/>
                </a:lnTo>
                <a:lnTo>
                  <a:pt x="9503833" y="90488"/>
                </a:lnTo>
                <a:lnTo>
                  <a:pt x="9522354" y="92075"/>
                </a:lnTo>
                <a:lnTo>
                  <a:pt x="9545638" y="94456"/>
                </a:lnTo>
                <a:lnTo>
                  <a:pt x="9565746" y="95250"/>
                </a:lnTo>
                <a:lnTo>
                  <a:pt x="9586383" y="96044"/>
                </a:lnTo>
                <a:lnTo>
                  <a:pt x="9605962" y="96044"/>
                </a:lnTo>
                <a:lnTo>
                  <a:pt x="9626600" y="96044"/>
                </a:lnTo>
                <a:lnTo>
                  <a:pt x="9646708" y="95250"/>
                </a:lnTo>
                <a:lnTo>
                  <a:pt x="9667346" y="95250"/>
                </a:lnTo>
                <a:lnTo>
                  <a:pt x="9687983" y="94456"/>
                </a:lnTo>
                <a:lnTo>
                  <a:pt x="9708621" y="94456"/>
                </a:lnTo>
                <a:lnTo>
                  <a:pt x="9710208" y="96838"/>
                </a:lnTo>
                <a:lnTo>
                  <a:pt x="9710738" y="100013"/>
                </a:lnTo>
                <a:lnTo>
                  <a:pt x="9709150" y="101600"/>
                </a:lnTo>
                <a:lnTo>
                  <a:pt x="9707033" y="102394"/>
                </a:lnTo>
                <a:lnTo>
                  <a:pt x="9700683" y="105569"/>
                </a:lnTo>
                <a:lnTo>
                  <a:pt x="9693804" y="107156"/>
                </a:lnTo>
                <a:lnTo>
                  <a:pt x="9688512" y="107950"/>
                </a:lnTo>
                <a:lnTo>
                  <a:pt x="9687983" y="107950"/>
                </a:lnTo>
                <a:lnTo>
                  <a:pt x="9694862" y="108744"/>
                </a:lnTo>
                <a:lnTo>
                  <a:pt x="9709150" y="109538"/>
                </a:lnTo>
                <a:lnTo>
                  <a:pt x="9710208" y="111919"/>
                </a:lnTo>
                <a:lnTo>
                  <a:pt x="9710208" y="113506"/>
                </a:lnTo>
                <a:lnTo>
                  <a:pt x="9739842" y="111919"/>
                </a:lnTo>
                <a:lnTo>
                  <a:pt x="9769475" y="108744"/>
                </a:lnTo>
                <a:lnTo>
                  <a:pt x="9798050" y="105569"/>
                </a:lnTo>
                <a:lnTo>
                  <a:pt x="9826625" y="101600"/>
                </a:lnTo>
                <a:lnTo>
                  <a:pt x="9855729" y="97631"/>
                </a:lnTo>
                <a:lnTo>
                  <a:pt x="9885892" y="92869"/>
                </a:lnTo>
                <a:lnTo>
                  <a:pt x="9916583" y="89694"/>
                </a:lnTo>
                <a:lnTo>
                  <a:pt x="9950450" y="85725"/>
                </a:lnTo>
                <a:lnTo>
                  <a:pt x="9986962" y="82550"/>
                </a:lnTo>
                <a:lnTo>
                  <a:pt x="10016067" y="81756"/>
                </a:lnTo>
                <a:lnTo>
                  <a:pt x="10041467" y="82550"/>
                </a:lnTo>
                <a:lnTo>
                  <a:pt x="10063692" y="84931"/>
                </a:lnTo>
                <a:lnTo>
                  <a:pt x="10087504" y="88106"/>
                </a:lnTo>
                <a:lnTo>
                  <a:pt x="10113962" y="91281"/>
                </a:lnTo>
                <a:lnTo>
                  <a:pt x="10147300" y="94456"/>
                </a:lnTo>
                <a:lnTo>
                  <a:pt x="10190162" y="96838"/>
                </a:lnTo>
                <a:lnTo>
                  <a:pt x="10229321" y="97631"/>
                </a:lnTo>
                <a:lnTo>
                  <a:pt x="10261600" y="100806"/>
                </a:lnTo>
                <a:lnTo>
                  <a:pt x="10288058" y="103188"/>
                </a:lnTo>
                <a:lnTo>
                  <a:pt x="10310812" y="105569"/>
                </a:lnTo>
                <a:lnTo>
                  <a:pt x="10333038" y="106363"/>
                </a:lnTo>
                <a:lnTo>
                  <a:pt x="10356321" y="106363"/>
                </a:lnTo>
                <a:lnTo>
                  <a:pt x="10382250" y="103981"/>
                </a:lnTo>
                <a:lnTo>
                  <a:pt x="10413471" y="100806"/>
                </a:lnTo>
                <a:lnTo>
                  <a:pt x="10438342" y="97631"/>
                </a:lnTo>
                <a:lnTo>
                  <a:pt x="10464271" y="96044"/>
                </a:lnTo>
                <a:lnTo>
                  <a:pt x="10491258" y="95250"/>
                </a:lnTo>
                <a:lnTo>
                  <a:pt x="10518775" y="94456"/>
                </a:lnTo>
                <a:lnTo>
                  <a:pt x="10576983" y="96044"/>
                </a:lnTo>
                <a:lnTo>
                  <a:pt x="10637838" y="98425"/>
                </a:lnTo>
                <a:lnTo>
                  <a:pt x="10700279" y="101600"/>
                </a:lnTo>
                <a:lnTo>
                  <a:pt x="10763250" y="103188"/>
                </a:lnTo>
                <a:lnTo>
                  <a:pt x="10793942" y="103188"/>
                </a:lnTo>
                <a:lnTo>
                  <a:pt x="10824633" y="102394"/>
                </a:lnTo>
                <a:lnTo>
                  <a:pt x="10855325" y="101600"/>
                </a:lnTo>
                <a:lnTo>
                  <a:pt x="10884958" y="98425"/>
                </a:lnTo>
                <a:lnTo>
                  <a:pt x="11070696" y="90488"/>
                </a:lnTo>
                <a:lnTo>
                  <a:pt x="11095038" y="92869"/>
                </a:lnTo>
                <a:lnTo>
                  <a:pt x="11119379" y="94456"/>
                </a:lnTo>
                <a:lnTo>
                  <a:pt x="11144250" y="94456"/>
                </a:lnTo>
                <a:lnTo>
                  <a:pt x="11170708" y="94456"/>
                </a:lnTo>
                <a:lnTo>
                  <a:pt x="11223096" y="92075"/>
                </a:lnTo>
                <a:lnTo>
                  <a:pt x="11276542" y="88106"/>
                </a:lnTo>
                <a:lnTo>
                  <a:pt x="11330517" y="85725"/>
                </a:lnTo>
                <a:lnTo>
                  <a:pt x="11382375" y="84138"/>
                </a:lnTo>
                <a:lnTo>
                  <a:pt x="11407246" y="84138"/>
                </a:lnTo>
                <a:lnTo>
                  <a:pt x="11431588" y="84931"/>
                </a:lnTo>
                <a:lnTo>
                  <a:pt x="11455400" y="86519"/>
                </a:lnTo>
                <a:lnTo>
                  <a:pt x="11478154" y="89694"/>
                </a:lnTo>
                <a:lnTo>
                  <a:pt x="11499321" y="92869"/>
                </a:lnTo>
                <a:lnTo>
                  <a:pt x="11512550" y="95250"/>
                </a:lnTo>
                <a:lnTo>
                  <a:pt x="11519429" y="96838"/>
                </a:lnTo>
                <a:lnTo>
                  <a:pt x="11523133" y="98425"/>
                </a:lnTo>
                <a:lnTo>
                  <a:pt x="11524721" y="101600"/>
                </a:lnTo>
                <a:lnTo>
                  <a:pt x="11526838" y="105569"/>
                </a:lnTo>
                <a:lnTo>
                  <a:pt x="11531071" y="111125"/>
                </a:lnTo>
                <a:lnTo>
                  <a:pt x="11540067" y="119063"/>
                </a:lnTo>
                <a:lnTo>
                  <a:pt x="11688762" y="257969"/>
                </a:lnTo>
                <a:lnTo>
                  <a:pt x="11701992" y="280194"/>
                </a:lnTo>
                <a:lnTo>
                  <a:pt x="11712046" y="301625"/>
                </a:lnTo>
                <a:lnTo>
                  <a:pt x="11716279" y="311944"/>
                </a:lnTo>
                <a:lnTo>
                  <a:pt x="11719454" y="321469"/>
                </a:lnTo>
                <a:lnTo>
                  <a:pt x="11722100" y="330994"/>
                </a:lnTo>
                <a:lnTo>
                  <a:pt x="11723688" y="338931"/>
                </a:lnTo>
                <a:lnTo>
                  <a:pt x="11725275" y="347663"/>
                </a:lnTo>
                <a:lnTo>
                  <a:pt x="11725275" y="354806"/>
                </a:lnTo>
                <a:lnTo>
                  <a:pt x="11724746" y="361950"/>
                </a:lnTo>
                <a:lnTo>
                  <a:pt x="11722100" y="369094"/>
                </a:lnTo>
                <a:lnTo>
                  <a:pt x="11719454" y="375444"/>
                </a:lnTo>
                <a:lnTo>
                  <a:pt x="11715750" y="381794"/>
                </a:lnTo>
                <a:lnTo>
                  <a:pt x="11710458" y="387350"/>
                </a:lnTo>
                <a:lnTo>
                  <a:pt x="11704638" y="392113"/>
                </a:lnTo>
                <a:lnTo>
                  <a:pt x="11697229" y="396875"/>
                </a:lnTo>
                <a:lnTo>
                  <a:pt x="11689292" y="401638"/>
                </a:lnTo>
                <a:lnTo>
                  <a:pt x="11679767" y="404813"/>
                </a:lnTo>
                <a:lnTo>
                  <a:pt x="11668654" y="408782"/>
                </a:lnTo>
                <a:lnTo>
                  <a:pt x="11656483" y="411956"/>
                </a:lnTo>
                <a:lnTo>
                  <a:pt x="11643254" y="414338"/>
                </a:lnTo>
                <a:lnTo>
                  <a:pt x="11627908" y="416719"/>
                </a:lnTo>
                <a:lnTo>
                  <a:pt x="11611504" y="418307"/>
                </a:lnTo>
                <a:lnTo>
                  <a:pt x="11594042" y="419894"/>
                </a:lnTo>
                <a:lnTo>
                  <a:pt x="11574992" y="420688"/>
                </a:lnTo>
                <a:lnTo>
                  <a:pt x="11554354" y="422275"/>
                </a:lnTo>
                <a:lnTo>
                  <a:pt x="11531600" y="422275"/>
                </a:lnTo>
                <a:lnTo>
                  <a:pt x="11482917" y="420688"/>
                </a:lnTo>
                <a:lnTo>
                  <a:pt x="11426825" y="419100"/>
                </a:lnTo>
                <a:lnTo>
                  <a:pt x="11368617" y="416719"/>
                </a:lnTo>
                <a:lnTo>
                  <a:pt x="11308292" y="413544"/>
                </a:lnTo>
                <a:lnTo>
                  <a:pt x="11246908" y="411956"/>
                </a:lnTo>
                <a:lnTo>
                  <a:pt x="11184467" y="409575"/>
                </a:lnTo>
                <a:lnTo>
                  <a:pt x="11121496" y="408782"/>
                </a:lnTo>
                <a:lnTo>
                  <a:pt x="11057467" y="407988"/>
                </a:lnTo>
                <a:lnTo>
                  <a:pt x="10993967" y="407194"/>
                </a:lnTo>
                <a:lnTo>
                  <a:pt x="10929408" y="407194"/>
                </a:lnTo>
                <a:lnTo>
                  <a:pt x="10864321" y="406400"/>
                </a:lnTo>
                <a:lnTo>
                  <a:pt x="10799762" y="406400"/>
                </a:lnTo>
                <a:lnTo>
                  <a:pt x="10735204" y="406400"/>
                </a:lnTo>
                <a:lnTo>
                  <a:pt x="10670646" y="406400"/>
                </a:lnTo>
                <a:lnTo>
                  <a:pt x="10607146" y="406400"/>
                </a:lnTo>
                <a:lnTo>
                  <a:pt x="10544175" y="406400"/>
                </a:lnTo>
                <a:lnTo>
                  <a:pt x="10482262" y="406400"/>
                </a:lnTo>
                <a:lnTo>
                  <a:pt x="10420879" y="406400"/>
                </a:lnTo>
                <a:lnTo>
                  <a:pt x="9417579" y="411956"/>
                </a:lnTo>
                <a:lnTo>
                  <a:pt x="9337675" y="412750"/>
                </a:lnTo>
                <a:lnTo>
                  <a:pt x="9282642" y="411163"/>
                </a:lnTo>
                <a:lnTo>
                  <a:pt x="9246129" y="408782"/>
                </a:lnTo>
                <a:lnTo>
                  <a:pt x="9223375" y="406400"/>
                </a:lnTo>
                <a:lnTo>
                  <a:pt x="9207500" y="402432"/>
                </a:lnTo>
                <a:lnTo>
                  <a:pt x="9193212" y="400844"/>
                </a:lnTo>
                <a:lnTo>
                  <a:pt x="9185275" y="398463"/>
                </a:lnTo>
                <a:lnTo>
                  <a:pt x="9175750" y="398463"/>
                </a:lnTo>
                <a:lnTo>
                  <a:pt x="9163050" y="397669"/>
                </a:lnTo>
                <a:lnTo>
                  <a:pt x="9147704" y="397669"/>
                </a:lnTo>
                <a:lnTo>
                  <a:pt x="9130242" y="398463"/>
                </a:lnTo>
                <a:lnTo>
                  <a:pt x="9114896" y="399256"/>
                </a:lnTo>
                <a:lnTo>
                  <a:pt x="9101138" y="401638"/>
                </a:lnTo>
                <a:lnTo>
                  <a:pt x="9086850" y="403225"/>
                </a:lnTo>
                <a:lnTo>
                  <a:pt x="9070975" y="404813"/>
                </a:lnTo>
                <a:lnTo>
                  <a:pt x="9051925" y="406400"/>
                </a:lnTo>
                <a:lnTo>
                  <a:pt x="9028642" y="407988"/>
                </a:lnTo>
                <a:lnTo>
                  <a:pt x="8999008" y="408782"/>
                </a:lnTo>
                <a:lnTo>
                  <a:pt x="8617479" y="407194"/>
                </a:lnTo>
                <a:lnTo>
                  <a:pt x="8569854" y="406400"/>
                </a:lnTo>
                <a:lnTo>
                  <a:pt x="8528050" y="406400"/>
                </a:lnTo>
                <a:lnTo>
                  <a:pt x="8489950" y="407988"/>
                </a:lnTo>
                <a:lnTo>
                  <a:pt x="8453967" y="409575"/>
                </a:lnTo>
                <a:lnTo>
                  <a:pt x="8417454" y="413544"/>
                </a:lnTo>
                <a:lnTo>
                  <a:pt x="8379354" y="416719"/>
                </a:lnTo>
                <a:lnTo>
                  <a:pt x="8337550" y="418307"/>
                </a:lnTo>
                <a:lnTo>
                  <a:pt x="8289925" y="419894"/>
                </a:lnTo>
                <a:lnTo>
                  <a:pt x="7835371" y="430213"/>
                </a:lnTo>
                <a:lnTo>
                  <a:pt x="7823200" y="431007"/>
                </a:lnTo>
                <a:lnTo>
                  <a:pt x="7815792" y="432594"/>
                </a:lnTo>
                <a:lnTo>
                  <a:pt x="7812088" y="432594"/>
                </a:lnTo>
                <a:lnTo>
                  <a:pt x="7809971" y="433388"/>
                </a:lnTo>
                <a:lnTo>
                  <a:pt x="7806796" y="433388"/>
                </a:lnTo>
                <a:lnTo>
                  <a:pt x="7801504" y="434975"/>
                </a:lnTo>
                <a:lnTo>
                  <a:pt x="7793038" y="438150"/>
                </a:lnTo>
                <a:lnTo>
                  <a:pt x="7778221" y="441325"/>
                </a:lnTo>
                <a:lnTo>
                  <a:pt x="7772400" y="443706"/>
                </a:lnTo>
                <a:lnTo>
                  <a:pt x="7764463" y="446088"/>
                </a:lnTo>
                <a:lnTo>
                  <a:pt x="7757054" y="447675"/>
                </a:lnTo>
                <a:lnTo>
                  <a:pt x="7752821" y="450056"/>
                </a:lnTo>
                <a:lnTo>
                  <a:pt x="7727950" y="457994"/>
                </a:lnTo>
                <a:lnTo>
                  <a:pt x="7734829" y="460375"/>
                </a:lnTo>
                <a:lnTo>
                  <a:pt x="7741709" y="461169"/>
                </a:lnTo>
                <a:lnTo>
                  <a:pt x="7748059" y="462757"/>
                </a:lnTo>
                <a:lnTo>
                  <a:pt x="7755467" y="463550"/>
                </a:lnTo>
                <a:lnTo>
                  <a:pt x="7762346" y="465931"/>
                </a:lnTo>
                <a:lnTo>
                  <a:pt x="7769225" y="467519"/>
                </a:lnTo>
                <a:lnTo>
                  <a:pt x="7890934" y="477044"/>
                </a:lnTo>
                <a:lnTo>
                  <a:pt x="7886171" y="476250"/>
                </a:lnTo>
                <a:lnTo>
                  <a:pt x="7875059" y="472281"/>
                </a:lnTo>
                <a:lnTo>
                  <a:pt x="7868179" y="468313"/>
                </a:lnTo>
                <a:lnTo>
                  <a:pt x="7861829" y="462757"/>
                </a:lnTo>
                <a:lnTo>
                  <a:pt x="7858654" y="459581"/>
                </a:lnTo>
                <a:lnTo>
                  <a:pt x="7856009" y="455613"/>
                </a:lnTo>
                <a:lnTo>
                  <a:pt x="7853892" y="450850"/>
                </a:lnTo>
                <a:lnTo>
                  <a:pt x="7852304" y="446088"/>
                </a:lnTo>
                <a:lnTo>
                  <a:pt x="7868179" y="449263"/>
                </a:lnTo>
                <a:lnTo>
                  <a:pt x="7886171" y="451644"/>
                </a:lnTo>
                <a:lnTo>
                  <a:pt x="7904163" y="454819"/>
                </a:lnTo>
                <a:lnTo>
                  <a:pt x="7922684" y="456406"/>
                </a:lnTo>
                <a:lnTo>
                  <a:pt x="7942263" y="457994"/>
                </a:lnTo>
                <a:lnTo>
                  <a:pt x="7961313" y="460375"/>
                </a:lnTo>
                <a:lnTo>
                  <a:pt x="7980363" y="461963"/>
                </a:lnTo>
                <a:lnTo>
                  <a:pt x="7999413" y="463550"/>
                </a:lnTo>
                <a:lnTo>
                  <a:pt x="8001529" y="466725"/>
                </a:lnTo>
                <a:lnTo>
                  <a:pt x="8002588" y="469107"/>
                </a:lnTo>
                <a:lnTo>
                  <a:pt x="8002588" y="471488"/>
                </a:lnTo>
                <a:lnTo>
                  <a:pt x="8001000" y="473075"/>
                </a:lnTo>
                <a:lnTo>
                  <a:pt x="7996767" y="473869"/>
                </a:lnTo>
                <a:lnTo>
                  <a:pt x="7989888" y="473869"/>
                </a:lnTo>
                <a:lnTo>
                  <a:pt x="7983538" y="473869"/>
                </a:lnTo>
                <a:lnTo>
                  <a:pt x="7979304" y="474663"/>
                </a:lnTo>
                <a:lnTo>
                  <a:pt x="7977717" y="476250"/>
                </a:lnTo>
                <a:lnTo>
                  <a:pt x="7976659" y="477838"/>
                </a:lnTo>
                <a:lnTo>
                  <a:pt x="7978246" y="479425"/>
                </a:lnTo>
                <a:lnTo>
                  <a:pt x="7980363" y="483394"/>
                </a:lnTo>
                <a:lnTo>
                  <a:pt x="8004704" y="482600"/>
                </a:lnTo>
                <a:lnTo>
                  <a:pt x="8023225" y="482600"/>
                </a:lnTo>
                <a:lnTo>
                  <a:pt x="8037513" y="481013"/>
                </a:lnTo>
                <a:lnTo>
                  <a:pt x="8050213" y="478631"/>
                </a:lnTo>
                <a:lnTo>
                  <a:pt x="8061325" y="476250"/>
                </a:lnTo>
                <a:lnTo>
                  <a:pt x="8071909" y="472281"/>
                </a:lnTo>
                <a:lnTo>
                  <a:pt x="8085137" y="467519"/>
                </a:lnTo>
                <a:lnTo>
                  <a:pt x="8102071" y="461169"/>
                </a:lnTo>
                <a:lnTo>
                  <a:pt x="8117417" y="454819"/>
                </a:lnTo>
                <a:lnTo>
                  <a:pt x="8124524" y="451858"/>
                </a:lnTo>
                <a:lnTo>
                  <a:pt x="8128529" y="455613"/>
                </a:lnTo>
                <a:lnTo>
                  <a:pt x="8130646" y="457994"/>
                </a:lnTo>
                <a:lnTo>
                  <a:pt x="8130646" y="459581"/>
                </a:lnTo>
                <a:lnTo>
                  <a:pt x="8130117" y="461169"/>
                </a:lnTo>
                <a:lnTo>
                  <a:pt x="8128000" y="461963"/>
                </a:lnTo>
                <a:lnTo>
                  <a:pt x="8124825" y="465138"/>
                </a:lnTo>
                <a:lnTo>
                  <a:pt x="8122709" y="468313"/>
                </a:lnTo>
                <a:lnTo>
                  <a:pt x="8119533" y="474663"/>
                </a:lnTo>
                <a:lnTo>
                  <a:pt x="8115829" y="484981"/>
                </a:lnTo>
                <a:lnTo>
                  <a:pt x="8112654" y="493713"/>
                </a:lnTo>
                <a:lnTo>
                  <a:pt x="8111067" y="497682"/>
                </a:lnTo>
                <a:lnTo>
                  <a:pt x="8110009" y="500063"/>
                </a:lnTo>
                <a:lnTo>
                  <a:pt x="8111067" y="502444"/>
                </a:lnTo>
                <a:lnTo>
                  <a:pt x="8112654" y="504032"/>
                </a:lnTo>
                <a:lnTo>
                  <a:pt x="8115300" y="505619"/>
                </a:lnTo>
                <a:lnTo>
                  <a:pt x="8119533" y="506413"/>
                </a:lnTo>
                <a:lnTo>
                  <a:pt x="8125354" y="508000"/>
                </a:lnTo>
                <a:lnTo>
                  <a:pt x="8134350" y="508794"/>
                </a:lnTo>
                <a:lnTo>
                  <a:pt x="8157104" y="509588"/>
                </a:lnTo>
                <a:lnTo>
                  <a:pt x="8190971" y="509588"/>
                </a:lnTo>
                <a:lnTo>
                  <a:pt x="8195733" y="500856"/>
                </a:lnTo>
                <a:lnTo>
                  <a:pt x="8198909" y="493713"/>
                </a:lnTo>
                <a:lnTo>
                  <a:pt x="8201025" y="490538"/>
                </a:lnTo>
                <a:lnTo>
                  <a:pt x="8204200" y="488950"/>
                </a:lnTo>
                <a:lnTo>
                  <a:pt x="8207904" y="487363"/>
                </a:lnTo>
                <a:lnTo>
                  <a:pt x="8213725" y="486569"/>
                </a:lnTo>
                <a:lnTo>
                  <a:pt x="8221663" y="484981"/>
                </a:lnTo>
                <a:lnTo>
                  <a:pt x="8232775" y="484981"/>
                </a:lnTo>
                <a:lnTo>
                  <a:pt x="8246533" y="484981"/>
                </a:lnTo>
                <a:lnTo>
                  <a:pt x="8263467" y="487363"/>
                </a:lnTo>
                <a:lnTo>
                  <a:pt x="8311091" y="490538"/>
                </a:lnTo>
                <a:lnTo>
                  <a:pt x="8378296" y="496094"/>
                </a:lnTo>
                <a:lnTo>
                  <a:pt x="8374063" y="492919"/>
                </a:lnTo>
                <a:lnTo>
                  <a:pt x="8369829" y="488950"/>
                </a:lnTo>
                <a:lnTo>
                  <a:pt x="8365067" y="486569"/>
                </a:lnTo>
                <a:lnTo>
                  <a:pt x="8360304" y="483394"/>
                </a:lnTo>
                <a:lnTo>
                  <a:pt x="8349191" y="478631"/>
                </a:lnTo>
                <a:lnTo>
                  <a:pt x="8337550" y="476250"/>
                </a:lnTo>
                <a:lnTo>
                  <a:pt x="8307917" y="472281"/>
                </a:lnTo>
                <a:lnTo>
                  <a:pt x="8271933" y="469107"/>
                </a:lnTo>
                <a:lnTo>
                  <a:pt x="8280929" y="466725"/>
                </a:lnTo>
                <a:lnTo>
                  <a:pt x="8290983" y="465138"/>
                </a:lnTo>
                <a:lnTo>
                  <a:pt x="8303683" y="463550"/>
                </a:lnTo>
                <a:lnTo>
                  <a:pt x="8316913" y="463550"/>
                </a:lnTo>
                <a:lnTo>
                  <a:pt x="8347604" y="463550"/>
                </a:lnTo>
                <a:lnTo>
                  <a:pt x="8380413" y="465931"/>
                </a:lnTo>
                <a:lnTo>
                  <a:pt x="8414279" y="469107"/>
                </a:lnTo>
                <a:lnTo>
                  <a:pt x="8447088" y="473075"/>
                </a:lnTo>
                <a:lnTo>
                  <a:pt x="8478308" y="478631"/>
                </a:lnTo>
                <a:lnTo>
                  <a:pt x="8503179" y="484981"/>
                </a:lnTo>
                <a:lnTo>
                  <a:pt x="8460317" y="492125"/>
                </a:lnTo>
                <a:lnTo>
                  <a:pt x="8456612" y="493713"/>
                </a:lnTo>
                <a:lnTo>
                  <a:pt x="8454496" y="495300"/>
                </a:lnTo>
                <a:lnTo>
                  <a:pt x="8453438" y="497682"/>
                </a:lnTo>
                <a:lnTo>
                  <a:pt x="8451850" y="499269"/>
                </a:lnTo>
                <a:lnTo>
                  <a:pt x="8448675" y="504825"/>
                </a:lnTo>
                <a:lnTo>
                  <a:pt x="8443912" y="514350"/>
                </a:lnTo>
                <a:lnTo>
                  <a:pt x="8559271" y="500063"/>
                </a:lnTo>
                <a:lnTo>
                  <a:pt x="8593138" y="490538"/>
                </a:lnTo>
                <a:lnTo>
                  <a:pt x="8620125" y="483394"/>
                </a:lnTo>
                <a:lnTo>
                  <a:pt x="8641292" y="478631"/>
                </a:lnTo>
                <a:lnTo>
                  <a:pt x="8658225" y="474663"/>
                </a:lnTo>
                <a:lnTo>
                  <a:pt x="8670925" y="473869"/>
                </a:lnTo>
                <a:lnTo>
                  <a:pt x="8680979" y="473075"/>
                </a:lnTo>
                <a:lnTo>
                  <a:pt x="8688917" y="473869"/>
                </a:lnTo>
                <a:lnTo>
                  <a:pt x="8695796" y="476250"/>
                </a:lnTo>
                <a:lnTo>
                  <a:pt x="8709554" y="482600"/>
                </a:lnTo>
                <a:lnTo>
                  <a:pt x="8729662" y="488950"/>
                </a:lnTo>
                <a:lnTo>
                  <a:pt x="8743950" y="492919"/>
                </a:lnTo>
                <a:lnTo>
                  <a:pt x="8763000" y="495300"/>
                </a:lnTo>
                <a:lnTo>
                  <a:pt x="8787342" y="498475"/>
                </a:lnTo>
                <a:lnTo>
                  <a:pt x="8817504" y="499269"/>
                </a:lnTo>
                <a:lnTo>
                  <a:pt x="8841846" y="499269"/>
                </a:lnTo>
                <a:lnTo>
                  <a:pt x="8871479" y="498475"/>
                </a:lnTo>
                <a:lnTo>
                  <a:pt x="8905875" y="497682"/>
                </a:lnTo>
                <a:lnTo>
                  <a:pt x="8941858" y="496094"/>
                </a:lnTo>
                <a:lnTo>
                  <a:pt x="8977312" y="495300"/>
                </a:lnTo>
                <a:lnTo>
                  <a:pt x="9009592" y="496094"/>
                </a:lnTo>
                <a:lnTo>
                  <a:pt x="9023879" y="497682"/>
                </a:lnTo>
                <a:lnTo>
                  <a:pt x="9037108" y="499269"/>
                </a:lnTo>
                <a:lnTo>
                  <a:pt x="9048221" y="500856"/>
                </a:lnTo>
                <a:lnTo>
                  <a:pt x="9057217" y="504032"/>
                </a:lnTo>
                <a:lnTo>
                  <a:pt x="9069388" y="515144"/>
                </a:lnTo>
                <a:lnTo>
                  <a:pt x="9082088" y="509588"/>
                </a:lnTo>
                <a:lnTo>
                  <a:pt x="9095317" y="504825"/>
                </a:lnTo>
                <a:lnTo>
                  <a:pt x="9109075" y="500856"/>
                </a:lnTo>
                <a:lnTo>
                  <a:pt x="9123892" y="498475"/>
                </a:lnTo>
                <a:lnTo>
                  <a:pt x="9138179" y="496094"/>
                </a:lnTo>
                <a:lnTo>
                  <a:pt x="9153525" y="494506"/>
                </a:lnTo>
                <a:lnTo>
                  <a:pt x="9169929" y="494506"/>
                </a:lnTo>
                <a:lnTo>
                  <a:pt x="9186862" y="494506"/>
                </a:lnTo>
                <a:lnTo>
                  <a:pt x="9221788" y="495300"/>
                </a:lnTo>
                <a:lnTo>
                  <a:pt x="9259358" y="497682"/>
                </a:lnTo>
                <a:lnTo>
                  <a:pt x="9299046" y="499269"/>
                </a:lnTo>
                <a:lnTo>
                  <a:pt x="9340850" y="500856"/>
                </a:lnTo>
                <a:lnTo>
                  <a:pt x="9338204" y="471488"/>
                </a:lnTo>
                <a:lnTo>
                  <a:pt x="9463088" y="469107"/>
                </a:lnTo>
                <a:lnTo>
                  <a:pt x="9454092" y="483394"/>
                </a:lnTo>
                <a:lnTo>
                  <a:pt x="9449329" y="489744"/>
                </a:lnTo>
                <a:lnTo>
                  <a:pt x="9447742" y="490538"/>
                </a:lnTo>
                <a:lnTo>
                  <a:pt x="9446154" y="490538"/>
                </a:lnTo>
                <a:lnTo>
                  <a:pt x="9445625" y="489744"/>
                </a:lnTo>
                <a:lnTo>
                  <a:pt x="9444567" y="488950"/>
                </a:lnTo>
                <a:lnTo>
                  <a:pt x="9444038" y="488950"/>
                </a:lnTo>
                <a:lnTo>
                  <a:pt x="9442450" y="488950"/>
                </a:lnTo>
                <a:lnTo>
                  <a:pt x="9440862" y="489744"/>
                </a:lnTo>
                <a:lnTo>
                  <a:pt x="9435042" y="496094"/>
                </a:lnTo>
                <a:lnTo>
                  <a:pt x="9424988" y="509588"/>
                </a:lnTo>
                <a:lnTo>
                  <a:pt x="9463617" y="509588"/>
                </a:lnTo>
                <a:lnTo>
                  <a:pt x="9488488" y="509588"/>
                </a:lnTo>
                <a:lnTo>
                  <a:pt x="9497483" y="509588"/>
                </a:lnTo>
                <a:lnTo>
                  <a:pt x="9503833" y="510381"/>
                </a:lnTo>
                <a:lnTo>
                  <a:pt x="9508596" y="511969"/>
                </a:lnTo>
                <a:lnTo>
                  <a:pt x="9512300" y="513557"/>
                </a:lnTo>
                <a:lnTo>
                  <a:pt x="9514417" y="515144"/>
                </a:lnTo>
                <a:lnTo>
                  <a:pt x="9516004" y="516731"/>
                </a:lnTo>
                <a:lnTo>
                  <a:pt x="9516533" y="519907"/>
                </a:lnTo>
                <a:lnTo>
                  <a:pt x="9518121" y="521494"/>
                </a:lnTo>
                <a:lnTo>
                  <a:pt x="9519708" y="525463"/>
                </a:lnTo>
                <a:lnTo>
                  <a:pt x="9522354" y="529431"/>
                </a:lnTo>
                <a:lnTo>
                  <a:pt x="9526058" y="532606"/>
                </a:lnTo>
                <a:lnTo>
                  <a:pt x="9531350" y="536575"/>
                </a:lnTo>
                <a:lnTo>
                  <a:pt x="9644062" y="521494"/>
                </a:lnTo>
                <a:lnTo>
                  <a:pt x="9685338" y="520700"/>
                </a:lnTo>
                <a:lnTo>
                  <a:pt x="9707562" y="519907"/>
                </a:lnTo>
                <a:lnTo>
                  <a:pt x="9716558" y="519907"/>
                </a:lnTo>
                <a:lnTo>
                  <a:pt x="9717088" y="519113"/>
                </a:lnTo>
                <a:lnTo>
                  <a:pt x="9716029" y="519113"/>
                </a:lnTo>
                <a:lnTo>
                  <a:pt x="9714971" y="517525"/>
                </a:lnTo>
                <a:lnTo>
                  <a:pt x="9713912" y="516731"/>
                </a:lnTo>
                <a:lnTo>
                  <a:pt x="9714442" y="515938"/>
                </a:lnTo>
                <a:lnTo>
                  <a:pt x="9716558" y="514350"/>
                </a:lnTo>
                <a:lnTo>
                  <a:pt x="9720792" y="511175"/>
                </a:lnTo>
                <a:lnTo>
                  <a:pt x="9728200" y="508794"/>
                </a:lnTo>
                <a:lnTo>
                  <a:pt x="9739842" y="505619"/>
                </a:lnTo>
                <a:lnTo>
                  <a:pt x="9756775" y="500856"/>
                </a:lnTo>
                <a:lnTo>
                  <a:pt x="9775825" y="497682"/>
                </a:lnTo>
                <a:lnTo>
                  <a:pt x="9794875" y="494506"/>
                </a:lnTo>
                <a:lnTo>
                  <a:pt x="9815512" y="492125"/>
                </a:lnTo>
                <a:lnTo>
                  <a:pt x="9857846" y="488156"/>
                </a:lnTo>
                <a:lnTo>
                  <a:pt x="9902825" y="486569"/>
                </a:lnTo>
                <a:lnTo>
                  <a:pt x="9948333" y="486569"/>
                </a:lnTo>
                <a:lnTo>
                  <a:pt x="9993842" y="486569"/>
                </a:lnTo>
                <a:lnTo>
                  <a:pt x="10038292" y="487363"/>
                </a:lnTo>
                <a:lnTo>
                  <a:pt x="10080096" y="487363"/>
                </a:lnTo>
                <a:lnTo>
                  <a:pt x="10095971" y="487363"/>
                </a:lnTo>
                <a:lnTo>
                  <a:pt x="10110258" y="488156"/>
                </a:lnTo>
                <a:lnTo>
                  <a:pt x="10121900" y="488950"/>
                </a:lnTo>
                <a:lnTo>
                  <a:pt x="10131954" y="490538"/>
                </a:lnTo>
                <a:lnTo>
                  <a:pt x="10148888" y="493713"/>
                </a:lnTo>
                <a:lnTo>
                  <a:pt x="10165821" y="495300"/>
                </a:lnTo>
                <a:lnTo>
                  <a:pt x="10174817" y="496094"/>
                </a:lnTo>
                <a:lnTo>
                  <a:pt x="10184871" y="497682"/>
                </a:lnTo>
                <a:lnTo>
                  <a:pt x="10196512" y="496094"/>
                </a:lnTo>
                <a:lnTo>
                  <a:pt x="10210271" y="496094"/>
                </a:lnTo>
                <a:lnTo>
                  <a:pt x="10227204" y="494506"/>
                </a:lnTo>
                <a:lnTo>
                  <a:pt x="10247842" y="492125"/>
                </a:lnTo>
                <a:lnTo>
                  <a:pt x="10271125" y="488156"/>
                </a:lnTo>
                <a:lnTo>
                  <a:pt x="10299171" y="483394"/>
                </a:lnTo>
                <a:lnTo>
                  <a:pt x="10321925" y="481013"/>
                </a:lnTo>
                <a:lnTo>
                  <a:pt x="10342562" y="477838"/>
                </a:lnTo>
                <a:lnTo>
                  <a:pt x="10361612" y="477044"/>
                </a:lnTo>
                <a:lnTo>
                  <a:pt x="10377488" y="477044"/>
                </a:lnTo>
                <a:lnTo>
                  <a:pt x="10392304" y="478631"/>
                </a:lnTo>
                <a:lnTo>
                  <a:pt x="10406062" y="481013"/>
                </a:lnTo>
                <a:lnTo>
                  <a:pt x="10417704" y="483394"/>
                </a:lnTo>
                <a:lnTo>
                  <a:pt x="10428817" y="488156"/>
                </a:lnTo>
                <a:lnTo>
                  <a:pt x="10438342" y="492919"/>
                </a:lnTo>
                <a:lnTo>
                  <a:pt x="10447338" y="498475"/>
                </a:lnTo>
                <a:lnTo>
                  <a:pt x="10455804" y="504825"/>
                </a:lnTo>
                <a:lnTo>
                  <a:pt x="10464271" y="511969"/>
                </a:lnTo>
                <a:lnTo>
                  <a:pt x="10480146" y="527844"/>
                </a:lnTo>
                <a:lnTo>
                  <a:pt x="10497079" y="546894"/>
                </a:lnTo>
                <a:lnTo>
                  <a:pt x="10606088" y="656431"/>
                </a:lnTo>
                <a:lnTo>
                  <a:pt x="10634662" y="656431"/>
                </a:lnTo>
                <a:lnTo>
                  <a:pt x="10662708" y="655638"/>
                </a:lnTo>
                <a:lnTo>
                  <a:pt x="10690754" y="654050"/>
                </a:lnTo>
                <a:lnTo>
                  <a:pt x="10716683" y="653257"/>
                </a:lnTo>
                <a:lnTo>
                  <a:pt x="10741554" y="650875"/>
                </a:lnTo>
                <a:lnTo>
                  <a:pt x="10763250" y="650081"/>
                </a:lnTo>
                <a:lnTo>
                  <a:pt x="10782300" y="649288"/>
                </a:lnTo>
                <a:lnTo>
                  <a:pt x="10796058" y="648494"/>
                </a:lnTo>
                <a:lnTo>
                  <a:pt x="10813521" y="648494"/>
                </a:lnTo>
                <a:lnTo>
                  <a:pt x="10832571" y="648494"/>
                </a:lnTo>
                <a:lnTo>
                  <a:pt x="10853208" y="649288"/>
                </a:lnTo>
                <a:lnTo>
                  <a:pt x="10875962" y="650081"/>
                </a:lnTo>
                <a:lnTo>
                  <a:pt x="10900833" y="650081"/>
                </a:lnTo>
                <a:lnTo>
                  <a:pt x="10926233" y="650875"/>
                </a:lnTo>
                <a:lnTo>
                  <a:pt x="10953750" y="650875"/>
                </a:lnTo>
                <a:lnTo>
                  <a:pt x="10982325" y="650875"/>
                </a:lnTo>
                <a:lnTo>
                  <a:pt x="11010900" y="650081"/>
                </a:lnTo>
                <a:lnTo>
                  <a:pt x="11037888" y="650081"/>
                </a:lnTo>
                <a:lnTo>
                  <a:pt x="11064346" y="649288"/>
                </a:lnTo>
                <a:lnTo>
                  <a:pt x="11089746" y="650081"/>
                </a:lnTo>
                <a:lnTo>
                  <a:pt x="11114088" y="650875"/>
                </a:lnTo>
                <a:lnTo>
                  <a:pt x="11136842" y="654050"/>
                </a:lnTo>
                <a:lnTo>
                  <a:pt x="11147954" y="655638"/>
                </a:lnTo>
                <a:lnTo>
                  <a:pt x="11158538" y="657225"/>
                </a:lnTo>
                <a:lnTo>
                  <a:pt x="11169650" y="660400"/>
                </a:lnTo>
                <a:lnTo>
                  <a:pt x="11180233" y="664369"/>
                </a:lnTo>
                <a:lnTo>
                  <a:pt x="11194521" y="669925"/>
                </a:lnTo>
                <a:lnTo>
                  <a:pt x="11205104" y="674688"/>
                </a:lnTo>
                <a:lnTo>
                  <a:pt x="11211454" y="677863"/>
                </a:lnTo>
                <a:lnTo>
                  <a:pt x="11216217" y="681832"/>
                </a:lnTo>
                <a:lnTo>
                  <a:pt x="11220979" y="688975"/>
                </a:lnTo>
                <a:lnTo>
                  <a:pt x="11224154" y="696913"/>
                </a:lnTo>
                <a:lnTo>
                  <a:pt x="11228917" y="706438"/>
                </a:lnTo>
                <a:lnTo>
                  <a:pt x="11229975" y="709613"/>
                </a:lnTo>
                <a:lnTo>
                  <a:pt x="11228388" y="708819"/>
                </a:lnTo>
                <a:lnTo>
                  <a:pt x="11224683" y="707231"/>
                </a:lnTo>
                <a:lnTo>
                  <a:pt x="11222567" y="704057"/>
                </a:lnTo>
                <a:lnTo>
                  <a:pt x="11222038" y="704850"/>
                </a:lnTo>
                <a:lnTo>
                  <a:pt x="11224683" y="709613"/>
                </a:lnTo>
                <a:lnTo>
                  <a:pt x="11233679" y="720725"/>
                </a:lnTo>
                <a:lnTo>
                  <a:pt x="11242146" y="733425"/>
                </a:lnTo>
                <a:lnTo>
                  <a:pt x="11243204" y="733425"/>
                </a:lnTo>
                <a:lnTo>
                  <a:pt x="11242146" y="731838"/>
                </a:lnTo>
                <a:lnTo>
                  <a:pt x="11243204" y="731044"/>
                </a:lnTo>
                <a:lnTo>
                  <a:pt x="11245850" y="733425"/>
                </a:lnTo>
                <a:lnTo>
                  <a:pt x="11252729" y="737394"/>
                </a:lnTo>
                <a:lnTo>
                  <a:pt x="11296650" y="777875"/>
                </a:lnTo>
                <a:lnTo>
                  <a:pt x="11314642" y="791369"/>
                </a:lnTo>
                <a:lnTo>
                  <a:pt x="11329458" y="800894"/>
                </a:lnTo>
                <a:lnTo>
                  <a:pt x="11340571" y="807244"/>
                </a:lnTo>
                <a:lnTo>
                  <a:pt x="11349567" y="812007"/>
                </a:lnTo>
                <a:lnTo>
                  <a:pt x="11352742" y="815975"/>
                </a:lnTo>
                <a:lnTo>
                  <a:pt x="11356446" y="819944"/>
                </a:lnTo>
                <a:lnTo>
                  <a:pt x="11360150" y="823119"/>
                </a:lnTo>
                <a:lnTo>
                  <a:pt x="11363854" y="828675"/>
                </a:lnTo>
                <a:lnTo>
                  <a:pt x="11368617" y="836613"/>
                </a:lnTo>
                <a:lnTo>
                  <a:pt x="11371792" y="844550"/>
                </a:lnTo>
                <a:lnTo>
                  <a:pt x="11376554" y="854869"/>
                </a:lnTo>
                <a:lnTo>
                  <a:pt x="11381317" y="867569"/>
                </a:lnTo>
                <a:lnTo>
                  <a:pt x="11384492" y="876300"/>
                </a:lnTo>
                <a:lnTo>
                  <a:pt x="11387667" y="889000"/>
                </a:lnTo>
                <a:lnTo>
                  <a:pt x="11388725" y="895350"/>
                </a:lnTo>
                <a:lnTo>
                  <a:pt x="11389783" y="902494"/>
                </a:lnTo>
                <a:lnTo>
                  <a:pt x="11389783" y="910432"/>
                </a:lnTo>
                <a:lnTo>
                  <a:pt x="11389783" y="917575"/>
                </a:lnTo>
                <a:lnTo>
                  <a:pt x="11388725" y="925513"/>
                </a:lnTo>
                <a:lnTo>
                  <a:pt x="11387667" y="933450"/>
                </a:lnTo>
                <a:lnTo>
                  <a:pt x="11386079" y="939800"/>
                </a:lnTo>
                <a:lnTo>
                  <a:pt x="11382375" y="946944"/>
                </a:lnTo>
                <a:lnTo>
                  <a:pt x="11378671" y="954088"/>
                </a:lnTo>
                <a:lnTo>
                  <a:pt x="11373379" y="959644"/>
                </a:lnTo>
                <a:lnTo>
                  <a:pt x="11367558" y="964407"/>
                </a:lnTo>
                <a:lnTo>
                  <a:pt x="11360150" y="967582"/>
                </a:lnTo>
                <a:lnTo>
                  <a:pt x="11349567" y="971550"/>
                </a:lnTo>
                <a:lnTo>
                  <a:pt x="11333162" y="973932"/>
                </a:lnTo>
                <a:lnTo>
                  <a:pt x="11311996" y="976313"/>
                </a:lnTo>
                <a:lnTo>
                  <a:pt x="11286067" y="977900"/>
                </a:lnTo>
                <a:lnTo>
                  <a:pt x="11222038" y="981075"/>
                </a:lnTo>
                <a:lnTo>
                  <a:pt x="11142662" y="981869"/>
                </a:lnTo>
                <a:lnTo>
                  <a:pt x="11051117" y="981869"/>
                </a:lnTo>
                <a:lnTo>
                  <a:pt x="10950046" y="981075"/>
                </a:lnTo>
                <a:lnTo>
                  <a:pt x="10841567" y="978694"/>
                </a:lnTo>
                <a:lnTo>
                  <a:pt x="10729383" y="977107"/>
                </a:lnTo>
                <a:lnTo>
                  <a:pt x="10615083" y="975519"/>
                </a:lnTo>
                <a:lnTo>
                  <a:pt x="10501312" y="973138"/>
                </a:lnTo>
                <a:lnTo>
                  <a:pt x="10390717" y="971550"/>
                </a:lnTo>
                <a:lnTo>
                  <a:pt x="10286471" y="970757"/>
                </a:lnTo>
                <a:lnTo>
                  <a:pt x="10191221" y="970757"/>
                </a:lnTo>
                <a:lnTo>
                  <a:pt x="10106554" y="972344"/>
                </a:lnTo>
                <a:lnTo>
                  <a:pt x="10068983" y="973138"/>
                </a:lnTo>
                <a:lnTo>
                  <a:pt x="10036175" y="975519"/>
                </a:lnTo>
                <a:lnTo>
                  <a:pt x="10006012" y="977107"/>
                </a:lnTo>
                <a:lnTo>
                  <a:pt x="9981142" y="980282"/>
                </a:lnTo>
                <a:lnTo>
                  <a:pt x="9983258" y="987425"/>
                </a:lnTo>
                <a:lnTo>
                  <a:pt x="9986433" y="993775"/>
                </a:lnTo>
                <a:lnTo>
                  <a:pt x="9989079" y="1000125"/>
                </a:lnTo>
                <a:lnTo>
                  <a:pt x="9992254" y="1005682"/>
                </a:lnTo>
                <a:lnTo>
                  <a:pt x="9999662" y="1016794"/>
                </a:lnTo>
                <a:lnTo>
                  <a:pt x="10007600" y="1026319"/>
                </a:lnTo>
                <a:lnTo>
                  <a:pt x="10016067" y="1035050"/>
                </a:lnTo>
                <a:lnTo>
                  <a:pt x="10025062" y="1042194"/>
                </a:lnTo>
                <a:lnTo>
                  <a:pt x="10034588" y="1050132"/>
                </a:lnTo>
                <a:lnTo>
                  <a:pt x="10044112" y="1055688"/>
                </a:lnTo>
                <a:lnTo>
                  <a:pt x="10053108" y="1062038"/>
                </a:lnTo>
                <a:lnTo>
                  <a:pt x="10061046" y="1068388"/>
                </a:lnTo>
                <a:lnTo>
                  <a:pt x="10068983" y="1074738"/>
                </a:lnTo>
                <a:lnTo>
                  <a:pt x="10075862" y="1081088"/>
                </a:lnTo>
                <a:lnTo>
                  <a:pt x="10078508" y="1085057"/>
                </a:lnTo>
                <a:lnTo>
                  <a:pt x="10081683" y="1089025"/>
                </a:lnTo>
                <a:lnTo>
                  <a:pt x="10083800" y="1092994"/>
                </a:lnTo>
                <a:lnTo>
                  <a:pt x="10085388" y="1096963"/>
                </a:lnTo>
                <a:lnTo>
                  <a:pt x="10086446" y="1100932"/>
                </a:lnTo>
                <a:lnTo>
                  <a:pt x="10088033" y="1105694"/>
                </a:lnTo>
                <a:lnTo>
                  <a:pt x="10088033" y="1111250"/>
                </a:lnTo>
                <a:lnTo>
                  <a:pt x="10088033" y="1116013"/>
                </a:lnTo>
                <a:lnTo>
                  <a:pt x="10087504" y="1123157"/>
                </a:lnTo>
                <a:lnTo>
                  <a:pt x="10085388" y="1129507"/>
                </a:lnTo>
                <a:lnTo>
                  <a:pt x="10085388" y="1132682"/>
                </a:lnTo>
                <a:lnTo>
                  <a:pt x="10085388" y="1136650"/>
                </a:lnTo>
                <a:lnTo>
                  <a:pt x="10085917" y="1139825"/>
                </a:lnTo>
                <a:lnTo>
                  <a:pt x="10087504" y="1144588"/>
                </a:lnTo>
                <a:lnTo>
                  <a:pt x="10110788" y="1231107"/>
                </a:lnTo>
                <a:lnTo>
                  <a:pt x="10110258" y="1238250"/>
                </a:lnTo>
                <a:lnTo>
                  <a:pt x="10109200" y="1243807"/>
                </a:lnTo>
                <a:lnTo>
                  <a:pt x="10109200" y="1248569"/>
                </a:lnTo>
                <a:lnTo>
                  <a:pt x="10109200" y="1252538"/>
                </a:lnTo>
                <a:lnTo>
                  <a:pt x="10110258" y="1257300"/>
                </a:lnTo>
                <a:lnTo>
                  <a:pt x="10111846" y="1261269"/>
                </a:lnTo>
                <a:lnTo>
                  <a:pt x="10112904" y="1265238"/>
                </a:lnTo>
                <a:lnTo>
                  <a:pt x="10114492" y="1268413"/>
                </a:lnTo>
                <a:lnTo>
                  <a:pt x="10118725" y="1273969"/>
                </a:lnTo>
                <a:lnTo>
                  <a:pt x="10124017" y="1279525"/>
                </a:lnTo>
                <a:lnTo>
                  <a:pt x="10130896" y="1284288"/>
                </a:lnTo>
                <a:lnTo>
                  <a:pt x="10137246" y="1289050"/>
                </a:lnTo>
                <a:lnTo>
                  <a:pt x="10151004" y="1296988"/>
                </a:lnTo>
                <a:lnTo>
                  <a:pt x="10165821" y="1304925"/>
                </a:lnTo>
                <a:lnTo>
                  <a:pt x="10172171" y="1310482"/>
                </a:lnTo>
                <a:lnTo>
                  <a:pt x="10178521" y="1315244"/>
                </a:lnTo>
                <a:lnTo>
                  <a:pt x="10183283" y="1321594"/>
                </a:lnTo>
                <a:lnTo>
                  <a:pt x="10188046" y="1329532"/>
                </a:lnTo>
                <a:lnTo>
                  <a:pt x="10189104" y="1333500"/>
                </a:lnTo>
                <a:lnTo>
                  <a:pt x="10190162" y="1337469"/>
                </a:lnTo>
                <a:lnTo>
                  <a:pt x="10190162" y="1341438"/>
                </a:lnTo>
                <a:lnTo>
                  <a:pt x="10189104" y="1345407"/>
                </a:lnTo>
                <a:lnTo>
                  <a:pt x="10188046" y="1353344"/>
                </a:lnTo>
                <a:lnTo>
                  <a:pt x="10186458" y="1364457"/>
                </a:lnTo>
                <a:lnTo>
                  <a:pt x="10186458" y="1376363"/>
                </a:lnTo>
                <a:lnTo>
                  <a:pt x="10186458" y="1385888"/>
                </a:lnTo>
                <a:lnTo>
                  <a:pt x="10186458" y="1393825"/>
                </a:lnTo>
                <a:lnTo>
                  <a:pt x="10186988" y="1397794"/>
                </a:lnTo>
                <a:lnTo>
                  <a:pt x="10188046" y="1401763"/>
                </a:lnTo>
                <a:lnTo>
                  <a:pt x="10189104" y="1403350"/>
                </a:lnTo>
                <a:lnTo>
                  <a:pt x="10190692" y="1405732"/>
                </a:lnTo>
                <a:lnTo>
                  <a:pt x="10192808" y="1405732"/>
                </a:lnTo>
                <a:lnTo>
                  <a:pt x="10198100" y="1405732"/>
                </a:lnTo>
                <a:lnTo>
                  <a:pt x="10204450" y="1406525"/>
                </a:lnTo>
                <a:lnTo>
                  <a:pt x="10209212" y="1408113"/>
                </a:lnTo>
                <a:lnTo>
                  <a:pt x="10213446" y="1411288"/>
                </a:lnTo>
                <a:lnTo>
                  <a:pt x="10217679" y="1416050"/>
                </a:lnTo>
                <a:lnTo>
                  <a:pt x="10222971" y="1422400"/>
                </a:lnTo>
                <a:lnTo>
                  <a:pt x="10226146" y="1427163"/>
                </a:lnTo>
                <a:lnTo>
                  <a:pt x="10227204" y="1431132"/>
                </a:lnTo>
                <a:lnTo>
                  <a:pt x="10228792" y="1435100"/>
                </a:lnTo>
                <a:lnTo>
                  <a:pt x="10229321" y="1439069"/>
                </a:lnTo>
                <a:lnTo>
                  <a:pt x="10229321" y="1445419"/>
                </a:lnTo>
                <a:lnTo>
                  <a:pt x="10228262" y="1452563"/>
                </a:lnTo>
                <a:lnTo>
                  <a:pt x="10226675" y="1458913"/>
                </a:lnTo>
                <a:lnTo>
                  <a:pt x="10225088" y="1466057"/>
                </a:lnTo>
                <a:lnTo>
                  <a:pt x="10224558" y="1470025"/>
                </a:lnTo>
                <a:lnTo>
                  <a:pt x="10224558" y="1474788"/>
                </a:lnTo>
                <a:lnTo>
                  <a:pt x="10225088" y="1479550"/>
                </a:lnTo>
                <a:lnTo>
                  <a:pt x="10226146" y="1483519"/>
                </a:lnTo>
                <a:lnTo>
                  <a:pt x="10191221" y="1486694"/>
                </a:lnTo>
                <a:lnTo>
                  <a:pt x="10172171" y="1489075"/>
                </a:lnTo>
                <a:lnTo>
                  <a:pt x="10167408" y="1490663"/>
                </a:lnTo>
                <a:lnTo>
                  <a:pt x="10164233" y="1491457"/>
                </a:lnTo>
                <a:lnTo>
                  <a:pt x="10162117" y="1493044"/>
                </a:lnTo>
                <a:lnTo>
                  <a:pt x="10161588" y="1493838"/>
                </a:lnTo>
                <a:lnTo>
                  <a:pt x="10159471" y="1496219"/>
                </a:lnTo>
                <a:lnTo>
                  <a:pt x="10152592" y="1497807"/>
                </a:lnTo>
                <a:lnTo>
                  <a:pt x="10137246" y="1498600"/>
                </a:lnTo>
                <a:lnTo>
                  <a:pt x="10107083" y="1500982"/>
                </a:lnTo>
                <a:lnTo>
                  <a:pt x="10082742" y="1500982"/>
                </a:lnTo>
                <a:lnTo>
                  <a:pt x="10057871" y="1499394"/>
                </a:lnTo>
                <a:lnTo>
                  <a:pt x="10035117" y="1498600"/>
                </a:lnTo>
                <a:lnTo>
                  <a:pt x="10015008" y="1499394"/>
                </a:lnTo>
                <a:lnTo>
                  <a:pt x="10006012" y="1499394"/>
                </a:lnTo>
                <a:lnTo>
                  <a:pt x="9998075" y="1500982"/>
                </a:lnTo>
                <a:lnTo>
                  <a:pt x="9991196" y="1502569"/>
                </a:lnTo>
                <a:lnTo>
                  <a:pt x="9986433" y="1504157"/>
                </a:lnTo>
                <a:lnTo>
                  <a:pt x="9984317" y="1506538"/>
                </a:lnTo>
                <a:lnTo>
                  <a:pt x="9981671" y="1507332"/>
                </a:lnTo>
                <a:lnTo>
                  <a:pt x="9980612" y="1508919"/>
                </a:lnTo>
                <a:lnTo>
                  <a:pt x="9979554" y="1510507"/>
                </a:lnTo>
                <a:lnTo>
                  <a:pt x="9979025" y="1513682"/>
                </a:lnTo>
                <a:lnTo>
                  <a:pt x="9979025" y="1515269"/>
                </a:lnTo>
                <a:lnTo>
                  <a:pt x="9979554" y="1518444"/>
                </a:lnTo>
                <a:lnTo>
                  <a:pt x="9980612" y="1520826"/>
                </a:lnTo>
                <a:lnTo>
                  <a:pt x="9983258" y="1530351"/>
                </a:lnTo>
                <a:lnTo>
                  <a:pt x="9986962" y="1537494"/>
                </a:lnTo>
                <a:lnTo>
                  <a:pt x="9990667" y="1544638"/>
                </a:lnTo>
                <a:lnTo>
                  <a:pt x="9993842" y="1550194"/>
                </a:lnTo>
                <a:lnTo>
                  <a:pt x="9997017" y="1554957"/>
                </a:lnTo>
                <a:lnTo>
                  <a:pt x="10000721" y="1558926"/>
                </a:lnTo>
                <a:lnTo>
                  <a:pt x="10005483" y="1562894"/>
                </a:lnTo>
                <a:lnTo>
                  <a:pt x="10009717" y="1566863"/>
                </a:lnTo>
                <a:lnTo>
                  <a:pt x="10032471" y="1581944"/>
                </a:lnTo>
                <a:lnTo>
                  <a:pt x="10066867" y="1601788"/>
                </a:lnTo>
                <a:lnTo>
                  <a:pt x="10083800" y="1734344"/>
                </a:lnTo>
                <a:lnTo>
                  <a:pt x="10085917" y="1735138"/>
                </a:lnTo>
                <a:lnTo>
                  <a:pt x="10085917" y="1737519"/>
                </a:lnTo>
                <a:lnTo>
                  <a:pt x="10084329" y="1739107"/>
                </a:lnTo>
                <a:lnTo>
                  <a:pt x="10082212" y="1740694"/>
                </a:lnTo>
                <a:lnTo>
                  <a:pt x="10077979" y="1743869"/>
                </a:lnTo>
                <a:lnTo>
                  <a:pt x="10071100" y="1746251"/>
                </a:lnTo>
                <a:lnTo>
                  <a:pt x="10063162" y="1749426"/>
                </a:lnTo>
                <a:lnTo>
                  <a:pt x="10052050" y="1751807"/>
                </a:lnTo>
                <a:lnTo>
                  <a:pt x="10039879" y="1754982"/>
                </a:lnTo>
                <a:lnTo>
                  <a:pt x="10024533" y="1757363"/>
                </a:lnTo>
                <a:lnTo>
                  <a:pt x="10006012" y="1759744"/>
                </a:lnTo>
                <a:lnTo>
                  <a:pt x="9984846" y="1762126"/>
                </a:lnTo>
                <a:lnTo>
                  <a:pt x="9961562" y="1762919"/>
                </a:lnTo>
                <a:lnTo>
                  <a:pt x="9934046" y="1765301"/>
                </a:lnTo>
                <a:lnTo>
                  <a:pt x="9903354" y="1765301"/>
                </a:lnTo>
                <a:lnTo>
                  <a:pt x="9869488" y="1765301"/>
                </a:lnTo>
                <a:lnTo>
                  <a:pt x="9850438" y="1765301"/>
                </a:lnTo>
                <a:lnTo>
                  <a:pt x="9832975" y="1765301"/>
                </a:lnTo>
                <a:lnTo>
                  <a:pt x="9815512" y="1765301"/>
                </a:lnTo>
                <a:lnTo>
                  <a:pt x="9799638" y="1766094"/>
                </a:lnTo>
                <a:lnTo>
                  <a:pt x="9782704" y="1766094"/>
                </a:lnTo>
                <a:lnTo>
                  <a:pt x="9766300" y="1766888"/>
                </a:lnTo>
                <a:lnTo>
                  <a:pt x="9748838" y="1767682"/>
                </a:lnTo>
                <a:lnTo>
                  <a:pt x="9730317" y="1768476"/>
                </a:lnTo>
                <a:lnTo>
                  <a:pt x="9670521" y="1770857"/>
                </a:lnTo>
                <a:lnTo>
                  <a:pt x="9609667" y="1770857"/>
                </a:lnTo>
                <a:lnTo>
                  <a:pt x="9548283" y="1770857"/>
                </a:lnTo>
                <a:lnTo>
                  <a:pt x="9486371" y="1768476"/>
                </a:lnTo>
                <a:lnTo>
                  <a:pt x="9425517" y="1766888"/>
                </a:lnTo>
                <a:lnTo>
                  <a:pt x="9364662" y="1765301"/>
                </a:lnTo>
                <a:lnTo>
                  <a:pt x="9304867" y="1762919"/>
                </a:lnTo>
                <a:lnTo>
                  <a:pt x="9245600" y="1762126"/>
                </a:lnTo>
                <a:lnTo>
                  <a:pt x="9213321" y="1762126"/>
                </a:lnTo>
                <a:lnTo>
                  <a:pt x="9181571" y="1762919"/>
                </a:lnTo>
                <a:lnTo>
                  <a:pt x="9151408" y="1765301"/>
                </a:lnTo>
                <a:lnTo>
                  <a:pt x="9120717" y="1767682"/>
                </a:lnTo>
                <a:lnTo>
                  <a:pt x="9090025" y="1770857"/>
                </a:lnTo>
                <a:lnTo>
                  <a:pt x="9058275" y="1773238"/>
                </a:lnTo>
                <a:lnTo>
                  <a:pt x="9026525" y="1775619"/>
                </a:lnTo>
                <a:lnTo>
                  <a:pt x="8992658" y="1778001"/>
                </a:lnTo>
                <a:lnTo>
                  <a:pt x="9157229" y="1938338"/>
                </a:lnTo>
                <a:lnTo>
                  <a:pt x="9167812" y="1959769"/>
                </a:lnTo>
                <a:lnTo>
                  <a:pt x="9178925" y="1982788"/>
                </a:lnTo>
                <a:lnTo>
                  <a:pt x="9184746" y="1996282"/>
                </a:lnTo>
                <a:lnTo>
                  <a:pt x="9188979" y="2008982"/>
                </a:lnTo>
                <a:lnTo>
                  <a:pt x="9190567" y="2015332"/>
                </a:lnTo>
                <a:lnTo>
                  <a:pt x="9191625" y="2022476"/>
                </a:lnTo>
                <a:lnTo>
                  <a:pt x="9192683" y="2028032"/>
                </a:lnTo>
                <a:lnTo>
                  <a:pt x="9193212" y="2034382"/>
                </a:lnTo>
                <a:lnTo>
                  <a:pt x="9193212" y="2039938"/>
                </a:lnTo>
                <a:lnTo>
                  <a:pt x="9192683" y="2046288"/>
                </a:lnTo>
                <a:lnTo>
                  <a:pt x="9191096" y="2051844"/>
                </a:lnTo>
                <a:lnTo>
                  <a:pt x="9188979" y="2057401"/>
                </a:lnTo>
                <a:lnTo>
                  <a:pt x="9185804" y="2062957"/>
                </a:lnTo>
                <a:lnTo>
                  <a:pt x="9182100" y="2067719"/>
                </a:lnTo>
                <a:lnTo>
                  <a:pt x="9177867" y="2072482"/>
                </a:lnTo>
                <a:lnTo>
                  <a:pt x="9172575" y="2077244"/>
                </a:lnTo>
                <a:lnTo>
                  <a:pt x="9166225" y="2082007"/>
                </a:lnTo>
                <a:lnTo>
                  <a:pt x="9158817" y="2085182"/>
                </a:lnTo>
                <a:lnTo>
                  <a:pt x="9150350" y="2089151"/>
                </a:lnTo>
                <a:lnTo>
                  <a:pt x="9140825" y="2092326"/>
                </a:lnTo>
                <a:lnTo>
                  <a:pt x="9129712" y="2094707"/>
                </a:lnTo>
                <a:lnTo>
                  <a:pt x="9118071" y="2097088"/>
                </a:lnTo>
                <a:lnTo>
                  <a:pt x="9103783" y="2098676"/>
                </a:lnTo>
                <a:lnTo>
                  <a:pt x="9089496" y="2099469"/>
                </a:lnTo>
                <a:lnTo>
                  <a:pt x="9052454" y="2101057"/>
                </a:lnTo>
                <a:lnTo>
                  <a:pt x="9015412" y="2101057"/>
                </a:lnTo>
                <a:lnTo>
                  <a:pt x="8977842" y="2101057"/>
                </a:lnTo>
                <a:lnTo>
                  <a:pt x="8940271" y="2100263"/>
                </a:lnTo>
                <a:lnTo>
                  <a:pt x="8903229" y="2100263"/>
                </a:lnTo>
                <a:lnTo>
                  <a:pt x="8867246" y="2101057"/>
                </a:lnTo>
                <a:lnTo>
                  <a:pt x="8849783" y="2102644"/>
                </a:lnTo>
                <a:lnTo>
                  <a:pt x="8832321" y="2104232"/>
                </a:lnTo>
                <a:lnTo>
                  <a:pt x="8814329" y="2105026"/>
                </a:lnTo>
                <a:lnTo>
                  <a:pt x="8797396" y="2108201"/>
                </a:lnTo>
                <a:lnTo>
                  <a:pt x="8761942" y="2112963"/>
                </a:lnTo>
                <a:lnTo>
                  <a:pt x="8739717" y="2114551"/>
                </a:lnTo>
                <a:lnTo>
                  <a:pt x="8729662" y="2115344"/>
                </a:lnTo>
                <a:lnTo>
                  <a:pt x="8726488" y="2115344"/>
                </a:lnTo>
                <a:lnTo>
                  <a:pt x="8728604" y="2116138"/>
                </a:lnTo>
                <a:lnTo>
                  <a:pt x="8730721" y="2119313"/>
                </a:lnTo>
                <a:lnTo>
                  <a:pt x="8731779" y="2121694"/>
                </a:lnTo>
                <a:lnTo>
                  <a:pt x="8730721" y="2124869"/>
                </a:lnTo>
                <a:lnTo>
                  <a:pt x="8729662" y="2129632"/>
                </a:lnTo>
                <a:lnTo>
                  <a:pt x="8725958" y="2134394"/>
                </a:lnTo>
                <a:lnTo>
                  <a:pt x="8722254" y="2139951"/>
                </a:lnTo>
                <a:lnTo>
                  <a:pt x="8719079" y="2143126"/>
                </a:lnTo>
                <a:lnTo>
                  <a:pt x="8717492" y="2147094"/>
                </a:lnTo>
                <a:lnTo>
                  <a:pt x="8716433" y="2148682"/>
                </a:lnTo>
                <a:lnTo>
                  <a:pt x="8716433" y="2151857"/>
                </a:lnTo>
                <a:lnTo>
                  <a:pt x="8717492" y="2153444"/>
                </a:lnTo>
                <a:lnTo>
                  <a:pt x="8719079" y="2155032"/>
                </a:lnTo>
                <a:lnTo>
                  <a:pt x="8721196" y="2157413"/>
                </a:lnTo>
                <a:lnTo>
                  <a:pt x="8729662" y="2159794"/>
                </a:lnTo>
                <a:lnTo>
                  <a:pt x="8739717" y="2164557"/>
                </a:lnTo>
                <a:lnTo>
                  <a:pt x="8753475" y="2172494"/>
                </a:lnTo>
                <a:lnTo>
                  <a:pt x="8769879" y="2182813"/>
                </a:lnTo>
                <a:lnTo>
                  <a:pt x="8781521" y="2190751"/>
                </a:lnTo>
                <a:lnTo>
                  <a:pt x="8792633" y="2201069"/>
                </a:lnTo>
                <a:lnTo>
                  <a:pt x="8803746" y="2212976"/>
                </a:lnTo>
                <a:lnTo>
                  <a:pt x="8813271" y="2227263"/>
                </a:lnTo>
                <a:lnTo>
                  <a:pt x="8817504" y="2233613"/>
                </a:lnTo>
                <a:lnTo>
                  <a:pt x="8821738" y="2240757"/>
                </a:lnTo>
                <a:lnTo>
                  <a:pt x="8825442" y="2248694"/>
                </a:lnTo>
                <a:lnTo>
                  <a:pt x="8828617" y="2255838"/>
                </a:lnTo>
                <a:lnTo>
                  <a:pt x="8831262" y="2263776"/>
                </a:lnTo>
                <a:lnTo>
                  <a:pt x="8833379" y="2270919"/>
                </a:lnTo>
                <a:lnTo>
                  <a:pt x="8834438" y="2278063"/>
                </a:lnTo>
                <a:lnTo>
                  <a:pt x="8835496" y="2285207"/>
                </a:lnTo>
                <a:lnTo>
                  <a:pt x="8835496" y="2292351"/>
                </a:lnTo>
                <a:lnTo>
                  <a:pt x="8834967" y="2299494"/>
                </a:lnTo>
                <a:lnTo>
                  <a:pt x="8833379" y="2306638"/>
                </a:lnTo>
                <a:lnTo>
                  <a:pt x="8831262" y="2312988"/>
                </a:lnTo>
                <a:lnTo>
                  <a:pt x="8827558" y="2319338"/>
                </a:lnTo>
                <a:lnTo>
                  <a:pt x="8823854" y="2324894"/>
                </a:lnTo>
                <a:lnTo>
                  <a:pt x="8819092" y="2330451"/>
                </a:lnTo>
                <a:lnTo>
                  <a:pt x="8812212" y="2336007"/>
                </a:lnTo>
                <a:lnTo>
                  <a:pt x="8805862" y="2340769"/>
                </a:lnTo>
                <a:lnTo>
                  <a:pt x="8796867" y="2345532"/>
                </a:lnTo>
                <a:lnTo>
                  <a:pt x="8787342" y="2349501"/>
                </a:lnTo>
                <a:lnTo>
                  <a:pt x="8777288" y="2352676"/>
                </a:lnTo>
                <a:lnTo>
                  <a:pt x="8764588" y="2355057"/>
                </a:lnTo>
                <a:lnTo>
                  <a:pt x="8751358" y="2357438"/>
                </a:lnTo>
                <a:lnTo>
                  <a:pt x="8737600" y="2358232"/>
                </a:lnTo>
                <a:lnTo>
                  <a:pt x="8721196" y="2359026"/>
                </a:lnTo>
                <a:lnTo>
                  <a:pt x="8032750" y="2360613"/>
                </a:lnTo>
                <a:lnTo>
                  <a:pt x="7984067" y="2360613"/>
                </a:lnTo>
                <a:lnTo>
                  <a:pt x="7943321" y="2360613"/>
                </a:lnTo>
                <a:lnTo>
                  <a:pt x="7906279" y="2359026"/>
                </a:lnTo>
                <a:lnTo>
                  <a:pt x="7874000" y="2359026"/>
                </a:lnTo>
                <a:lnTo>
                  <a:pt x="7842779" y="2359026"/>
                </a:lnTo>
                <a:lnTo>
                  <a:pt x="7811029" y="2359026"/>
                </a:lnTo>
                <a:lnTo>
                  <a:pt x="7776634" y="2360613"/>
                </a:lnTo>
                <a:lnTo>
                  <a:pt x="7738534" y="2361407"/>
                </a:lnTo>
                <a:lnTo>
                  <a:pt x="7722659" y="2362201"/>
                </a:lnTo>
                <a:lnTo>
                  <a:pt x="7708900" y="2362201"/>
                </a:lnTo>
                <a:lnTo>
                  <a:pt x="7696200" y="2362201"/>
                </a:lnTo>
                <a:lnTo>
                  <a:pt x="7684559" y="2362201"/>
                </a:lnTo>
                <a:lnTo>
                  <a:pt x="7671859" y="2362201"/>
                </a:lnTo>
                <a:lnTo>
                  <a:pt x="7658100" y="2362201"/>
                </a:lnTo>
                <a:lnTo>
                  <a:pt x="7641696" y="2362201"/>
                </a:lnTo>
                <a:lnTo>
                  <a:pt x="7622646" y="2362201"/>
                </a:lnTo>
                <a:lnTo>
                  <a:pt x="7208309" y="2368551"/>
                </a:lnTo>
                <a:lnTo>
                  <a:pt x="7172325" y="2371726"/>
                </a:lnTo>
                <a:lnTo>
                  <a:pt x="7133167" y="2374107"/>
                </a:lnTo>
                <a:lnTo>
                  <a:pt x="7091363" y="2376488"/>
                </a:lnTo>
                <a:lnTo>
                  <a:pt x="7047442" y="2378076"/>
                </a:lnTo>
                <a:lnTo>
                  <a:pt x="7001934" y="2379663"/>
                </a:lnTo>
                <a:lnTo>
                  <a:pt x="6955367" y="2382044"/>
                </a:lnTo>
                <a:lnTo>
                  <a:pt x="6907742" y="2382838"/>
                </a:lnTo>
                <a:lnTo>
                  <a:pt x="6858529" y="2383632"/>
                </a:lnTo>
                <a:lnTo>
                  <a:pt x="6809317" y="2384426"/>
                </a:lnTo>
                <a:lnTo>
                  <a:pt x="6761163" y="2385219"/>
                </a:lnTo>
                <a:lnTo>
                  <a:pt x="6712479" y="2385219"/>
                </a:lnTo>
                <a:lnTo>
                  <a:pt x="6664854" y="2386807"/>
                </a:lnTo>
                <a:lnTo>
                  <a:pt x="6619875" y="2387601"/>
                </a:lnTo>
                <a:lnTo>
                  <a:pt x="6574896" y="2388394"/>
                </a:lnTo>
                <a:lnTo>
                  <a:pt x="6532563" y="2389188"/>
                </a:lnTo>
                <a:lnTo>
                  <a:pt x="6492875" y="2389982"/>
                </a:lnTo>
                <a:lnTo>
                  <a:pt x="6165321" y="2393951"/>
                </a:lnTo>
                <a:lnTo>
                  <a:pt x="6108700" y="2395538"/>
                </a:lnTo>
                <a:lnTo>
                  <a:pt x="6051021" y="2397919"/>
                </a:lnTo>
                <a:lnTo>
                  <a:pt x="5991754" y="2399507"/>
                </a:lnTo>
                <a:lnTo>
                  <a:pt x="5931429" y="2400301"/>
                </a:lnTo>
                <a:lnTo>
                  <a:pt x="5872692" y="2401094"/>
                </a:lnTo>
                <a:lnTo>
                  <a:pt x="5815013" y="2401094"/>
                </a:lnTo>
                <a:lnTo>
                  <a:pt x="5759450" y="2400301"/>
                </a:lnTo>
                <a:lnTo>
                  <a:pt x="5706534" y="2398713"/>
                </a:lnTo>
                <a:lnTo>
                  <a:pt x="5680076" y="2396332"/>
                </a:lnTo>
                <a:lnTo>
                  <a:pt x="5655734" y="2396332"/>
                </a:lnTo>
                <a:lnTo>
                  <a:pt x="5632451" y="2396332"/>
                </a:lnTo>
                <a:lnTo>
                  <a:pt x="5609696" y="2396332"/>
                </a:lnTo>
                <a:lnTo>
                  <a:pt x="5566834" y="2398713"/>
                </a:lnTo>
                <a:lnTo>
                  <a:pt x="5523442" y="2401094"/>
                </a:lnTo>
                <a:lnTo>
                  <a:pt x="5478463" y="2403476"/>
                </a:lnTo>
                <a:lnTo>
                  <a:pt x="5430838" y="2405063"/>
                </a:lnTo>
                <a:lnTo>
                  <a:pt x="5405438" y="2405063"/>
                </a:lnTo>
                <a:lnTo>
                  <a:pt x="5377392" y="2405063"/>
                </a:lnTo>
                <a:lnTo>
                  <a:pt x="5348817" y="2404269"/>
                </a:lnTo>
                <a:lnTo>
                  <a:pt x="5317596" y="2401888"/>
                </a:lnTo>
                <a:lnTo>
                  <a:pt x="5299604" y="2400301"/>
                </a:lnTo>
                <a:lnTo>
                  <a:pt x="5284259" y="2397919"/>
                </a:lnTo>
                <a:lnTo>
                  <a:pt x="5271029" y="2394744"/>
                </a:lnTo>
                <a:lnTo>
                  <a:pt x="5258859" y="2392363"/>
                </a:lnTo>
                <a:lnTo>
                  <a:pt x="5247217" y="2388394"/>
                </a:lnTo>
                <a:lnTo>
                  <a:pt x="5234517" y="2385219"/>
                </a:lnTo>
                <a:lnTo>
                  <a:pt x="5220759" y="2382838"/>
                </a:lnTo>
                <a:lnTo>
                  <a:pt x="5205413" y="2380457"/>
                </a:lnTo>
                <a:lnTo>
                  <a:pt x="5188479" y="2379663"/>
                </a:lnTo>
                <a:lnTo>
                  <a:pt x="5161492" y="2380457"/>
                </a:lnTo>
                <a:lnTo>
                  <a:pt x="5126038" y="2382838"/>
                </a:lnTo>
                <a:lnTo>
                  <a:pt x="5085821" y="2384426"/>
                </a:lnTo>
                <a:lnTo>
                  <a:pt x="5041900" y="2385219"/>
                </a:lnTo>
                <a:lnTo>
                  <a:pt x="4998509" y="2387601"/>
                </a:lnTo>
                <a:lnTo>
                  <a:pt x="4957763" y="2387601"/>
                </a:lnTo>
                <a:lnTo>
                  <a:pt x="4922309" y="2386807"/>
                </a:lnTo>
                <a:lnTo>
                  <a:pt x="4887384" y="2385219"/>
                </a:lnTo>
                <a:lnTo>
                  <a:pt x="4855104" y="2384426"/>
                </a:lnTo>
                <a:lnTo>
                  <a:pt x="4824942" y="2384426"/>
                </a:lnTo>
                <a:lnTo>
                  <a:pt x="4797954" y="2384426"/>
                </a:lnTo>
                <a:lnTo>
                  <a:pt x="4772025" y="2385219"/>
                </a:lnTo>
                <a:lnTo>
                  <a:pt x="4748742" y="2385219"/>
                </a:lnTo>
                <a:lnTo>
                  <a:pt x="4725459" y="2385219"/>
                </a:lnTo>
                <a:lnTo>
                  <a:pt x="4702704" y="2385219"/>
                </a:lnTo>
                <a:lnTo>
                  <a:pt x="4655079" y="2383632"/>
                </a:lnTo>
                <a:lnTo>
                  <a:pt x="4616979" y="2382044"/>
                </a:lnTo>
                <a:lnTo>
                  <a:pt x="4585229" y="2378869"/>
                </a:lnTo>
                <a:lnTo>
                  <a:pt x="4558242" y="2374901"/>
                </a:lnTo>
                <a:lnTo>
                  <a:pt x="4533371" y="2372519"/>
                </a:lnTo>
                <a:lnTo>
                  <a:pt x="4506384" y="2370932"/>
                </a:lnTo>
                <a:lnTo>
                  <a:pt x="4474634" y="2368551"/>
                </a:lnTo>
                <a:lnTo>
                  <a:pt x="4436534" y="2367757"/>
                </a:lnTo>
                <a:lnTo>
                  <a:pt x="4442884" y="2356644"/>
                </a:lnTo>
                <a:lnTo>
                  <a:pt x="4446588" y="2351088"/>
                </a:lnTo>
                <a:lnTo>
                  <a:pt x="4449234" y="2347913"/>
                </a:lnTo>
                <a:lnTo>
                  <a:pt x="4451879" y="2347913"/>
                </a:lnTo>
                <a:lnTo>
                  <a:pt x="4455584" y="2347913"/>
                </a:lnTo>
                <a:lnTo>
                  <a:pt x="4462992" y="2346326"/>
                </a:lnTo>
                <a:lnTo>
                  <a:pt x="4475163" y="2339976"/>
                </a:lnTo>
                <a:lnTo>
                  <a:pt x="4495271" y="2328863"/>
                </a:lnTo>
                <a:lnTo>
                  <a:pt x="4441826" y="2328863"/>
                </a:lnTo>
                <a:lnTo>
                  <a:pt x="4382559" y="2329657"/>
                </a:lnTo>
                <a:lnTo>
                  <a:pt x="4316942" y="2329657"/>
                </a:lnTo>
                <a:lnTo>
                  <a:pt x="4249209" y="2330451"/>
                </a:lnTo>
                <a:lnTo>
                  <a:pt x="4177242" y="2329657"/>
                </a:lnTo>
                <a:lnTo>
                  <a:pt x="4103688" y="2329657"/>
                </a:lnTo>
                <a:lnTo>
                  <a:pt x="4029075" y="2328863"/>
                </a:lnTo>
                <a:lnTo>
                  <a:pt x="3956050" y="2325688"/>
                </a:lnTo>
                <a:lnTo>
                  <a:pt x="3883026" y="2323307"/>
                </a:lnTo>
                <a:lnTo>
                  <a:pt x="3813705" y="2319338"/>
                </a:lnTo>
                <a:lnTo>
                  <a:pt x="3747559" y="2313782"/>
                </a:lnTo>
                <a:lnTo>
                  <a:pt x="3686175" y="2307432"/>
                </a:lnTo>
                <a:lnTo>
                  <a:pt x="3657600" y="2302669"/>
                </a:lnTo>
                <a:lnTo>
                  <a:pt x="3631142" y="2298701"/>
                </a:lnTo>
                <a:lnTo>
                  <a:pt x="3606271" y="2293938"/>
                </a:lnTo>
                <a:lnTo>
                  <a:pt x="3582988" y="2288382"/>
                </a:lnTo>
                <a:lnTo>
                  <a:pt x="3561292" y="2282826"/>
                </a:lnTo>
                <a:lnTo>
                  <a:pt x="3543300" y="2276476"/>
                </a:lnTo>
                <a:lnTo>
                  <a:pt x="3526367" y="2270126"/>
                </a:lnTo>
                <a:lnTo>
                  <a:pt x="3512608" y="2262188"/>
                </a:lnTo>
                <a:lnTo>
                  <a:pt x="3495675" y="2253457"/>
                </a:lnTo>
                <a:lnTo>
                  <a:pt x="3480330" y="2243138"/>
                </a:lnTo>
                <a:lnTo>
                  <a:pt x="3466042" y="2233613"/>
                </a:lnTo>
                <a:lnTo>
                  <a:pt x="3453871" y="2224088"/>
                </a:lnTo>
                <a:lnTo>
                  <a:pt x="3442230" y="2215357"/>
                </a:lnTo>
                <a:lnTo>
                  <a:pt x="3431646" y="2205832"/>
                </a:lnTo>
                <a:lnTo>
                  <a:pt x="3422121" y="2196307"/>
                </a:lnTo>
                <a:lnTo>
                  <a:pt x="3413654" y="2186782"/>
                </a:lnTo>
                <a:lnTo>
                  <a:pt x="3406246" y="2178844"/>
                </a:lnTo>
                <a:lnTo>
                  <a:pt x="3398838" y="2170113"/>
                </a:lnTo>
                <a:lnTo>
                  <a:pt x="3393017" y="2161382"/>
                </a:lnTo>
                <a:lnTo>
                  <a:pt x="3387725" y="2152651"/>
                </a:lnTo>
                <a:lnTo>
                  <a:pt x="3383492" y="2143919"/>
                </a:lnTo>
                <a:lnTo>
                  <a:pt x="3379259" y="2135982"/>
                </a:lnTo>
                <a:lnTo>
                  <a:pt x="3375555" y="2128044"/>
                </a:lnTo>
                <a:lnTo>
                  <a:pt x="3372380" y="2120107"/>
                </a:lnTo>
                <a:lnTo>
                  <a:pt x="3368146" y="2104232"/>
                </a:lnTo>
                <a:lnTo>
                  <a:pt x="3364442" y="2088357"/>
                </a:lnTo>
                <a:lnTo>
                  <a:pt x="3362325" y="2073276"/>
                </a:lnTo>
                <a:lnTo>
                  <a:pt x="3359150" y="2059782"/>
                </a:lnTo>
                <a:lnTo>
                  <a:pt x="3357033" y="2044701"/>
                </a:lnTo>
                <a:lnTo>
                  <a:pt x="3353330" y="2030413"/>
                </a:lnTo>
                <a:lnTo>
                  <a:pt x="3351213" y="2024063"/>
                </a:lnTo>
                <a:lnTo>
                  <a:pt x="3349096" y="2016919"/>
                </a:lnTo>
                <a:lnTo>
                  <a:pt x="3345921" y="2009776"/>
                </a:lnTo>
                <a:lnTo>
                  <a:pt x="3343275" y="2003426"/>
                </a:lnTo>
                <a:lnTo>
                  <a:pt x="3284009" y="2004219"/>
                </a:lnTo>
                <a:lnTo>
                  <a:pt x="3218392" y="2006601"/>
                </a:lnTo>
                <a:lnTo>
                  <a:pt x="3149071" y="2007394"/>
                </a:lnTo>
                <a:lnTo>
                  <a:pt x="3076575" y="2008982"/>
                </a:lnTo>
                <a:lnTo>
                  <a:pt x="3000905" y="2011363"/>
                </a:lnTo>
                <a:lnTo>
                  <a:pt x="2924175" y="2012157"/>
                </a:lnTo>
                <a:lnTo>
                  <a:pt x="2846388" y="2013744"/>
                </a:lnTo>
                <a:lnTo>
                  <a:pt x="2768600" y="2014538"/>
                </a:lnTo>
                <a:lnTo>
                  <a:pt x="2692400" y="2015332"/>
                </a:lnTo>
                <a:lnTo>
                  <a:pt x="2619375" y="2016919"/>
                </a:lnTo>
                <a:lnTo>
                  <a:pt x="2548996" y="2016919"/>
                </a:lnTo>
                <a:lnTo>
                  <a:pt x="2482850" y="2016919"/>
                </a:lnTo>
                <a:lnTo>
                  <a:pt x="2421996" y="2015332"/>
                </a:lnTo>
                <a:lnTo>
                  <a:pt x="2368021" y="2014538"/>
                </a:lnTo>
                <a:lnTo>
                  <a:pt x="2320396" y="2012157"/>
                </a:lnTo>
                <a:lnTo>
                  <a:pt x="2281238" y="2008982"/>
                </a:lnTo>
                <a:lnTo>
                  <a:pt x="2246842" y="2004219"/>
                </a:lnTo>
                <a:lnTo>
                  <a:pt x="2215092" y="1998663"/>
                </a:lnTo>
                <a:lnTo>
                  <a:pt x="2185988" y="1992313"/>
                </a:lnTo>
                <a:lnTo>
                  <a:pt x="2159530" y="1985169"/>
                </a:lnTo>
                <a:lnTo>
                  <a:pt x="2147359" y="1980407"/>
                </a:lnTo>
                <a:lnTo>
                  <a:pt x="2136246" y="1975644"/>
                </a:lnTo>
                <a:lnTo>
                  <a:pt x="2125134" y="1970882"/>
                </a:lnTo>
                <a:lnTo>
                  <a:pt x="2115080" y="1966119"/>
                </a:lnTo>
                <a:lnTo>
                  <a:pt x="2104496" y="1960563"/>
                </a:lnTo>
                <a:lnTo>
                  <a:pt x="2096029" y="1955007"/>
                </a:lnTo>
                <a:lnTo>
                  <a:pt x="2087034" y="1949451"/>
                </a:lnTo>
                <a:lnTo>
                  <a:pt x="2079096" y="1943894"/>
                </a:lnTo>
                <a:lnTo>
                  <a:pt x="2071688" y="1937544"/>
                </a:lnTo>
                <a:lnTo>
                  <a:pt x="2064279" y="1931194"/>
                </a:lnTo>
                <a:lnTo>
                  <a:pt x="2057929" y="1925638"/>
                </a:lnTo>
                <a:lnTo>
                  <a:pt x="2052109" y="1917701"/>
                </a:lnTo>
                <a:lnTo>
                  <a:pt x="2046288" y="1911351"/>
                </a:lnTo>
                <a:lnTo>
                  <a:pt x="2041525" y="1905001"/>
                </a:lnTo>
                <a:lnTo>
                  <a:pt x="2036763" y="1897063"/>
                </a:lnTo>
                <a:lnTo>
                  <a:pt x="2033059" y="1889919"/>
                </a:lnTo>
                <a:lnTo>
                  <a:pt x="2029354" y="1883569"/>
                </a:lnTo>
                <a:lnTo>
                  <a:pt x="2026179" y="1874838"/>
                </a:lnTo>
                <a:lnTo>
                  <a:pt x="2023534" y="1867694"/>
                </a:lnTo>
                <a:lnTo>
                  <a:pt x="2020888" y="1859757"/>
                </a:lnTo>
                <a:lnTo>
                  <a:pt x="2018771" y="1852613"/>
                </a:lnTo>
                <a:lnTo>
                  <a:pt x="2017713" y="1844676"/>
                </a:lnTo>
                <a:lnTo>
                  <a:pt x="2016125" y="1836738"/>
                </a:lnTo>
                <a:lnTo>
                  <a:pt x="2015067" y="1828801"/>
                </a:lnTo>
                <a:lnTo>
                  <a:pt x="2014009" y="1815307"/>
                </a:lnTo>
                <a:lnTo>
                  <a:pt x="2010304" y="1809751"/>
                </a:lnTo>
                <a:lnTo>
                  <a:pt x="2006600" y="1804988"/>
                </a:lnTo>
                <a:lnTo>
                  <a:pt x="2001309" y="1799432"/>
                </a:lnTo>
                <a:lnTo>
                  <a:pt x="1995488" y="1794669"/>
                </a:lnTo>
                <a:lnTo>
                  <a:pt x="1983846" y="1785938"/>
                </a:lnTo>
                <a:lnTo>
                  <a:pt x="1972734" y="1775619"/>
                </a:lnTo>
                <a:lnTo>
                  <a:pt x="1968500" y="1770063"/>
                </a:lnTo>
                <a:lnTo>
                  <a:pt x="1963738" y="1762919"/>
                </a:lnTo>
                <a:lnTo>
                  <a:pt x="1960563" y="1756569"/>
                </a:lnTo>
                <a:lnTo>
                  <a:pt x="1957917" y="1749426"/>
                </a:lnTo>
                <a:lnTo>
                  <a:pt x="1957917" y="1745457"/>
                </a:lnTo>
                <a:lnTo>
                  <a:pt x="1957388" y="1741488"/>
                </a:lnTo>
                <a:lnTo>
                  <a:pt x="1957388" y="1737519"/>
                </a:lnTo>
                <a:lnTo>
                  <a:pt x="1957917" y="1732757"/>
                </a:lnTo>
                <a:lnTo>
                  <a:pt x="1960563" y="1723232"/>
                </a:lnTo>
                <a:lnTo>
                  <a:pt x="1963738" y="1712119"/>
                </a:lnTo>
                <a:lnTo>
                  <a:pt x="1934634" y="1712119"/>
                </a:lnTo>
                <a:lnTo>
                  <a:pt x="1911350" y="1712119"/>
                </a:lnTo>
                <a:lnTo>
                  <a:pt x="1891242" y="1711326"/>
                </a:lnTo>
                <a:lnTo>
                  <a:pt x="1875367" y="1710532"/>
                </a:lnTo>
                <a:lnTo>
                  <a:pt x="1858963" y="1708944"/>
                </a:lnTo>
                <a:lnTo>
                  <a:pt x="1843088" y="1708944"/>
                </a:lnTo>
                <a:lnTo>
                  <a:pt x="1824567" y="1708944"/>
                </a:lnTo>
                <a:lnTo>
                  <a:pt x="1802871" y="1708944"/>
                </a:lnTo>
                <a:lnTo>
                  <a:pt x="1335088" y="1712119"/>
                </a:lnTo>
                <a:lnTo>
                  <a:pt x="1286934" y="1711326"/>
                </a:lnTo>
                <a:lnTo>
                  <a:pt x="1251479" y="1708944"/>
                </a:lnTo>
                <a:lnTo>
                  <a:pt x="1238250" y="1708151"/>
                </a:lnTo>
                <a:lnTo>
                  <a:pt x="1227667" y="1706563"/>
                </a:lnTo>
                <a:lnTo>
                  <a:pt x="1218142" y="1704976"/>
                </a:lnTo>
                <a:lnTo>
                  <a:pt x="1210734" y="1702594"/>
                </a:lnTo>
                <a:lnTo>
                  <a:pt x="1203854" y="1700213"/>
                </a:lnTo>
                <a:lnTo>
                  <a:pt x="1198034" y="1697038"/>
                </a:lnTo>
                <a:lnTo>
                  <a:pt x="1192213" y="1693069"/>
                </a:lnTo>
                <a:lnTo>
                  <a:pt x="1186921" y="1689894"/>
                </a:lnTo>
                <a:lnTo>
                  <a:pt x="1174221" y="1680369"/>
                </a:lnTo>
                <a:lnTo>
                  <a:pt x="1156229" y="1669257"/>
                </a:lnTo>
                <a:lnTo>
                  <a:pt x="1123421" y="1649413"/>
                </a:lnTo>
                <a:lnTo>
                  <a:pt x="1103842" y="1637507"/>
                </a:lnTo>
                <a:lnTo>
                  <a:pt x="1098550" y="1633538"/>
                </a:lnTo>
                <a:lnTo>
                  <a:pt x="1094846" y="1631157"/>
                </a:lnTo>
                <a:lnTo>
                  <a:pt x="1092729" y="1628776"/>
                </a:lnTo>
                <a:lnTo>
                  <a:pt x="1091671" y="1627188"/>
                </a:lnTo>
                <a:lnTo>
                  <a:pt x="1091142" y="1623219"/>
                </a:lnTo>
                <a:lnTo>
                  <a:pt x="1089025" y="1616869"/>
                </a:lnTo>
                <a:lnTo>
                  <a:pt x="1085850" y="1611313"/>
                </a:lnTo>
                <a:lnTo>
                  <a:pt x="1081088" y="1604963"/>
                </a:lnTo>
                <a:lnTo>
                  <a:pt x="1073679" y="1596232"/>
                </a:lnTo>
                <a:lnTo>
                  <a:pt x="1063096" y="1585119"/>
                </a:lnTo>
                <a:lnTo>
                  <a:pt x="1055159" y="1576388"/>
                </a:lnTo>
                <a:lnTo>
                  <a:pt x="1047750" y="1567657"/>
                </a:lnTo>
                <a:lnTo>
                  <a:pt x="1042988" y="1560513"/>
                </a:lnTo>
                <a:lnTo>
                  <a:pt x="1037696" y="1553369"/>
                </a:lnTo>
                <a:lnTo>
                  <a:pt x="1031875" y="1540669"/>
                </a:lnTo>
                <a:lnTo>
                  <a:pt x="1026584" y="1529557"/>
                </a:lnTo>
                <a:lnTo>
                  <a:pt x="1022350" y="1517651"/>
                </a:lnTo>
                <a:lnTo>
                  <a:pt x="1016529" y="1504157"/>
                </a:lnTo>
                <a:lnTo>
                  <a:pt x="1012296" y="1497013"/>
                </a:lnTo>
                <a:lnTo>
                  <a:pt x="1007533" y="1488282"/>
                </a:lnTo>
                <a:lnTo>
                  <a:pt x="1001183" y="1479550"/>
                </a:lnTo>
                <a:lnTo>
                  <a:pt x="993246" y="1469232"/>
                </a:lnTo>
                <a:lnTo>
                  <a:pt x="984779" y="1458119"/>
                </a:lnTo>
                <a:lnTo>
                  <a:pt x="980017" y="1450182"/>
                </a:lnTo>
                <a:lnTo>
                  <a:pt x="977371" y="1446213"/>
                </a:lnTo>
                <a:lnTo>
                  <a:pt x="975255" y="1444625"/>
                </a:lnTo>
                <a:lnTo>
                  <a:pt x="971550" y="1443832"/>
                </a:lnTo>
                <a:lnTo>
                  <a:pt x="965200" y="1443038"/>
                </a:lnTo>
                <a:lnTo>
                  <a:pt x="954617" y="1440657"/>
                </a:lnTo>
                <a:lnTo>
                  <a:pt x="937154" y="1436688"/>
                </a:lnTo>
                <a:lnTo>
                  <a:pt x="923925" y="1433513"/>
                </a:lnTo>
                <a:lnTo>
                  <a:pt x="895350" y="1427163"/>
                </a:lnTo>
                <a:lnTo>
                  <a:pt x="866775" y="1420813"/>
                </a:lnTo>
                <a:lnTo>
                  <a:pt x="853017" y="1417638"/>
                </a:lnTo>
                <a:lnTo>
                  <a:pt x="832380" y="1412875"/>
                </a:lnTo>
                <a:lnTo>
                  <a:pt x="811213" y="1408113"/>
                </a:lnTo>
                <a:lnTo>
                  <a:pt x="801688" y="1405732"/>
                </a:lnTo>
                <a:lnTo>
                  <a:pt x="792163" y="1402557"/>
                </a:lnTo>
                <a:lnTo>
                  <a:pt x="783167" y="1399382"/>
                </a:lnTo>
                <a:lnTo>
                  <a:pt x="775230" y="1395413"/>
                </a:lnTo>
                <a:lnTo>
                  <a:pt x="758296" y="1385888"/>
                </a:lnTo>
                <a:lnTo>
                  <a:pt x="749830" y="1381125"/>
                </a:lnTo>
                <a:lnTo>
                  <a:pt x="748242" y="1380332"/>
                </a:lnTo>
                <a:lnTo>
                  <a:pt x="747713" y="1379538"/>
                </a:lnTo>
                <a:lnTo>
                  <a:pt x="747713" y="1378744"/>
                </a:lnTo>
                <a:lnTo>
                  <a:pt x="748242" y="1378744"/>
                </a:lnTo>
                <a:lnTo>
                  <a:pt x="749830" y="1378744"/>
                </a:lnTo>
                <a:lnTo>
                  <a:pt x="750888" y="1378744"/>
                </a:lnTo>
                <a:lnTo>
                  <a:pt x="751946" y="1377950"/>
                </a:lnTo>
                <a:lnTo>
                  <a:pt x="752475" y="1375569"/>
                </a:lnTo>
                <a:lnTo>
                  <a:pt x="751946" y="1373982"/>
                </a:lnTo>
                <a:lnTo>
                  <a:pt x="750358" y="1370807"/>
                </a:lnTo>
                <a:lnTo>
                  <a:pt x="746654" y="1367632"/>
                </a:lnTo>
                <a:lnTo>
                  <a:pt x="741363" y="1362075"/>
                </a:lnTo>
                <a:lnTo>
                  <a:pt x="737130" y="1357313"/>
                </a:lnTo>
                <a:lnTo>
                  <a:pt x="731838" y="1353344"/>
                </a:lnTo>
                <a:lnTo>
                  <a:pt x="725488" y="1348582"/>
                </a:lnTo>
                <a:lnTo>
                  <a:pt x="719138" y="1345407"/>
                </a:lnTo>
                <a:lnTo>
                  <a:pt x="704321" y="1337469"/>
                </a:lnTo>
                <a:lnTo>
                  <a:pt x="688975" y="1330325"/>
                </a:lnTo>
                <a:lnTo>
                  <a:pt x="673629" y="1321594"/>
                </a:lnTo>
                <a:lnTo>
                  <a:pt x="658284" y="1313657"/>
                </a:lnTo>
                <a:lnTo>
                  <a:pt x="650875" y="1308894"/>
                </a:lnTo>
                <a:lnTo>
                  <a:pt x="643996" y="1304925"/>
                </a:lnTo>
                <a:lnTo>
                  <a:pt x="638175" y="1300163"/>
                </a:lnTo>
                <a:lnTo>
                  <a:pt x="632354" y="1294607"/>
                </a:lnTo>
                <a:lnTo>
                  <a:pt x="624417" y="1286669"/>
                </a:lnTo>
                <a:lnTo>
                  <a:pt x="619125" y="1279525"/>
                </a:lnTo>
                <a:lnTo>
                  <a:pt x="617009" y="1275557"/>
                </a:lnTo>
                <a:lnTo>
                  <a:pt x="615421" y="1270794"/>
                </a:lnTo>
                <a:lnTo>
                  <a:pt x="614892" y="1266825"/>
                </a:lnTo>
                <a:lnTo>
                  <a:pt x="614363" y="1262063"/>
                </a:lnTo>
                <a:lnTo>
                  <a:pt x="611188" y="1256507"/>
                </a:lnTo>
                <a:lnTo>
                  <a:pt x="605896" y="1246982"/>
                </a:lnTo>
                <a:lnTo>
                  <a:pt x="601663" y="1241425"/>
                </a:lnTo>
                <a:lnTo>
                  <a:pt x="597959" y="1236663"/>
                </a:lnTo>
                <a:lnTo>
                  <a:pt x="593725" y="1232694"/>
                </a:lnTo>
                <a:lnTo>
                  <a:pt x="588434" y="1228725"/>
                </a:lnTo>
                <a:lnTo>
                  <a:pt x="583142" y="1224757"/>
                </a:lnTo>
                <a:lnTo>
                  <a:pt x="577321" y="1222375"/>
                </a:lnTo>
                <a:lnTo>
                  <a:pt x="571500" y="1219200"/>
                </a:lnTo>
                <a:lnTo>
                  <a:pt x="565150" y="1216819"/>
                </a:lnTo>
                <a:lnTo>
                  <a:pt x="549804" y="1212850"/>
                </a:lnTo>
                <a:lnTo>
                  <a:pt x="531283" y="1209675"/>
                </a:lnTo>
                <a:lnTo>
                  <a:pt x="510117" y="1208088"/>
                </a:lnTo>
                <a:lnTo>
                  <a:pt x="484188" y="1207294"/>
                </a:lnTo>
                <a:lnTo>
                  <a:pt x="458788" y="1207294"/>
                </a:lnTo>
                <a:lnTo>
                  <a:pt x="431800" y="1208088"/>
                </a:lnTo>
                <a:lnTo>
                  <a:pt x="405342" y="1208882"/>
                </a:lnTo>
                <a:lnTo>
                  <a:pt x="378884" y="1208882"/>
                </a:lnTo>
                <a:lnTo>
                  <a:pt x="340254" y="1208882"/>
                </a:lnTo>
                <a:lnTo>
                  <a:pt x="305329" y="1206500"/>
                </a:lnTo>
                <a:lnTo>
                  <a:pt x="289454" y="1205707"/>
                </a:lnTo>
                <a:lnTo>
                  <a:pt x="274638" y="1203325"/>
                </a:lnTo>
                <a:lnTo>
                  <a:pt x="260350" y="1200944"/>
                </a:lnTo>
                <a:lnTo>
                  <a:pt x="247121" y="1197769"/>
                </a:lnTo>
                <a:lnTo>
                  <a:pt x="234421" y="1193800"/>
                </a:lnTo>
                <a:lnTo>
                  <a:pt x="222779" y="1190625"/>
                </a:lnTo>
                <a:lnTo>
                  <a:pt x="211667" y="1185863"/>
                </a:lnTo>
                <a:lnTo>
                  <a:pt x="201613" y="1181100"/>
                </a:lnTo>
                <a:lnTo>
                  <a:pt x="192088" y="1175544"/>
                </a:lnTo>
                <a:lnTo>
                  <a:pt x="183092" y="1169194"/>
                </a:lnTo>
                <a:lnTo>
                  <a:pt x="174625" y="1162844"/>
                </a:lnTo>
                <a:lnTo>
                  <a:pt x="166159" y="1154907"/>
                </a:lnTo>
                <a:lnTo>
                  <a:pt x="161396" y="1149350"/>
                </a:lnTo>
                <a:lnTo>
                  <a:pt x="156634" y="1143794"/>
                </a:lnTo>
                <a:lnTo>
                  <a:pt x="153988" y="1139825"/>
                </a:lnTo>
                <a:lnTo>
                  <a:pt x="152400" y="1135857"/>
                </a:lnTo>
                <a:lnTo>
                  <a:pt x="151871" y="1132682"/>
                </a:lnTo>
                <a:lnTo>
                  <a:pt x="152400" y="1128713"/>
                </a:lnTo>
                <a:lnTo>
                  <a:pt x="153988" y="1126332"/>
                </a:lnTo>
                <a:lnTo>
                  <a:pt x="156634" y="1123157"/>
                </a:lnTo>
                <a:lnTo>
                  <a:pt x="174625" y="1112044"/>
                </a:lnTo>
                <a:lnTo>
                  <a:pt x="203200" y="1095375"/>
                </a:lnTo>
                <a:lnTo>
                  <a:pt x="165629" y="1095375"/>
                </a:lnTo>
                <a:lnTo>
                  <a:pt x="140759" y="1096169"/>
                </a:lnTo>
                <a:lnTo>
                  <a:pt x="124354" y="1096963"/>
                </a:lnTo>
                <a:lnTo>
                  <a:pt x="114300" y="1096169"/>
                </a:lnTo>
                <a:lnTo>
                  <a:pt x="110067" y="1096169"/>
                </a:lnTo>
                <a:lnTo>
                  <a:pt x="106892" y="1095375"/>
                </a:lnTo>
                <a:lnTo>
                  <a:pt x="104246" y="1093788"/>
                </a:lnTo>
                <a:lnTo>
                  <a:pt x="100542" y="1091407"/>
                </a:lnTo>
                <a:lnTo>
                  <a:pt x="91546" y="1085057"/>
                </a:lnTo>
                <a:lnTo>
                  <a:pt x="77788" y="1077119"/>
                </a:lnTo>
                <a:lnTo>
                  <a:pt x="47625" y="1050132"/>
                </a:lnTo>
                <a:lnTo>
                  <a:pt x="41275" y="1042988"/>
                </a:lnTo>
                <a:lnTo>
                  <a:pt x="34396" y="1034257"/>
                </a:lnTo>
                <a:lnTo>
                  <a:pt x="26988" y="1024732"/>
                </a:lnTo>
                <a:lnTo>
                  <a:pt x="20638" y="1013619"/>
                </a:lnTo>
                <a:lnTo>
                  <a:pt x="13759" y="1001713"/>
                </a:lnTo>
                <a:lnTo>
                  <a:pt x="8996" y="989013"/>
                </a:lnTo>
                <a:lnTo>
                  <a:pt x="4233" y="977107"/>
                </a:lnTo>
                <a:lnTo>
                  <a:pt x="1588" y="964407"/>
                </a:lnTo>
                <a:lnTo>
                  <a:pt x="0" y="957263"/>
                </a:lnTo>
                <a:lnTo>
                  <a:pt x="0" y="951707"/>
                </a:lnTo>
                <a:lnTo>
                  <a:pt x="0" y="945357"/>
                </a:lnTo>
                <a:lnTo>
                  <a:pt x="529" y="939800"/>
                </a:lnTo>
                <a:lnTo>
                  <a:pt x="2117" y="934244"/>
                </a:lnTo>
                <a:lnTo>
                  <a:pt x="4233" y="928688"/>
                </a:lnTo>
                <a:lnTo>
                  <a:pt x="6350" y="923925"/>
                </a:lnTo>
                <a:lnTo>
                  <a:pt x="10054" y="918369"/>
                </a:lnTo>
                <a:lnTo>
                  <a:pt x="14817" y="913607"/>
                </a:lnTo>
                <a:lnTo>
                  <a:pt x="19579" y="910432"/>
                </a:lnTo>
                <a:lnTo>
                  <a:pt x="24871" y="906463"/>
                </a:lnTo>
                <a:lnTo>
                  <a:pt x="32279" y="902494"/>
                </a:lnTo>
                <a:lnTo>
                  <a:pt x="39688" y="900113"/>
                </a:lnTo>
                <a:lnTo>
                  <a:pt x="48154" y="896938"/>
                </a:lnTo>
                <a:lnTo>
                  <a:pt x="57679" y="895350"/>
                </a:lnTo>
                <a:lnTo>
                  <a:pt x="68263" y="892969"/>
                </a:lnTo>
                <a:lnTo>
                  <a:pt x="78317" y="892175"/>
                </a:lnTo>
                <a:lnTo>
                  <a:pt x="83609" y="891382"/>
                </a:lnTo>
                <a:lnTo>
                  <a:pt x="84138" y="891382"/>
                </a:lnTo>
                <a:lnTo>
                  <a:pt x="85196" y="891382"/>
                </a:lnTo>
                <a:lnTo>
                  <a:pt x="86254" y="891382"/>
                </a:lnTo>
                <a:lnTo>
                  <a:pt x="93134" y="891382"/>
                </a:lnTo>
                <a:lnTo>
                  <a:pt x="104775" y="890588"/>
                </a:lnTo>
                <a:lnTo>
                  <a:pt x="668867" y="881857"/>
                </a:lnTo>
                <a:lnTo>
                  <a:pt x="659342" y="873125"/>
                </a:lnTo>
                <a:lnTo>
                  <a:pt x="653521" y="867569"/>
                </a:lnTo>
                <a:lnTo>
                  <a:pt x="650875" y="862807"/>
                </a:lnTo>
                <a:lnTo>
                  <a:pt x="649817" y="859632"/>
                </a:lnTo>
                <a:lnTo>
                  <a:pt x="649288" y="855663"/>
                </a:lnTo>
                <a:lnTo>
                  <a:pt x="648758" y="852488"/>
                </a:lnTo>
                <a:lnTo>
                  <a:pt x="646113" y="844550"/>
                </a:lnTo>
                <a:lnTo>
                  <a:pt x="641879" y="834232"/>
                </a:lnTo>
                <a:lnTo>
                  <a:pt x="635529" y="820738"/>
                </a:lnTo>
                <a:lnTo>
                  <a:pt x="629709" y="809625"/>
                </a:lnTo>
                <a:lnTo>
                  <a:pt x="626004" y="799307"/>
                </a:lnTo>
                <a:lnTo>
                  <a:pt x="622829" y="790575"/>
                </a:lnTo>
                <a:lnTo>
                  <a:pt x="620713" y="784225"/>
                </a:lnTo>
                <a:lnTo>
                  <a:pt x="620184" y="777875"/>
                </a:lnTo>
                <a:lnTo>
                  <a:pt x="620184" y="772319"/>
                </a:lnTo>
                <a:lnTo>
                  <a:pt x="620184" y="766763"/>
                </a:lnTo>
                <a:lnTo>
                  <a:pt x="622829" y="754857"/>
                </a:lnTo>
                <a:lnTo>
                  <a:pt x="627063" y="740569"/>
                </a:lnTo>
                <a:lnTo>
                  <a:pt x="629709" y="731838"/>
                </a:lnTo>
                <a:lnTo>
                  <a:pt x="631825" y="721519"/>
                </a:lnTo>
                <a:lnTo>
                  <a:pt x="633942" y="710407"/>
                </a:lnTo>
                <a:lnTo>
                  <a:pt x="635529" y="696913"/>
                </a:lnTo>
                <a:lnTo>
                  <a:pt x="674158" y="696119"/>
                </a:lnTo>
                <a:lnTo>
                  <a:pt x="706438" y="693738"/>
                </a:lnTo>
                <a:lnTo>
                  <a:pt x="734483" y="692944"/>
                </a:lnTo>
                <a:lnTo>
                  <a:pt x="759354" y="691356"/>
                </a:lnTo>
                <a:lnTo>
                  <a:pt x="782638" y="690563"/>
                </a:lnTo>
                <a:lnTo>
                  <a:pt x="806979" y="691356"/>
                </a:lnTo>
                <a:lnTo>
                  <a:pt x="832380" y="692150"/>
                </a:lnTo>
                <a:lnTo>
                  <a:pt x="862542" y="694531"/>
                </a:lnTo>
                <a:lnTo>
                  <a:pt x="867833" y="696119"/>
                </a:lnTo>
                <a:lnTo>
                  <a:pt x="870480" y="696913"/>
                </a:lnTo>
                <a:lnTo>
                  <a:pt x="881063" y="697706"/>
                </a:lnTo>
                <a:lnTo>
                  <a:pt x="910167" y="700088"/>
                </a:lnTo>
                <a:lnTo>
                  <a:pt x="923396" y="700088"/>
                </a:lnTo>
                <a:lnTo>
                  <a:pt x="937154" y="701675"/>
                </a:lnTo>
                <a:lnTo>
                  <a:pt x="952500" y="702469"/>
                </a:lnTo>
                <a:lnTo>
                  <a:pt x="967846" y="702469"/>
                </a:lnTo>
                <a:lnTo>
                  <a:pt x="984250" y="702469"/>
                </a:lnTo>
                <a:lnTo>
                  <a:pt x="999596" y="703263"/>
                </a:lnTo>
                <a:lnTo>
                  <a:pt x="1014413" y="703263"/>
                </a:lnTo>
                <a:lnTo>
                  <a:pt x="1027642" y="704057"/>
                </a:lnTo>
                <a:lnTo>
                  <a:pt x="1058334" y="703263"/>
                </a:lnTo>
                <a:lnTo>
                  <a:pt x="1101196" y="702469"/>
                </a:lnTo>
                <a:lnTo>
                  <a:pt x="1151996" y="699294"/>
                </a:lnTo>
                <a:lnTo>
                  <a:pt x="1206500" y="696119"/>
                </a:lnTo>
                <a:lnTo>
                  <a:pt x="1261004" y="691356"/>
                </a:lnTo>
                <a:lnTo>
                  <a:pt x="1311804" y="686594"/>
                </a:lnTo>
                <a:lnTo>
                  <a:pt x="1334559" y="683419"/>
                </a:lnTo>
                <a:lnTo>
                  <a:pt x="1355196" y="681038"/>
                </a:lnTo>
                <a:lnTo>
                  <a:pt x="1372659" y="677863"/>
                </a:lnTo>
                <a:lnTo>
                  <a:pt x="1386417" y="675481"/>
                </a:lnTo>
                <a:lnTo>
                  <a:pt x="1395413" y="681832"/>
                </a:lnTo>
                <a:lnTo>
                  <a:pt x="1394354" y="681832"/>
                </a:lnTo>
                <a:lnTo>
                  <a:pt x="1391709" y="682625"/>
                </a:lnTo>
                <a:lnTo>
                  <a:pt x="1388004" y="686594"/>
                </a:lnTo>
                <a:lnTo>
                  <a:pt x="1383771" y="692944"/>
                </a:lnTo>
                <a:lnTo>
                  <a:pt x="1381125" y="693738"/>
                </a:lnTo>
                <a:lnTo>
                  <a:pt x="1374246" y="693738"/>
                </a:lnTo>
                <a:lnTo>
                  <a:pt x="1365250" y="694531"/>
                </a:lnTo>
                <a:lnTo>
                  <a:pt x="1357313" y="696119"/>
                </a:lnTo>
                <a:lnTo>
                  <a:pt x="1354138" y="696913"/>
                </a:lnTo>
                <a:lnTo>
                  <a:pt x="1352021" y="697706"/>
                </a:lnTo>
                <a:lnTo>
                  <a:pt x="1351492" y="698500"/>
                </a:lnTo>
                <a:lnTo>
                  <a:pt x="1350434" y="698500"/>
                </a:lnTo>
                <a:lnTo>
                  <a:pt x="1351492" y="699294"/>
                </a:lnTo>
                <a:lnTo>
                  <a:pt x="1351492" y="700088"/>
                </a:lnTo>
                <a:lnTo>
                  <a:pt x="1353609" y="701675"/>
                </a:lnTo>
                <a:lnTo>
                  <a:pt x="1358900" y="703263"/>
                </a:lnTo>
                <a:lnTo>
                  <a:pt x="1365250" y="704850"/>
                </a:lnTo>
                <a:lnTo>
                  <a:pt x="1374775" y="707231"/>
                </a:lnTo>
                <a:lnTo>
                  <a:pt x="1376363" y="707231"/>
                </a:lnTo>
                <a:lnTo>
                  <a:pt x="1376363" y="708025"/>
                </a:lnTo>
                <a:lnTo>
                  <a:pt x="1375304" y="708819"/>
                </a:lnTo>
                <a:lnTo>
                  <a:pt x="1374246" y="709613"/>
                </a:lnTo>
                <a:lnTo>
                  <a:pt x="1371071" y="711994"/>
                </a:lnTo>
                <a:lnTo>
                  <a:pt x="1368954" y="714375"/>
                </a:lnTo>
                <a:lnTo>
                  <a:pt x="1406525" y="709613"/>
                </a:lnTo>
                <a:lnTo>
                  <a:pt x="1424517" y="708025"/>
                </a:lnTo>
                <a:lnTo>
                  <a:pt x="1427012" y="707685"/>
                </a:lnTo>
                <a:lnTo>
                  <a:pt x="1426104" y="708025"/>
                </a:lnTo>
                <a:lnTo>
                  <a:pt x="1424517" y="708819"/>
                </a:lnTo>
                <a:lnTo>
                  <a:pt x="1424517" y="709613"/>
                </a:lnTo>
                <a:lnTo>
                  <a:pt x="1424517" y="710407"/>
                </a:lnTo>
                <a:lnTo>
                  <a:pt x="1426104" y="711994"/>
                </a:lnTo>
                <a:lnTo>
                  <a:pt x="1429809" y="712788"/>
                </a:lnTo>
                <a:lnTo>
                  <a:pt x="1437217" y="714375"/>
                </a:lnTo>
                <a:lnTo>
                  <a:pt x="1448859" y="715169"/>
                </a:lnTo>
                <a:lnTo>
                  <a:pt x="1464204" y="717550"/>
                </a:lnTo>
                <a:lnTo>
                  <a:pt x="1764771" y="698500"/>
                </a:lnTo>
                <a:lnTo>
                  <a:pt x="1728259" y="687388"/>
                </a:lnTo>
                <a:lnTo>
                  <a:pt x="1701800" y="681038"/>
                </a:lnTo>
                <a:lnTo>
                  <a:pt x="1683809" y="677069"/>
                </a:lnTo>
                <a:lnTo>
                  <a:pt x="1669521" y="675481"/>
                </a:lnTo>
                <a:lnTo>
                  <a:pt x="1655234" y="674688"/>
                </a:lnTo>
                <a:lnTo>
                  <a:pt x="1639359" y="673100"/>
                </a:lnTo>
                <a:lnTo>
                  <a:pt x="1616075" y="671513"/>
                </a:lnTo>
                <a:lnTo>
                  <a:pt x="1582209" y="669131"/>
                </a:lnTo>
                <a:lnTo>
                  <a:pt x="1578504" y="667544"/>
                </a:lnTo>
                <a:lnTo>
                  <a:pt x="1574800" y="666750"/>
                </a:lnTo>
                <a:lnTo>
                  <a:pt x="1553634" y="664369"/>
                </a:lnTo>
                <a:lnTo>
                  <a:pt x="1527175" y="661194"/>
                </a:lnTo>
                <a:lnTo>
                  <a:pt x="1497013" y="658813"/>
                </a:lnTo>
                <a:lnTo>
                  <a:pt x="1462617" y="656431"/>
                </a:lnTo>
                <a:lnTo>
                  <a:pt x="1426104" y="654050"/>
                </a:lnTo>
                <a:lnTo>
                  <a:pt x="1387475" y="651669"/>
                </a:lnTo>
                <a:lnTo>
                  <a:pt x="1346729" y="650081"/>
                </a:lnTo>
                <a:lnTo>
                  <a:pt x="1306513" y="648494"/>
                </a:lnTo>
                <a:lnTo>
                  <a:pt x="1265767" y="646113"/>
                </a:lnTo>
                <a:lnTo>
                  <a:pt x="1226079" y="645319"/>
                </a:lnTo>
                <a:lnTo>
                  <a:pt x="1187979" y="643732"/>
                </a:lnTo>
                <a:lnTo>
                  <a:pt x="1152525" y="642938"/>
                </a:lnTo>
                <a:lnTo>
                  <a:pt x="1120246" y="642144"/>
                </a:lnTo>
                <a:lnTo>
                  <a:pt x="1091671" y="640556"/>
                </a:lnTo>
                <a:lnTo>
                  <a:pt x="1068388" y="640556"/>
                </a:lnTo>
                <a:lnTo>
                  <a:pt x="1050396" y="640556"/>
                </a:lnTo>
                <a:lnTo>
                  <a:pt x="891646" y="640556"/>
                </a:lnTo>
                <a:lnTo>
                  <a:pt x="759354" y="640556"/>
                </a:lnTo>
                <a:lnTo>
                  <a:pt x="650875" y="639763"/>
                </a:lnTo>
                <a:lnTo>
                  <a:pt x="561975" y="638969"/>
                </a:lnTo>
                <a:lnTo>
                  <a:pt x="492654" y="637382"/>
                </a:lnTo>
                <a:lnTo>
                  <a:pt x="438150" y="634206"/>
                </a:lnTo>
                <a:lnTo>
                  <a:pt x="415396" y="632619"/>
                </a:lnTo>
                <a:lnTo>
                  <a:pt x="396346" y="630238"/>
                </a:lnTo>
                <a:lnTo>
                  <a:pt x="380471" y="628650"/>
                </a:lnTo>
                <a:lnTo>
                  <a:pt x="365654" y="627063"/>
                </a:lnTo>
                <a:lnTo>
                  <a:pt x="353484" y="623888"/>
                </a:lnTo>
                <a:lnTo>
                  <a:pt x="342900" y="621507"/>
                </a:lnTo>
                <a:lnTo>
                  <a:pt x="333375" y="618331"/>
                </a:lnTo>
                <a:lnTo>
                  <a:pt x="325438" y="615950"/>
                </a:lnTo>
                <a:lnTo>
                  <a:pt x="310092" y="608013"/>
                </a:lnTo>
                <a:lnTo>
                  <a:pt x="295275" y="600869"/>
                </a:lnTo>
                <a:lnTo>
                  <a:pt x="278342" y="591344"/>
                </a:lnTo>
                <a:lnTo>
                  <a:pt x="255588" y="581025"/>
                </a:lnTo>
                <a:lnTo>
                  <a:pt x="242359" y="575469"/>
                </a:lnTo>
                <a:lnTo>
                  <a:pt x="226484" y="569913"/>
                </a:lnTo>
                <a:lnTo>
                  <a:pt x="207434" y="563563"/>
                </a:lnTo>
                <a:lnTo>
                  <a:pt x="186267" y="557213"/>
                </a:lnTo>
                <a:lnTo>
                  <a:pt x="188913" y="542132"/>
                </a:lnTo>
                <a:lnTo>
                  <a:pt x="190500" y="534988"/>
                </a:lnTo>
                <a:lnTo>
                  <a:pt x="191029" y="531813"/>
                </a:lnTo>
                <a:lnTo>
                  <a:pt x="192088" y="531019"/>
                </a:lnTo>
                <a:lnTo>
                  <a:pt x="192617" y="530225"/>
                </a:lnTo>
                <a:lnTo>
                  <a:pt x="193675" y="530225"/>
                </a:lnTo>
                <a:lnTo>
                  <a:pt x="194734" y="531019"/>
                </a:lnTo>
                <a:lnTo>
                  <a:pt x="197379" y="531813"/>
                </a:lnTo>
                <a:lnTo>
                  <a:pt x="198438" y="531813"/>
                </a:lnTo>
                <a:lnTo>
                  <a:pt x="200025" y="531019"/>
                </a:lnTo>
                <a:lnTo>
                  <a:pt x="202142" y="530225"/>
                </a:lnTo>
                <a:lnTo>
                  <a:pt x="204259" y="527050"/>
                </a:lnTo>
                <a:lnTo>
                  <a:pt x="217488" y="514350"/>
                </a:lnTo>
                <a:lnTo>
                  <a:pt x="220663" y="511969"/>
                </a:lnTo>
                <a:lnTo>
                  <a:pt x="222779" y="511175"/>
                </a:lnTo>
                <a:lnTo>
                  <a:pt x="223308" y="509588"/>
                </a:lnTo>
                <a:lnTo>
                  <a:pt x="224367" y="508000"/>
                </a:lnTo>
                <a:lnTo>
                  <a:pt x="139171" y="488950"/>
                </a:lnTo>
                <a:lnTo>
                  <a:pt x="152929" y="483394"/>
                </a:lnTo>
                <a:lnTo>
                  <a:pt x="161396" y="478631"/>
                </a:lnTo>
                <a:lnTo>
                  <a:pt x="161396" y="477044"/>
                </a:lnTo>
                <a:lnTo>
                  <a:pt x="161396" y="473869"/>
                </a:lnTo>
                <a:lnTo>
                  <a:pt x="159808" y="470694"/>
                </a:lnTo>
                <a:lnTo>
                  <a:pt x="157692" y="465931"/>
                </a:lnTo>
                <a:lnTo>
                  <a:pt x="149754" y="451644"/>
                </a:lnTo>
                <a:lnTo>
                  <a:pt x="136525" y="431007"/>
                </a:lnTo>
                <a:lnTo>
                  <a:pt x="127000" y="418307"/>
                </a:lnTo>
                <a:lnTo>
                  <a:pt x="121709" y="411163"/>
                </a:lnTo>
                <a:lnTo>
                  <a:pt x="120121" y="407988"/>
                </a:lnTo>
                <a:lnTo>
                  <a:pt x="119592" y="407194"/>
                </a:lnTo>
                <a:lnTo>
                  <a:pt x="118534" y="404813"/>
                </a:lnTo>
                <a:lnTo>
                  <a:pt x="119592" y="404019"/>
                </a:lnTo>
                <a:lnTo>
                  <a:pt x="121709" y="402432"/>
                </a:lnTo>
                <a:lnTo>
                  <a:pt x="124354" y="397669"/>
                </a:lnTo>
                <a:lnTo>
                  <a:pt x="127000" y="393700"/>
                </a:lnTo>
                <a:lnTo>
                  <a:pt x="129117" y="388144"/>
                </a:lnTo>
                <a:lnTo>
                  <a:pt x="130704" y="381794"/>
                </a:lnTo>
                <a:lnTo>
                  <a:pt x="132821" y="372269"/>
                </a:lnTo>
                <a:lnTo>
                  <a:pt x="463021" y="355600"/>
                </a:lnTo>
                <a:lnTo>
                  <a:pt x="503238" y="354013"/>
                </a:lnTo>
                <a:lnTo>
                  <a:pt x="535517" y="350838"/>
                </a:lnTo>
                <a:lnTo>
                  <a:pt x="560388" y="349250"/>
                </a:lnTo>
                <a:lnTo>
                  <a:pt x="579438" y="347663"/>
                </a:lnTo>
                <a:lnTo>
                  <a:pt x="594254" y="346869"/>
                </a:lnTo>
                <a:lnTo>
                  <a:pt x="604838" y="345281"/>
                </a:lnTo>
                <a:lnTo>
                  <a:pt x="611717" y="345281"/>
                </a:lnTo>
                <a:lnTo>
                  <a:pt x="617538" y="346869"/>
                </a:lnTo>
                <a:lnTo>
                  <a:pt x="622300" y="347663"/>
                </a:lnTo>
                <a:lnTo>
                  <a:pt x="627063" y="349250"/>
                </a:lnTo>
                <a:lnTo>
                  <a:pt x="633413" y="352425"/>
                </a:lnTo>
                <a:lnTo>
                  <a:pt x="641879" y="356394"/>
                </a:lnTo>
                <a:lnTo>
                  <a:pt x="652992" y="361156"/>
                </a:lnTo>
                <a:lnTo>
                  <a:pt x="668867" y="366713"/>
                </a:lnTo>
                <a:lnTo>
                  <a:pt x="689504" y="374650"/>
                </a:lnTo>
                <a:lnTo>
                  <a:pt x="717550" y="382588"/>
                </a:lnTo>
                <a:lnTo>
                  <a:pt x="735013" y="372269"/>
                </a:lnTo>
                <a:lnTo>
                  <a:pt x="750358" y="364331"/>
                </a:lnTo>
                <a:lnTo>
                  <a:pt x="764117" y="357981"/>
                </a:lnTo>
                <a:lnTo>
                  <a:pt x="778934" y="352425"/>
                </a:lnTo>
                <a:lnTo>
                  <a:pt x="787930" y="349250"/>
                </a:lnTo>
                <a:lnTo>
                  <a:pt x="796396" y="347663"/>
                </a:lnTo>
                <a:lnTo>
                  <a:pt x="806979" y="345281"/>
                </a:lnTo>
                <a:lnTo>
                  <a:pt x="818621" y="344488"/>
                </a:lnTo>
                <a:lnTo>
                  <a:pt x="845608" y="342106"/>
                </a:lnTo>
                <a:lnTo>
                  <a:pt x="881592" y="341313"/>
                </a:lnTo>
                <a:lnTo>
                  <a:pt x="863071" y="369888"/>
                </a:lnTo>
                <a:lnTo>
                  <a:pt x="897467" y="366713"/>
                </a:lnTo>
                <a:lnTo>
                  <a:pt x="921809" y="365125"/>
                </a:lnTo>
                <a:lnTo>
                  <a:pt x="940330" y="365125"/>
                </a:lnTo>
                <a:lnTo>
                  <a:pt x="955675" y="365919"/>
                </a:lnTo>
                <a:lnTo>
                  <a:pt x="970492" y="365919"/>
                </a:lnTo>
                <a:lnTo>
                  <a:pt x="989542" y="365125"/>
                </a:lnTo>
                <a:lnTo>
                  <a:pt x="1014413" y="363538"/>
                </a:lnTo>
                <a:lnTo>
                  <a:pt x="1049338" y="357981"/>
                </a:lnTo>
                <a:lnTo>
                  <a:pt x="1087438" y="353219"/>
                </a:lnTo>
                <a:lnTo>
                  <a:pt x="1130829" y="349250"/>
                </a:lnTo>
                <a:lnTo>
                  <a:pt x="1178454" y="345281"/>
                </a:lnTo>
                <a:lnTo>
                  <a:pt x="1227667" y="342900"/>
                </a:lnTo>
                <a:lnTo>
                  <a:pt x="1276350" y="342106"/>
                </a:lnTo>
                <a:lnTo>
                  <a:pt x="1323975" y="342106"/>
                </a:lnTo>
                <a:lnTo>
                  <a:pt x="1368425" y="342900"/>
                </a:lnTo>
                <a:lnTo>
                  <a:pt x="1406525" y="344488"/>
                </a:lnTo>
                <a:lnTo>
                  <a:pt x="1416579" y="345281"/>
                </a:lnTo>
                <a:lnTo>
                  <a:pt x="1425575" y="347663"/>
                </a:lnTo>
                <a:lnTo>
                  <a:pt x="1433513" y="349250"/>
                </a:lnTo>
                <a:lnTo>
                  <a:pt x="1439863" y="350838"/>
                </a:lnTo>
                <a:lnTo>
                  <a:pt x="1450975" y="355600"/>
                </a:lnTo>
                <a:lnTo>
                  <a:pt x="1462088" y="360363"/>
                </a:lnTo>
                <a:lnTo>
                  <a:pt x="1473200" y="365919"/>
                </a:lnTo>
                <a:lnTo>
                  <a:pt x="1487488" y="370681"/>
                </a:lnTo>
                <a:lnTo>
                  <a:pt x="1496484" y="373856"/>
                </a:lnTo>
                <a:lnTo>
                  <a:pt x="1506538" y="375444"/>
                </a:lnTo>
                <a:lnTo>
                  <a:pt x="1518179" y="377031"/>
                </a:lnTo>
                <a:lnTo>
                  <a:pt x="1532467" y="379413"/>
                </a:lnTo>
                <a:lnTo>
                  <a:pt x="1538817" y="350838"/>
                </a:lnTo>
                <a:lnTo>
                  <a:pt x="1542521" y="346869"/>
                </a:lnTo>
                <a:lnTo>
                  <a:pt x="1547813" y="343694"/>
                </a:lnTo>
                <a:lnTo>
                  <a:pt x="1553104" y="341313"/>
                </a:lnTo>
                <a:lnTo>
                  <a:pt x="1558925" y="338931"/>
                </a:lnTo>
                <a:lnTo>
                  <a:pt x="1572684" y="337344"/>
                </a:lnTo>
                <a:lnTo>
                  <a:pt x="1588029" y="336550"/>
                </a:lnTo>
                <a:lnTo>
                  <a:pt x="1605492" y="336550"/>
                </a:lnTo>
                <a:lnTo>
                  <a:pt x="1622954" y="336550"/>
                </a:lnTo>
                <a:lnTo>
                  <a:pt x="1642534" y="334169"/>
                </a:lnTo>
                <a:lnTo>
                  <a:pt x="1660525" y="331788"/>
                </a:lnTo>
                <a:lnTo>
                  <a:pt x="1675342" y="327819"/>
                </a:lnTo>
                <a:lnTo>
                  <a:pt x="1680634" y="325438"/>
                </a:lnTo>
                <a:lnTo>
                  <a:pt x="1679575" y="323056"/>
                </a:lnTo>
                <a:lnTo>
                  <a:pt x="1677459" y="323056"/>
                </a:lnTo>
                <a:lnTo>
                  <a:pt x="1677988" y="322263"/>
                </a:lnTo>
                <a:lnTo>
                  <a:pt x="1684867" y="321469"/>
                </a:lnTo>
                <a:lnTo>
                  <a:pt x="1702329" y="319881"/>
                </a:lnTo>
                <a:lnTo>
                  <a:pt x="1734079" y="315913"/>
                </a:lnTo>
                <a:lnTo>
                  <a:pt x="1757892" y="313531"/>
                </a:lnTo>
                <a:lnTo>
                  <a:pt x="1778529" y="313531"/>
                </a:lnTo>
                <a:lnTo>
                  <a:pt x="1799167" y="315913"/>
                </a:lnTo>
                <a:lnTo>
                  <a:pt x="1818746" y="317500"/>
                </a:lnTo>
                <a:lnTo>
                  <a:pt x="1839913" y="320675"/>
                </a:lnTo>
                <a:lnTo>
                  <a:pt x="1864254" y="322263"/>
                </a:lnTo>
                <a:lnTo>
                  <a:pt x="1892829" y="323850"/>
                </a:lnTo>
                <a:lnTo>
                  <a:pt x="1925638" y="323850"/>
                </a:lnTo>
                <a:lnTo>
                  <a:pt x="1924579" y="318294"/>
                </a:lnTo>
                <a:lnTo>
                  <a:pt x="1922992" y="311944"/>
                </a:lnTo>
                <a:lnTo>
                  <a:pt x="1919817" y="305594"/>
                </a:lnTo>
                <a:lnTo>
                  <a:pt x="1917171" y="298450"/>
                </a:lnTo>
                <a:lnTo>
                  <a:pt x="1909234" y="283369"/>
                </a:lnTo>
                <a:lnTo>
                  <a:pt x="1898650" y="266700"/>
                </a:lnTo>
                <a:lnTo>
                  <a:pt x="1875896" y="231775"/>
                </a:lnTo>
                <a:lnTo>
                  <a:pt x="1853142" y="195263"/>
                </a:lnTo>
                <a:lnTo>
                  <a:pt x="1843088" y="177006"/>
                </a:lnTo>
                <a:lnTo>
                  <a:pt x="1834092" y="160338"/>
                </a:lnTo>
                <a:lnTo>
                  <a:pt x="1830388" y="150813"/>
                </a:lnTo>
                <a:lnTo>
                  <a:pt x="1827742" y="143669"/>
                </a:lnTo>
                <a:lnTo>
                  <a:pt x="1825625" y="134938"/>
                </a:lnTo>
                <a:lnTo>
                  <a:pt x="1824038" y="127794"/>
                </a:lnTo>
                <a:lnTo>
                  <a:pt x="1823509" y="119856"/>
                </a:lnTo>
                <a:lnTo>
                  <a:pt x="1823509" y="112713"/>
                </a:lnTo>
                <a:lnTo>
                  <a:pt x="1824038" y="106363"/>
                </a:lnTo>
                <a:lnTo>
                  <a:pt x="1826154" y="100806"/>
                </a:lnTo>
                <a:lnTo>
                  <a:pt x="1829329" y="95250"/>
                </a:lnTo>
                <a:lnTo>
                  <a:pt x="1833563" y="89694"/>
                </a:lnTo>
                <a:lnTo>
                  <a:pt x="1838854" y="84931"/>
                </a:lnTo>
                <a:lnTo>
                  <a:pt x="1845204" y="80963"/>
                </a:lnTo>
                <a:lnTo>
                  <a:pt x="1860021" y="78581"/>
                </a:lnTo>
                <a:lnTo>
                  <a:pt x="1882775" y="76200"/>
                </a:lnTo>
                <a:lnTo>
                  <a:pt x="1911879" y="73819"/>
                </a:lnTo>
                <a:lnTo>
                  <a:pt x="1947863" y="70644"/>
                </a:lnTo>
                <a:lnTo>
                  <a:pt x="1988079" y="68263"/>
                </a:lnTo>
                <a:lnTo>
                  <a:pt x="2031471" y="65881"/>
                </a:lnTo>
                <a:lnTo>
                  <a:pt x="2078567" y="63500"/>
                </a:lnTo>
                <a:lnTo>
                  <a:pt x="2126192" y="61119"/>
                </a:lnTo>
                <a:lnTo>
                  <a:pt x="2173817" y="59531"/>
                </a:lnTo>
                <a:lnTo>
                  <a:pt x="2220384" y="58738"/>
                </a:lnTo>
                <a:lnTo>
                  <a:pt x="2265363" y="57150"/>
                </a:lnTo>
                <a:lnTo>
                  <a:pt x="2307167" y="57150"/>
                </a:lnTo>
                <a:lnTo>
                  <a:pt x="2344209" y="55563"/>
                </a:lnTo>
                <a:lnTo>
                  <a:pt x="2375959" y="55563"/>
                </a:lnTo>
                <a:lnTo>
                  <a:pt x="2400830" y="57150"/>
                </a:lnTo>
                <a:lnTo>
                  <a:pt x="2418292" y="57944"/>
                </a:lnTo>
                <a:lnTo>
                  <a:pt x="2430992" y="59531"/>
                </a:lnTo>
                <a:lnTo>
                  <a:pt x="2440517" y="61119"/>
                </a:lnTo>
                <a:lnTo>
                  <a:pt x="2446867" y="63500"/>
                </a:lnTo>
                <a:lnTo>
                  <a:pt x="2451100" y="64294"/>
                </a:lnTo>
                <a:lnTo>
                  <a:pt x="2454805" y="66675"/>
                </a:lnTo>
                <a:lnTo>
                  <a:pt x="2456921" y="69056"/>
                </a:lnTo>
                <a:lnTo>
                  <a:pt x="2460625" y="69056"/>
                </a:lnTo>
                <a:lnTo>
                  <a:pt x="2471738" y="68263"/>
                </a:lnTo>
                <a:lnTo>
                  <a:pt x="2494492" y="65088"/>
                </a:lnTo>
                <a:lnTo>
                  <a:pt x="2532592" y="60325"/>
                </a:lnTo>
                <a:lnTo>
                  <a:pt x="2578100" y="55563"/>
                </a:lnTo>
                <a:lnTo>
                  <a:pt x="2619905" y="53181"/>
                </a:lnTo>
                <a:lnTo>
                  <a:pt x="2658005" y="51594"/>
                </a:lnTo>
                <a:lnTo>
                  <a:pt x="2692930" y="51594"/>
                </a:lnTo>
                <a:lnTo>
                  <a:pt x="2726267" y="52388"/>
                </a:lnTo>
                <a:lnTo>
                  <a:pt x="2757488" y="53181"/>
                </a:lnTo>
                <a:lnTo>
                  <a:pt x="2787650" y="54769"/>
                </a:lnTo>
                <a:lnTo>
                  <a:pt x="2818342" y="57150"/>
                </a:lnTo>
                <a:lnTo>
                  <a:pt x="2848505" y="58738"/>
                </a:lnTo>
                <a:lnTo>
                  <a:pt x="2880783" y="60325"/>
                </a:lnTo>
                <a:lnTo>
                  <a:pt x="2913592" y="61119"/>
                </a:lnTo>
                <a:lnTo>
                  <a:pt x="2949575" y="61119"/>
                </a:lnTo>
                <a:lnTo>
                  <a:pt x="2988733" y="60325"/>
                </a:lnTo>
                <a:lnTo>
                  <a:pt x="3031067" y="58738"/>
                </a:lnTo>
                <a:lnTo>
                  <a:pt x="3077105" y="54769"/>
                </a:lnTo>
                <a:lnTo>
                  <a:pt x="3128434" y="48419"/>
                </a:lnTo>
                <a:lnTo>
                  <a:pt x="3179763" y="42863"/>
                </a:lnTo>
                <a:lnTo>
                  <a:pt x="3227917" y="38100"/>
                </a:lnTo>
                <a:lnTo>
                  <a:pt x="3272896" y="34131"/>
                </a:lnTo>
                <a:lnTo>
                  <a:pt x="3313642" y="32544"/>
                </a:lnTo>
                <a:lnTo>
                  <a:pt x="3351742" y="30956"/>
                </a:lnTo>
                <a:lnTo>
                  <a:pt x="3387196" y="30163"/>
                </a:lnTo>
                <a:lnTo>
                  <a:pt x="3418417" y="30163"/>
                </a:lnTo>
                <a:lnTo>
                  <a:pt x="3448050" y="30956"/>
                </a:lnTo>
                <a:lnTo>
                  <a:pt x="3498321" y="32544"/>
                </a:lnTo>
                <a:lnTo>
                  <a:pt x="3539596" y="35719"/>
                </a:lnTo>
                <a:lnTo>
                  <a:pt x="3570288" y="38100"/>
                </a:lnTo>
                <a:lnTo>
                  <a:pt x="3593571" y="38100"/>
                </a:lnTo>
                <a:lnTo>
                  <a:pt x="3754438" y="25400"/>
                </a:lnTo>
                <a:lnTo>
                  <a:pt x="3793067" y="22225"/>
                </a:lnTo>
                <a:lnTo>
                  <a:pt x="3823230" y="21431"/>
                </a:lnTo>
                <a:lnTo>
                  <a:pt x="3845983" y="20638"/>
                </a:lnTo>
                <a:lnTo>
                  <a:pt x="3863446" y="21431"/>
                </a:lnTo>
                <a:lnTo>
                  <a:pt x="3878792" y="22225"/>
                </a:lnTo>
                <a:lnTo>
                  <a:pt x="3892550" y="23019"/>
                </a:lnTo>
                <a:lnTo>
                  <a:pt x="3908425" y="26194"/>
                </a:lnTo>
                <a:lnTo>
                  <a:pt x="3926417" y="28575"/>
                </a:lnTo>
                <a:lnTo>
                  <a:pt x="3941233" y="30163"/>
                </a:lnTo>
                <a:lnTo>
                  <a:pt x="3956050" y="30163"/>
                </a:lnTo>
                <a:lnTo>
                  <a:pt x="3971925" y="27781"/>
                </a:lnTo>
                <a:lnTo>
                  <a:pt x="3987800" y="26194"/>
                </a:lnTo>
                <a:lnTo>
                  <a:pt x="4006321" y="24606"/>
                </a:lnTo>
                <a:lnTo>
                  <a:pt x="4026429" y="22225"/>
                </a:lnTo>
                <a:lnTo>
                  <a:pt x="4048125" y="20638"/>
                </a:lnTo>
                <a:lnTo>
                  <a:pt x="4072996" y="19844"/>
                </a:lnTo>
                <a:lnTo>
                  <a:pt x="4112683" y="19844"/>
                </a:lnTo>
                <a:lnTo>
                  <a:pt x="4158192" y="22225"/>
                </a:lnTo>
                <a:lnTo>
                  <a:pt x="4208463" y="26194"/>
                </a:lnTo>
                <a:lnTo>
                  <a:pt x="4261909" y="30163"/>
                </a:lnTo>
                <a:lnTo>
                  <a:pt x="4316942" y="33338"/>
                </a:lnTo>
                <a:lnTo>
                  <a:pt x="4373034" y="37306"/>
                </a:lnTo>
                <a:lnTo>
                  <a:pt x="4426479" y="38894"/>
                </a:lnTo>
                <a:lnTo>
                  <a:pt x="4477809" y="38894"/>
                </a:lnTo>
                <a:lnTo>
                  <a:pt x="4512204" y="38100"/>
                </a:lnTo>
                <a:lnTo>
                  <a:pt x="4544484" y="35719"/>
                </a:lnTo>
                <a:lnTo>
                  <a:pt x="4574117" y="32544"/>
                </a:lnTo>
                <a:lnTo>
                  <a:pt x="4604279" y="30163"/>
                </a:lnTo>
                <a:lnTo>
                  <a:pt x="4634971" y="26988"/>
                </a:lnTo>
                <a:lnTo>
                  <a:pt x="4667250" y="25400"/>
                </a:lnTo>
                <a:lnTo>
                  <a:pt x="4685242" y="25400"/>
                </a:lnTo>
                <a:lnTo>
                  <a:pt x="4704292" y="25400"/>
                </a:lnTo>
                <a:lnTo>
                  <a:pt x="4723342" y="25400"/>
                </a:lnTo>
                <a:lnTo>
                  <a:pt x="4744509" y="26988"/>
                </a:lnTo>
                <a:lnTo>
                  <a:pt x="4777317" y="30163"/>
                </a:lnTo>
                <a:lnTo>
                  <a:pt x="4795838" y="32544"/>
                </a:lnTo>
                <a:lnTo>
                  <a:pt x="4804304" y="35719"/>
                </a:lnTo>
                <a:lnTo>
                  <a:pt x="4810125" y="38100"/>
                </a:lnTo>
                <a:lnTo>
                  <a:pt x="4817004" y="39688"/>
                </a:lnTo>
                <a:lnTo>
                  <a:pt x="4830234" y="42069"/>
                </a:lnTo>
                <a:lnTo>
                  <a:pt x="4855104" y="42863"/>
                </a:lnTo>
                <a:lnTo>
                  <a:pt x="4896909" y="42863"/>
                </a:lnTo>
                <a:lnTo>
                  <a:pt x="4891088" y="54769"/>
                </a:lnTo>
                <a:lnTo>
                  <a:pt x="4886325" y="65088"/>
                </a:lnTo>
                <a:lnTo>
                  <a:pt x="4885796" y="74613"/>
                </a:lnTo>
                <a:lnTo>
                  <a:pt x="4886325" y="76200"/>
                </a:lnTo>
                <a:lnTo>
                  <a:pt x="4887384" y="76200"/>
                </a:lnTo>
                <a:lnTo>
                  <a:pt x="4890029" y="76994"/>
                </a:lnTo>
                <a:lnTo>
                  <a:pt x="4893734" y="79375"/>
                </a:lnTo>
                <a:lnTo>
                  <a:pt x="4898496" y="81756"/>
                </a:lnTo>
                <a:lnTo>
                  <a:pt x="4929717" y="80963"/>
                </a:lnTo>
                <a:lnTo>
                  <a:pt x="4954588" y="79375"/>
                </a:lnTo>
                <a:lnTo>
                  <a:pt x="4973109" y="78581"/>
                </a:lnTo>
                <a:lnTo>
                  <a:pt x="4986338" y="76200"/>
                </a:lnTo>
                <a:lnTo>
                  <a:pt x="4994804" y="74613"/>
                </a:lnTo>
                <a:lnTo>
                  <a:pt x="4998509" y="71438"/>
                </a:lnTo>
                <a:lnTo>
                  <a:pt x="4999567" y="70644"/>
                </a:lnTo>
                <a:lnTo>
                  <a:pt x="4999567" y="69850"/>
                </a:lnTo>
                <a:lnTo>
                  <a:pt x="4998509" y="68263"/>
                </a:lnTo>
                <a:lnTo>
                  <a:pt x="4996921" y="66675"/>
                </a:lnTo>
                <a:lnTo>
                  <a:pt x="4986867" y="59531"/>
                </a:lnTo>
                <a:lnTo>
                  <a:pt x="4973109" y="51594"/>
                </a:lnTo>
                <a:lnTo>
                  <a:pt x="4965701" y="46831"/>
                </a:lnTo>
                <a:lnTo>
                  <a:pt x="4959879" y="41275"/>
                </a:lnTo>
                <a:lnTo>
                  <a:pt x="4957763" y="38100"/>
                </a:lnTo>
                <a:lnTo>
                  <a:pt x="4955646" y="35719"/>
                </a:lnTo>
                <a:lnTo>
                  <a:pt x="4954059" y="32544"/>
                </a:lnTo>
                <a:lnTo>
                  <a:pt x="4953000" y="30163"/>
                </a:lnTo>
                <a:lnTo>
                  <a:pt x="4953000" y="16669"/>
                </a:lnTo>
                <a:lnTo>
                  <a:pt x="4953000" y="14288"/>
                </a:lnTo>
                <a:lnTo>
                  <a:pt x="4954059" y="11906"/>
                </a:lnTo>
                <a:lnTo>
                  <a:pt x="4955646" y="3175"/>
                </a:lnTo>
                <a:lnTo>
                  <a:pt x="4971521" y="6350"/>
                </a:lnTo>
                <a:lnTo>
                  <a:pt x="4979459" y="9525"/>
                </a:lnTo>
                <a:lnTo>
                  <a:pt x="4988454" y="11906"/>
                </a:lnTo>
                <a:lnTo>
                  <a:pt x="5006446" y="17463"/>
                </a:lnTo>
                <a:lnTo>
                  <a:pt x="5023379" y="21431"/>
                </a:lnTo>
                <a:lnTo>
                  <a:pt x="5040313" y="24606"/>
                </a:lnTo>
                <a:lnTo>
                  <a:pt x="5058834" y="26988"/>
                </a:lnTo>
                <a:lnTo>
                  <a:pt x="5076825" y="28575"/>
                </a:lnTo>
                <a:lnTo>
                  <a:pt x="5114925" y="30956"/>
                </a:lnTo>
                <a:lnTo>
                  <a:pt x="5152496" y="31750"/>
                </a:lnTo>
                <a:lnTo>
                  <a:pt x="5189009" y="31750"/>
                </a:lnTo>
                <a:lnTo>
                  <a:pt x="5222875" y="30956"/>
                </a:lnTo>
                <a:lnTo>
                  <a:pt x="5253038" y="30163"/>
                </a:lnTo>
                <a:lnTo>
                  <a:pt x="5276850" y="30163"/>
                </a:lnTo>
                <a:lnTo>
                  <a:pt x="5413904" y="25400"/>
                </a:lnTo>
                <a:lnTo>
                  <a:pt x="5421313" y="26194"/>
                </a:lnTo>
                <a:lnTo>
                  <a:pt x="5428192" y="26988"/>
                </a:lnTo>
                <a:lnTo>
                  <a:pt x="5434542" y="27781"/>
                </a:lnTo>
                <a:lnTo>
                  <a:pt x="5441421" y="28575"/>
                </a:lnTo>
                <a:lnTo>
                  <a:pt x="5712354" y="49213"/>
                </a:lnTo>
                <a:lnTo>
                  <a:pt x="5706534" y="44450"/>
                </a:lnTo>
                <a:lnTo>
                  <a:pt x="5700713" y="39688"/>
                </a:lnTo>
                <a:lnTo>
                  <a:pt x="5694892" y="36513"/>
                </a:lnTo>
                <a:lnTo>
                  <a:pt x="5689072" y="33338"/>
                </a:lnTo>
                <a:lnTo>
                  <a:pt x="5675842" y="28575"/>
                </a:lnTo>
                <a:lnTo>
                  <a:pt x="5662084" y="25400"/>
                </a:lnTo>
                <a:lnTo>
                  <a:pt x="5645679" y="22225"/>
                </a:lnTo>
                <a:lnTo>
                  <a:pt x="5627159" y="17463"/>
                </a:lnTo>
                <a:lnTo>
                  <a:pt x="5605992" y="11113"/>
                </a:lnTo>
                <a:lnTo>
                  <a:pt x="5582709" y="3175"/>
                </a:lnTo>
                <a:lnTo>
                  <a:pt x="5655734" y="79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38812820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C8D2AF95-49EB-4417-8AFD-46C9901193E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25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endParaRPr lang="id-ID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1E3B8610-D9B0-4CC8-B76C-2AD4474B5172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111372" y="917916"/>
            <a:ext cx="4051130" cy="3793138"/>
          </a:xfrm>
          <a:custGeom>
            <a:avLst/>
            <a:gdLst>
              <a:gd name="connsiteX0" fmla="*/ 0 w 4933950"/>
              <a:gd name="connsiteY0" fmla="*/ 0 h 4565650"/>
              <a:gd name="connsiteX1" fmla="*/ 4933950 w 4933950"/>
              <a:gd name="connsiteY1" fmla="*/ 0 h 4565650"/>
              <a:gd name="connsiteX2" fmla="*/ 4933950 w 4933950"/>
              <a:gd name="connsiteY2" fmla="*/ 4565650 h 4565650"/>
              <a:gd name="connsiteX3" fmla="*/ 0 w 4933950"/>
              <a:gd name="connsiteY3" fmla="*/ 4565650 h 4565650"/>
              <a:gd name="connsiteX4" fmla="*/ 0 w 4933950"/>
              <a:gd name="connsiteY4" fmla="*/ 0 h 4565650"/>
              <a:gd name="connsiteX0" fmla="*/ 0 w 4933950"/>
              <a:gd name="connsiteY0" fmla="*/ 1364343 h 5929993"/>
              <a:gd name="connsiteX1" fmla="*/ 4803322 w 4933950"/>
              <a:gd name="connsiteY1" fmla="*/ 0 h 5929993"/>
              <a:gd name="connsiteX2" fmla="*/ 4933950 w 4933950"/>
              <a:gd name="connsiteY2" fmla="*/ 5929993 h 5929993"/>
              <a:gd name="connsiteX3" fmla="*/ 0 w 4933950"/>
              <a:gd name="connsiteY3" fmla="*/ 5929993 h 5929993"/>
              <a:gd name="connsiteX4" fmla="*/ 0 w 4933950"/>
              <a:gd name="connsiteY4" fmla="*/ 1364343 h 5929993"/>
              <a:gd name="connsiteX0" fmla="*/ 0 w 4933950"/>
              <a:gd name="connsiteY0" fmla="*/ 1204685 h 5770335"/>
              <a:gd name="connsiteX1" fmla="*/ 4817836 w 4933950"/>
              <a:gd name="connsiteY1" fmla="*/ 0 h 5770335"/>
              <a:gd name="connsiteX2" fmla="*/ 4933950 w 4933950"/>
              <a:gd name="connsiteY2" fmla="*/ 5770335 h 5770335"/>
              <a:gd name="connsiteX3" fmla="*/ 0 w 4933950"/>
              <a:gd name="connsiteY3" fmla="*/ 5770335 h 5770335"/>
              <a:gd name="connsiteX4" fmla="*/ 0 w 4933950"/>
              <a:gd name="connsiteY4" fmla="*/ 1204685 h 5770335"/>
              <a:gd name="connsiteX0" fmla="*/ 0 w 4933950"/>
              <a:gd name="connsiteY0" fmla="*/ 1103085 h 5668735"/>
              <a:gd name="connsiteX1" fmla="*/ 4774293 w 4933950"/>
              <a:gd name="connsiteY1" fmla="*/ 0 h 5668735"/>
              <a:gd name="connsiteX2" fmla="*/ 4933950 w 4933950"/>
              <a:gd name="connsiteY2" fmla="*/ 5668735 h 5668735"/>
              <a:gd name="connsiteX3" fmla="*/ 0 w 4933950"/>
              <a:gd name="connsiteY3" fmla="*/ 5668735 h 5668735"/>
              <a:gd name="connsiteX4" fmla="*/ 0 w 4933950"/>
              <a:gd name="connsiteY4" fmla="*/ 1103085 h 5668735"/>
              <a:gd name="connsiteX0" fmla="*/ 0 w 4933950"/>
              <a:gd name="connsiteY0" fmla="*/ 1045028 h 5610678"/>
              <a:gd name="connsiteX1" fmla="*/ 4803322 w 4933950"/>
              <a:gd name="connsiteY1" fmla="*/ 0 h 5610678"/>
              <a:gd name="connsiteX2" fmla="*/ 4933950 w 4933950"/>
              <a:gd name="connsiteY2" fmla="*/ 5610678 h 5610678"/>
              <a:gd name="connsiteX3" fmla="*/ 0 w 4933950"/>
              <a:gd name="connsiteY3" fmla="*/ 5610678 h 5610678"/>
              <a:gd name="connsiteX4" fmla="*/ 0 w 4933950"/>
              <a:gd name="connsiteY4" fmla="*/ 1045028 h 5610678"/>
              <a:gd name="connsiteX0" fmla="*/ 0 w 4933950"/>
              <a:gd name="connsiteY0" fmla="*/ 1059543 h 5625193"/>
              <a:gd name="connsiteX1" fmla="*/ 4803322 w 4933950"/>
              <a:gd name="connsiteY1" fmla="*/ 0 h 5625193"/>
              <a:gd name="connsiteX2" fmla="*/ 4933950 w 4933950"/>
              <a:gd name="connsiteY2" fmla="*/ 5625193 h 5625193"/>
              <a:gd name="connsiteX3" fmla="*/ 0 w 4933950"/>
              <a:gd name="connsiteY3" fmla="*/ 5625193 h 5625193"/>
              <a:gd name="connsiteX4" fmla="*/ 0 w 4933950"/>
              <a:gd name="connsiteY4" fmla="*/ 1059543 h 5625193"/>
              <a:gd name="connsiteX0" fmla="*/ 0 w 4933950"/>
              <a:gd name="connsiteY0" fmla="*/ 1074057 h 5639707"/>
              <a:gd name="connsiteX1" fmla="*/ 4774293 w 4933950"/>
              <a:gd name="connsiteY1" fmla="*/ 0 h 5639707"/>
              <a:gd name="connsiteX2" fmla="*/ 4933950 w 4933950"/>
              <a:gd name="connsiteY2" fmla="*/ 5639707 h 5639707"/>
              <a:gd name="connsiteX3" fmla="*/ 0 w 4933950"/>
              <a:gd name="connsiteY3" fmla="*/ 5639707 h 5639707"/>
              <a:gd name="connsiteX4" fmla="*/ 0 w 4933950"/>
              <a:gd name="connsiteY4" fmla="*/ 1074057 h 5639707"/>
              <a:gd name="connsiteX0" fmla="*/ 0 w 4933950"/>
              <a:gd name="connsiteY0" fmla="*/ 1103086 h 5668736"/>
              <a:gd name="connsiteX1" fmla="*/ 4803322 w 4933950"/>
              <a:gd name="connsiteY1" fmla="*/ 0 h 5668736"/>
              <a:gd name="connsiteX2" fmla="*/ 4933950 w 4933950"/>
              <a:gd name="connsiteY2" fmla="*/ 5668736 h 5668736"/>
              <a:gd name="connsiteX3" fmla="*/ 0 w 4933950"/>
              <a:gd name="connsiteY3" fmla="*/ 5668736 h 5668736"/>
              <a:gd name="connsiteX4" fmla="*/ 0 w 4933950"/>
              <a:gd name="connsiteY4" fmla="*/ 1103086 h 5668736"/>
              <a:gd name="connsiteX0" fmla="*/ 0 w 4977493"/>
              <a:gd name="connsiteY0" fmla="*/ 1103086 h 5813879"/>
              <a:gd name="connsiteX1" fmla="*/ 4803322 w 4977493"/>
              <a:gd name="connsiteY1" fmla="*/ 0 h 5813879"/>
              <a:gd name="connsiteX2" fmla="*/ 4977493 w 4977493"/>
              <a:gd name="connsiteY2" fmla="*/ 5813879 h 5813879"/>
              <a:gd name="connsiteX3" fmla="*/ 0 w 4977493"/>
              <a:gd name="connsiteY3" fmla="*/ 5668736 h 5813879"/>
              <a:gd name="connsiteX4" fmla="*/ 0 w 4977493"/>
              <a:gd name="connsiteY4" fmla="*/ 1103086 h 5813879"/>
              <a:gd name="connsiteX0" fmla="*/ 0 w 4992007"/>
              <a:gd name="connsiteY0" fmla="*/ 1103086 h 5871936"/>
              <a:gd name="connsiteX1" fmla="*/ 4803322 w 4992007"/>
              <a:gd name="connsiteY1" fmla="*/ 0 h 5871936"/>
              <a:gd name="connsiteX2" fmla="*/ 4992007 w 4992007"/>
              <a:gd name="connsiteY2" fmla="*/ 5871936 h 5871936"/>
              <a:gd name="connsiteX3" fmla="*/ 0 w 4992007"/>
              <a:gd name="connsiteY3" fmla="*/ 5668736 h 5871936"/>
              <a:gd name="connsiteX4" fmla="*/ 0 w 4992007"/>
              <a:gd name="connsiteY4" fmla="*/ 1103086 h 5871936"/>
              <a:gd name="connsiteX0" fmla="*/ 0 w 5035550"/>
              <a:gd name="connsiteY0" fmla="*/ 1103086 h 5886450"/>
              <a:gd name="connsiteX1" fmla="*/ 4803322 w 5035550"/>
              <a:gd name="connsiteY1" fmla="*/ 0 h 5886450"/>
              <a:gd name="connsiteX2" fmla="*/ 5035550 w 5035550"/>
              <a:gd name="connsiteY2" fmla="*/ 5886450 h 5886450"/>
              <a:gd name="connsiteX3" fmla="*/ 0 w 5035550"/>
              <a:gd name="connsiteY3" fmla="*/ 5668736 h 5886450"/>
              <a:gd name="connsiteX4" fmla="*/ 0 w 5035550"/>
              <a:gd name="connsiteY4" fmla="*/ 1103086 h 5886450"/>
              <a:gd name="connsiteX0" fmla="*/ 0 w 5064579"/>
              <a:gd name="connsiteY0" fmla="*/ 1103086 h 5886450"/>
              <a:gd name="connsiteX1" fmla="*/ 4803322 w 5064579"/>
              <a:gd name="connsiteY1" fmla="*/ 0 h 5886450"/>
              <a:gd name="connsiteX2" fmla="*/ 5064579 w 5064579"/>
              <a:gd name="connsiteY2" fmla="*/ 5886450 h 5886450"/>
              <a:gd name="connsiteX3" fmla="*/ 0 w 5064579"/>
              <a:gd name="connsiteY3" fmla="*/ 5668736 h 5886450"/>
              <a:gd name="connsiteX4" fmla="*/ 0 w 5064579"/>
              <a:gd name="connsiteY4" fmla="*/ 1103086 h 5886450"/>
              <a:gd name="connsiteX0" fmla="*/ 14515 w 5079094"/>
              <a:gd name="connsiteY0" fmla="*/ 1103086 h 5900964"/>
              <a:gd name="connsiteX1" fmla="*/ 4817837 w 5079094"/>
              <a:gd name="connsiteY1" fmla="*/ 0 h 5900964"/>
              <a:gd name="connsiteX2" fmla="*/ 5079094 w 5079094"/>
              <a:gd name="connsiteY2" fmla="*/ 5886450 h 5900964"/>
              <a:gd name="connsiteX3" fmla="*/ 0 w 5079094"/>
              <a:gd name="connsiteY3" fmla="*/ 5900964 h 5900964"/>
              <a:gd name="connsiteX4" fmla="*/ 14515 w 5079094"/>
              <a:gd name="connsiteY4" fmla="*/ 1103086 h 5900964"/>
              <a:gd name="connsiteX0" fmla="*/ 116115 w 5180694"/>
              <a:gd name="connsiteY0" fmla="*/ 1103086 h 5886450"/>
              <a:gd name="connsiteX1" fmla="*/ 4919437 w 5180694"/>
              <a:gd name="connsiteY1" fmla="*/ 0 h 5886450"/>
              <a:gd name="connsiteX2" fmla="*/ 5180694 w 5180694"/>
              <a:gd name="connsiteY2" fmla="*/ 5886450 h 5886450"/>
              <a:gd name="connsiteX3" fmla="*/ 0 w 5180694"/>
              <a:gd name="connsiteY3" fmla="*/ 5857421 h 5886450"/>
              <a:gd name="connsiteX4" fmla="*/ 116115 w 5180694"/>
              <a:gd name="connsiteY4" fmla="*/ 1103086 h 5886450"/>
              <a:gd name="connsiteX0" fmla="*/ 101601 w 5166180"/>
              <a:gd name="connsiteY0" fmla="*/ 1103086 h 5886450"/>
              <a:gd name="connsiteX1" fmla="*/ 4904923 w 5166180"/>
              <a:gd name="connsiteY1" fmla="*/ 0 h 5886450"/>
              <a:gd name="connsiteX2" fmla="*/ 5166180 w 5166180"/>
              <a:gd name="connsiteY2" fmla="*/ 5886450 h 5886450"/>
              <a:gd name="connsiteX3" fmla="*/ 0 w 5166180"/>
              <a:gd name="connsiteY3" fmla="*/ 5755821 h 5886450"/>
              <a:gd name="connsiteX4" fmla="*/ 101601 w 5166180"/>
              <a:gd name="connsiteY4" fmla="*/ 1103086 h 5886450"/>
              <a:gd name="connsiteX0" fmla="*/ 72572 w 5137151"/>
              <a:gd name="connsiteY0" fmla="*/ 1103086 h 5886450"/>
              <a:gd name="connsiteX1" fmla="*/ 4875894 w 5137151"/>
              <a:gd name="connsiteY1" fmla="*/ 0 h 5886450"/>
              <a:gd name="connsiteX2" fmla="*/ 5137151 w 5137151"/>
              <a:gd name="connsiteY2" fmla="*/ 5886450 h 5886450"/>
              <a:gd name="connsiteX3" fmla="*/ 0 w 5137151"/>
              <a:gd name="connsiteY3" fmla="*/ 5813879 h 5886450"/>
              <a:gd name="connsiteX4" fmla="*/ 72572 w 5137151"/>
              <a:gd name="connsiteY4" fmla="*/ 1103086 h 5886450"/>
              <a:gd name="connsiteX0" fmla="*/ 14515 w 5079094"/>
              <a:gd name="connsiteY0" fmla="*/ 1103086 h 5886450"/>
              <a:gd name="connsiteX1" fmla="*/ 4817837 w 5079094"/>
              <a:gd name="connsiteY1" fmla="*/ 0 h 5886450"/>
              <a:gd name="connsiteX2" fmla="*/ 5079094 w 5079094"/>
              <a:gd name="connsiteY2" fmla="*/ 5886450 h 5886450"/>
              <a:gd name="connsiteX3" fmla="*/ 0 w 5079094"/>
              <a:gd name="connsiteY3" fmla="*/ 5770336 h 5886450"/>
              <a:gd name="connsiteX4" fmla="*/ 14515 w 5079094"/>
              <a:gd name="connsiteY4" fmla="*/ 1103086 h 5886450"/>
              <a:gd name="connsiteX0" fmla="*/ 87086 w 5151665"/>
              <a:gd name="connsiteY0" fmla="*/ 1103086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87086 w 5151665"/>
              <a:gd name="connsiteY4" fmla="*/ 1103086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29029 w 5151665"/>
              <a:gd name="connsiteY0" fmla="*/ 1117600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9029 w 5151665"/>
              <a:gd name="connsiteY4" fmla="*/ 1117600 h 5886450"/>
              <a:gd name="connsiteX0" fmla="*/ 0 w 5166179"/>
              <a:gd name="connsiteY0" fmla="*/ 1175657 h 5886450"/>
              <a:gd name="connsiteX1" fmla="*/ 4904922 w 5166179"/>
              <a:gd name="connsiteY1" fmla="*/ 0 h 5886450"/>
              <a:gd name="connsiteX2" fmla="*/ 5166179 w 5166179"/>
              <a:gd name="connsiteY2" fmla="*/ 5886450 h 5886450"/>
              <a:gd name="connsiteX3" fmla="*/ 14514 w 5166179"/>
              <a:gd name="connsiteY3" fmla="*/ 5813879 h 5886450"/>
              <a:gd name="connsiteX4" fmla="*/ 0 w 5166179"/>
              <a:gd name="connsiteY4" fmla="*/ 1175657 h 5886450"/>
              <a:gd name="connsiteX0" fmla="*/ 3882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38826 w 5151665"/>
              <a:gd name="connsiteY4" fmla="*/ 1160417 h 5886450"/>
              <a:gd name="connsiteX0" fmla="*/ 23586 w 5151665"/>
              <a:gd name="connsiteY0" fmla="*/ 116041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23586 w 5151665"/>
              <a:gd name="connsiteY4" fmla="*/ 1160417 h 5886450"/>
              <a:gd name="connsiteX0" fmla="*/ 726 w 5151665"/>
              <a:gd name="connsiteY0" fmla="*/ 114517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726 w 5151665"/>
              <a:gd name="connsiteY4" fmla="*/ 114517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51665"/>
              <a:gd name="connsiteY0" fmla="*/ 1137557 h 5886450"/>
              <a:gd name="connsiteX1" fmla="*/ 4890408 w 5151665"/>
              <a:gd name="connsiteY1" fmla="*/ 0 h 5886450"/>
              <a:gd name="connsiteX2" fmla="*/ 5151665 w 5151665"/>
              <a:gd name="connsiteY2" fmla="*/ 5886450 h 5886450"/>
              <a:gd name="connsiteX3" fmla="*/ 0 w 5151665"/>
              <a:gd name="connsiteY3" fmla="*/ 5813879 h 5886450"/>
              <a:gd name="connsiteX4" fmla="*/ 15966 w 5151665"/>
              <a:gd name="connsiteY4" fmla="*/ 1137557 h 5886450"/>
              <a:gd name="connsiteX0" fmla="*/ 15966 w 5126265"/>
              <a:gd name="connsiteY0" fmla="*/ 1137557 h 5899150"/>
              <a:gd name="connsiteX1" fmla="*/ 4890408 w 5126265"/>
              <a:gd name="connsiteY1" fmla="*/ 0 h 5899150"/>
              <a:gd name="connsiteX2" fmla="*/ 5126265 w 5126265"/>
              <a:gd name="connsiteY2" fmla="*/ 5899150 h 5899150"/>
              <a:gd name="connsiteX3" fmla="*/ 0 w 5126265"/>
              <a:gd name="connsiteY3" fmla="*/ 5813879 h 5899150"/>
              <a:gd name="connsiteX4" fmla="*/ 15966 w 5126265"/>
              <a:gd name="connsiteY4" fmla="*/ 1137557 h 5899150"/>
              <a:gd name="connsiteX0" fmla="*/ 15966 w 5138965"/>
              <a:gd name="connsiteY0" fmla="*/ 1137557 h 5899150"/>
              <a:gd name="connsiteX1" fmla="*/ 4890408 w 5138965"/>
              <a:gd name="connsiteY1" fmla="*/ 0 h 5899150"/>
              <a:gd name="connsiteX2" fmla="*/ 5138965 w 5138965"/>
              <a:gd name="connsiteY2" fmla="*/ 5899150 h 5899150"/>
              <a:gd name="connsiteX3" fmla="*/ 0 w 5138965"/>
              <a:gd name="connsiteY3" fmla="*/ 5813879 h 5899150"/>
              <a:gd name="connsiteX4" fmla="*/ 15966 w 5138965"/>
              <a:gd name="connsiteY4" fmla="*/ 1137557 h 5899150"/>
              <a:gd name="connsiteX0" fmla="*/ 15966 w 5138965"/>
              <a:gd name="connsiteY0" fmla="*/ 1156607 h 5918200"/>
              <a:gd name="connsiteX1" fmla="*/ 4884058 w 5138965"/>
              <a:gd name="connsiteY1" fmla="*/ 0 h 5918200"/>
              <a:gd name="connsiteX2" fmla="*/ 5138965 w 5138965"/>
              <a:gd name="connsiteY2" fmla="*/ 5918200 h 5918200"/>
              <a:gd name="connsiteX3" fmla="*/ 0 w 5138965"/>
              <a:gd name="connsiteY3" fmla="*/ 5832929 h 5918200"/>
              <a:gd name="connsiteX4" fmla="*/ 15966 w 5138965"/>
              <a:gd name="connsiteY4" fmla="*/ 1156607 h 5918200"/>
              <a:gd name="connsiteX0" fmla="*/ 3266 w 5126265"/>
              <a:gd name="connsiteY0" fmla="*/ 1156607 h 5918200"/>
              <a:gd name="connsiteX1" fmla="*/ 4871358 w 5126265"/>
              <a:gd name="connsiteY1" fmla="*/ 0 h 5918200"/>
              <a:gd name="connsiteX2" fmla="*/ 5126265 w 5126265"/>
              <a:gd name="connsiteY2" fmla="*/ 5918200 h 5918200"/>
              <a:gd name="connsiteX3" fmla="*/ 0 w 5126265"/>
              <a:gd name="connsiteY3" fmla="*/ 5839279 h 5918200"/>
              <a:gd name="connsiteX4" fmla="*/ 3266 w 5126265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9434 w 5122999"/>
              <a:gd name="connsiteY3" fmla="*/ 586467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58329 h 5918200"/>
              <a:gd name="connsiteX4" fmla="*/ 0 w 5122999"/>
              <a:gd name="connsiteY4" fmla="*/ 1156607 h 5918200"/>
              <a:gd name="connsiteX0" fmla="*/ 0 w 5122999"/>
              <a:gd name="connsiteY0" fmla="*/ 1156607 h 5918200"/>
              <a:gd name="connsiteX1" fmla="*/ 4868092 w 5122999"/>
              <a:gd name="connsiteY1" fmla="*/ 0 h 5918200"/>
              <a:gd name="connsiteX2" fmla="*/ 5122999 w 5122999"/>
              <a:gd name="connsiteY2" fmla="*/ 5918200 h 5918200"/>
              <a:gd name="connsiteX3" fmla="*/ 3084 w 5122999"/>
              <a:gd name="connsiteY3" fmla="*/ 5845629 h 5918200"/>
              <a:gd name="connsiteX4" fmla="*/ 0 w 5122999"/>
              <a:gd name="connsiteY4" fmla="*/ 1156607 h 5918200"/>
              <a:gd name="connsiteX0" fmla="*/ 0 w 5122999"/>
              <a:gd name="connsiteY0" fmla="*/ 1093107 h 5854700"/>
              <a:gd name="connsiteX1" fmla="*/ 5007792 w 5122999"/>
              <a:gd name="connsiteY1" fmla="*/ 0 h 5854700"/>
              <a:gd name="connsiteX2" fmla="*/ 5122999 w 5122999"/>
              <a:gd name="connsiteY2" fmla="*/ 5854700 h 5854700"/>
              <a:gd name="connsiteX3" fmla="*/ 3084 w 5122999"/>
              <a:gd name="connsiteY3" fmla="*/ 5782129 h 5854700"/>
              <a:gd name="connsiteX4" fmla="*/ 0 w 5122999"/>
              <a:gd name="connsiteY4" fmla="*/ 1093107 h 5854700"/>
              <a:gd name="connsiteX0" fmla="*/ 0 w 5122999"/>
              <a:gd name="connsiteY0" fmla="*/ 1012144 h 5773737"/>
              <a:gd name="connsiteX1" fmla="*/ 5074467 w 5122999"/>
              <a:gd name="connsiteY1" fmla="*/ 0 h 5773737"/>
              <a:gd name="connsiteX2" fmla="*/ 5122999 w 5122999"/>
              <a:gd name="connsiteY2" fmla="*/ 5773737 h 5773737"/>
              <a:gd name="connsiteX3" fmla="*/ 3084 w 5122999"/>
              <a:gd name="connsiteY3" fmla="*/ 5701166 h 5773737"/>
              <a:gd name="connsiteX4" fmla="*/ 0 w 5122999"/>
              <a:gd name="connsiteY4" fmla="*/ 1012144 h 5773737"/>
              <a:gd name="connsiteX0" fmla="*/ 0 w 5126855"/>
              <a:gd name="connsiteY0" fmla="*/ 969282 h 5730875"/>
              <a:gd name="connsiteX1" fmla="*/ 5126855 w 5126855"/>
              <a:gd name="connsiteY1" fmla="*/ 0 h 5730875"/>
              <a:gd name="connsiteX2" fmla="*/ 5122999 w 5126855"/>
              <a:gd name="connsiteY2" fmla="*/ 5730875 h 5730875"/>
              <a:gd name="connsiteX3" fmla="*/ 3084 w 5126855"/>
              <a:gd name="connsiteY3" fmla="*/ 5658304 h 5730875"/>
              <a:gd name="connsiteX4" fmla="*/ 0 w 5126855"/>
              <a:gd name="connsiteY4" fmla="*/ 969282 h 5730875"/>
              <a:gd name="connsiteX0" fmla="*/ 0 w 5198292"/>
              <a:gd name="connsiteY0" fmla="*/ 878794 h 5640387"/>
              <a:gd name="connsiteX1" fmla="*/ 5198292 w 5198292"/>
              <a:gd name="connsiteY1" fmla="*/ 0 h 5640387"/>
              <a:gd name="connsiteX2" fmla="*/ 5122999 w 5198292"/>
              <a:gd name="connsiteY2" fmla="*/ 5640387 h 5640387"/>
              <a:gd name="connsiteX3" fmla="*/ 3084 w 5198292"/>
              <a:gd name="connsiteY3" fmla="*/ 5567816 h 5640387"/>
              <a:gd name="connsiteX4" fmla="*/ 0 w 5198292"/>
              <a:gd name="connsiteY4" fmla="*/ 878794 h 5640387"/>
              <a:gd name="connsiteX0" fmla="*/ 0 w 5212580"/>
              <a:gd name="connsiteY0" fmla="*/ 874032 h 5635625"/>
              <a:gd name="connsiteX1" fmla="*/ 5212580 w 5212580"/>
              <a:gd name="connsiteY1" fmla="*/ 0 h 5635625"/>
              <a:gd name="connsiteX2" fmla="*/ 5122999 w 5212580"/>
              <a:gd name="connsiteY2" fmla="*/ 5635625 h 5635625"/>
              <a:gd name="connsiteX3" fmla="*/ 3084 w 5212580"/>
              <a:gd name="connsiteY3" fmla="*/ 5563054 h 5635625"/>
              <a:gd name="connsiteX4" fmla="*/ 0 w 5212580"/>
              <a:gd name="connsiteY4" fmla="*/ 874032 h 5635625"/>
              <a:gd name="connsiteX0" fmla="*/ 0 w 5417368"/>
              <a:gd name="connsiteY0" fmla="*/ 769257 h 5635625"/>
              <a:gd name="connsiteX1" fmla="*/ 5417368 w 5417368"/>
              <a:gd name="connsiteY1" fmla="*/ 0 h 5635625"/>
              <a:gd name="connsiteX2" fmla="*/ 5327787 w 5417368"/>
              <a:gd name="connsiteY2" fmla="*/ 5635625 h 5635625"/>
              <a:gd name="connsiteX3" fmla="*/ 207872 w 5417368"/>
              <a:gd name="connsiteY3" fmla="*/ 5563054 h 5635625"/>
              <a:gd name="connsiteX4" fmla="*/ 0 w 5417368"/>
              <a:gd name="connsiteY4" fmla="*/ 769257 h 5635625"/>
              <a:gd name="connsiteX0" fmla="*/ 0 w 5722168"/>
              <a:gd name="connsiteY0" fmla="*/ 654957 h 5635625"/>
              <a:gd name="connsiteX1" fmla="*/ 5722168 w 5722168"/>
              <a:gd name="connsiteY1" fmla="*/ 0 h 5635625"/>
              <a:gd name="connsiteX2" fmla="*/ 5632587 w 5722168"/>
              <a:gd name="connsiteY2" fmla="*/ 5635625 h 5635625"/>
              <a:gd name="connsiteX3" fmla="*/ 512672 w 5722168"/>
              <a:gd name="connsiteY3" fmla="*/ 5563054 h 5635625"/>
              <a:gd name="connsiteX4" fmla="*/ 0 w 5722168"/>
              <a:gd name="connsiteY4" fmla="*/ 654957 h 5635625"/>
              <a:gd name="connsiteX0" fmla="*/ 0 w 5712643"/>
              <a:gd name="connsiteY0" fmla="*/ 597807 h 5635625"/>
              <a:gd name="connsiteX1" fmla="*/ 5712643 w 5712643"/>
              <a:gd name="connsiteY1" fmla="*/ 0 h 5635625"/>
              <a:gd name="connsiteX2" fmla="*/ 5623062 w 5712643"/>
              <a:gd name="connsiteY2" fmla="*/ 5635625 h 5635625"/>
              <a:gd name="connsiteX3" fmla="*/ 503147 w 5712643"/>
              <a:gd name="connsiteY3" fmla="*/ 5563054 h 5635625"/>
              <a:gd name="connsiteX4" fmla="*/ 0 w 5712643"/>
              <a:gd name="connsiteY4" fmla="*/ 597807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522197 w 5731693"/>
              <a:gd name="connsiteY3" fmla="*/ 556305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403135 w 5731693"/>
              <a:gd name="connsiteY3" fmla="*/ 55201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317410 w 5731693"/>
              <a:gd name="connsiteY3" fmla="*/ 54297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274547 w 5731693"/>
              <a:gd name="connsiteY3" fmla="*/ 54201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88822 w 5731693"/>
              <a:gd name="connsiteY3" fmla="*/ 5382079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36435 w 5731693"/>
              <a:gd name="connsiteY3" fmla="*/ 5291591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55485 w 5731693"/>
              <a:gd name="connsiteY3" fmla="*/ 5277304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9297 w 5731693"/>
              <a:gd name="connsiteY3" fmla="*/ 5291592 h 5635625"/>
              <a:gd name="connsiteX4" fmla="*/ 0 w 5731693"/>
              <a:gd name="connsiteY4" fmla="*/ 569232 h 5635625"/>
              <a:gd name="connsiteX0" fmla="*/ 0 w 5731693"/>
              <a:gd name="connsiteY0" fmla="*/ 569232 h 5635625"/>
              <a:gd name="connsiteX1" fmla="*/ 5731693 w 5731693"/>
              <a:gd name="connsiteY1" fmla="*/ 0 h 5635625"/>
              <a:gd name="connsiteX2" fmla="*/ 5642112 w 5731693"/>
              <a:gd name="connsiteY2" fmla="*/ 5635625 h 5635625"/>
              <a:gd name="connsiteX3" fmla="*/ 174535 w 5731693"/>
              <a:gd name="connsiteY3" fmla="*/ 5305879 h 5635625"/>
              <a:gd name="connsiteX4" fmla="*/ 0 w 5731693"/>
              <a:gd name="connsiteY4" fmla="*/ 569232 h 5635625"/>
              <a:gd name="connsiteX0" fmla="*/ 0 w 5789769"/>
              <a:gd name="connsiteY0" fmla="*/ 569232 h 5854700"/>
              <a:gd name="connsiteX1" fmla="*/ 5731693 w 5789769"/>
              <a:gd name="connsiteY1" fmla="*/ 0 h 5854700"/>
              <a:gd name="connsiteX2" fmla="*/ 5789749 w 5789769"/>
              <a:gd name="connsiteY2" fmla="*/ 5854700 h 5854700"/>
              <a:gd name="connsiteX3" fmla="*/ 174535 w 5789769"/>
              <a:gd name="connsiteY3" fmla="*/ 5305879 h 5854700"/>
              <a:gd name="connsiteX4" fmla="*/ 0 w 5789769"/>
              <a:gd name="connsiteY4" fmla="*/ 569232 h 5854700"/>
              <a:gd name="connsiteX0" fmla="*/ 0 w 6199326"/>
              <a:gd name="connsiteY0" fmla="*/ 569232 h 5973763"/>
              <a:gd name="connsiteX1" fmla="*/ 5731693 w 6199326"/>
              <a:gd name="connsiteY1" fmla="*/ 0 h 5973763"/>
              <a:gd name="connsiteX2" fmla="*/ 6199324 w 6199326"/>
              <a:gd name="connsiteY2" fmla="*/ 5973763 h 5973763"/>
              <a:gd name="connsiteX3" fmla="*/ 174535 w 6199326"/>
              <a:gd name="connsiteY3" fmla="*/ 5305879 h 5973763"/>
              <a:gd name="connsiteX4" fmla="*/ 0 w 6199326"/>
              <a:gd name="connsiteY4" fmla="*/ 569232 h 5973763"/>
              <a:gd name="connsiteX0" fmla="*/ 0 w 6237426"/>
              <a:gd name="connsiteY0" fmla="*/ 569232 h 5959475"/>
              <a:gd name="connsiteX1" fmla="*/ 5731693 w 6237426"/>
              <a:gd name="connsiteY1" fmla="*/ 0 h 5959475"/>
              <a:gd name="connsiteX2" fmla="*/ 6237424 w 6237426"/>
              <a:gd name="connsiteY2" fmla="*/ 5959475 h 5959475"/>
              <a:gd name="connsiteX3" fmla="*/ 174535 w 6237426"/>
              <a:gd name="connsiteY3" fmla="*/ 5305879 h 5959475"/>
              <a:gd name="connsiteX4" fmla="*/ 0 w 6237426"/>
              <a:gd name="connsiteY4" fmla="*/ 569232 h 5959475"/>
              <a:gd name="connsiteX0" fmla="*/ 0 w 6266001"/>
              <a:gd name="connsiteY0" fmla="*/ 569232 h 5983287"/>
              <a:gd name="connsiteX1" fmla="*/ 5731693 w 6266001"/>
              <a:gd name="connsiteY1" fmla="*/ 0 h 5983287"/>
              <a:gd name="connsiteX2" fmla="*/ 6265999 w 6266001"/>
              <a:gd name="connsiteY2" fmla="*/ 5983287 h 5983287"/>
              <a:gd name="connsiteX3" fmla="*/ 174535 w 6266001"/>
              <a:gd name="connsiteY3" fmla="*/ 5305879 h 5983287"/>
              <a:gd name="connsiteX4" fmla="*/ 0 w 6266001"/>
              <a:gd name="connsiteY4" fmla="*/ 569232 h 5983287"/>
              <a:gd name="connsiteX0" fmla="*/ 0 w 6265999"/>
              <a:gd name="connsiteY0" fmla="*/ 569232 h 5983287"/>
              <a:gd name="connsiteX1" fmla="*/ 5731693 w 6265999"/>
              <a:gd name="connsiteY1" fmla="*/ 0 h 5983287"/>
              <a:gd name="connsiteX2" fmla="*/ 6265999 w 6265999"/>
              <a:gd name="connsiteY2" fmla="*/ 5983287 h 5983287"/>
              <a:gd name="connsiteX3" fmla="*/ 174535 w 6265999"/>
              <a:gd name="connsiteY3" fmla="*/ 5305879 h 5983287"/>
              <a:gd name="connsiteX4" fmla="*/ 0 w 6265999"/>
              <a:gd name="connsiteY4" fmla="*/ 569232 h 5983287"/>
              <a:gd name="connsiteX0" fmla="*/ 0 w 6266543"/>
              <a:gd name="connsiteY0" fmla="*/ 569232 h 5983385"/>
              <a:gd name="connsiteX1" fmla="*/ 5731693 w 6266543"/>
              <a:gd name="connsiteY1" fmla="*/ 0 h 5983385"/>
              <a:gd name="connsiteX2" fmla="*/ 6265999 w 6266543"/>
              <a:gd name="connsiteY2" fmla="*/ 5983287 h 5983385"/>
              <a:gd name="connsiteX3" fmla="*/ 174535 w 6266543"/>
              <a:gd name="connsiteY3" fmla="*/ 5305879 h 5983385"/>
              <a:gd name="connsiteX4" fmla="*/ 0 w 6266543"/>
              <a:gd name="connsiteY4" fmla="*/ 569232 h 5983385"/>
              <a:gd name="connsiteX0" fmla="*/ 0 w 6266049"/>
              <a:gd name="connsiteY0" fmla="*/ 569232 h 5983301"/>
              <a:gd name="connsiteX1" fmla="*/ 5731693 w 6266049"/>
              <a:gd name="connsiteY1" fmla="*/ 0 h 5983301"/>
              <a:gd name="connsiteX2" fmla="*/ 6265999 w 6266049"/>
              <a:gd name="connsiteY2" fmla="*/ 5983287 h 5983301"/>
              <a:gd name="connsiteX3" fmla="*/ 174535 w 6266049"/>
              <a:gd name="connsiteY3" fmla="*/ 5305879 h 5983301"/>
              <a:gd name="connsiteX4" fmla="*/ 0 w 6266049"/>
              <a:gd name="connsiteY4" fmla="*/ 569232 h 5983301"/>
              <a:gd name="connsiteX0" fmla="*/ 0 w 6266047"/>
              <a:gd name="connsiteY0" fmla="*/ 588282 h 6002351"/>
              <a:gd name="connsiteX1" fmla="*/ 5712643 w 6266047"/>
              <a:gd name="connsiteY1" fmla="*/ 0 h 6002351"/>
              <a:gd name="connsiteX2" fmla="*/ 6265999 w 6266047"/>
              <a:gd name="connsiteY2" fmla="*/ 6002337 h 6002351"/>
              <a:gd name="connsiteX3" fmla="*/ 174535 w 6266047"/>
              <a:gd name="connsiteY3" fmla="*/ 5324929 h 6002351"/>
              <a:gd name="connsiteX4" fmla="*/ 0 w 6266047"/>
              <a:gd name="connsiteY4" fmla="*/ 588282 h 6002351"/>
              <a:gd name="connsiteX0" fmla="*/ 0 w 6266046"/>
              <a:gd name="connsiteY0" fmla="*/ 616857 h 6030926"/>
              <a:gd name="connsiteX1" fmla="*/ 5703118 w 6266046"/>
              <a:gd name="connsiteY1" fmla="*/ 0 h 6030926"/>
              <a:gd name="connsiteX2" fmla="*/ 6265999 w 6266046"/>
              <a:gd name="connsiteY2" fmla="*/ 6030912 h 6030926"/>
              <a:gd name="connsiteX3" fmla="*/ 174535 w 6266046"/>
              <a:gd name="connsiteY3" fmla="*/ 5353504 h 6030926"/>
              <a:gd name="connsiteX4" fmla="*/ 0 w 6266046"/>
              <a:gd name="connsiteY4" fmla="*/ 616857 h 6030926"/>
              <a:gd name="connsiteX0" fmla="*/ 0 w 6266046"/>
              <a:gd name="connsiteY0" fmla="*/ 616857 h 6030922"/>
              <a:gd name="connsiteX1" fmla="*/ 5703118 w 6266046"/>
              <a:gd name="connsiteY1" fmla="*/ 0 h 6030922"/>
              <a:gd name="connsiteX2" fmla="*/ 6265999 w 6266046"/>
              <a:gd name="connsiteY2" fmla="*/ 6030912 h 6030922"/>
              <a:gd name="connsiteX3" fmla="*/ 174535 w 6266046"/>
              <a:gd name="connsiteY3" fmla="*/ 5353504 h 6030922"/>
              <a:gd name="connsiteX4" fmla="*/ 0 w 6266046"/>
              <a:gd name="connsiteY4" fmla="*/ 616857 h 6030922"/>
              <a:gd name="connsiteX0" fmla="*/ 0 w 6370821"/>
              <a:gd name="connsiteY0" fmla="*/ 502557 h 6030922"/>
              <a:gd name="connsiteX1" fmla="*/ 5807893 w 6370821"/>
              <a:gd name="connsiteY1" fmla="*/ 0 h 6030922"/>
              <a:gd name="connsiteX2" fmla="*/ 6370774 w 6370821"/>
              <a:gd name="connsiteY2" fmla="*/ 6030912 h 6030922"/>
              <a:gd name="connsiteX3" fmla="*/ 279310 w 6370821"/>
              <a:gd name="connsiteY3" fmla="*/ 5353504 h 6030922"/>
              <a:gd name="connsiteX4" fmla="*/ 0 w 6370821"/>
              <a:gd name="connsiteY4" fmla="*/ 502557 h 6030922"/>
              <a:gd name="connsiteX0" fmla="*/ 0 w 6380346"/>
              <a:gd name="connsiteY0" fmla="*/ 464457 h 6030922"/>
              <a:gd name="connsiteX1" fmla="*/ 5817418 w 6380346"/>
              <a:gd name="connsiteY1" fmla="*/ 0 h 6030922"/>
              <a:gd name="connsiteX2" fmla="*/ 6380299 w 6380346"/>
              <a:gd name="connsiteY2" fmla="*/ 6030912 h 6030922"/>
              <a:gd name="connsiteX3" fmla="*/ 288835 w 6380346"/>
              <a:gd name="connsiteY3" fmla="*/ 5353504 h 6030922"/>
              <a:gd name="connsiteX4" fmla="*/ 0 w 6380346"/>
              <a:gd name="connsiteY4" fmla="*/ 464457 h 6030922"/>
              <a:gd name="connsiteX0" fmla="*/ 0 w 6418446"/>
              <a:gd name="connsiteY0" fmla="*/ 473982 h 6030922"/>
              <a:gd name="connsiteX1" fmla="*/ 5855518 w 6418446"/>
              <a:gd name="connsiteY1" fmla="*/ 0 h 6030922"/>
              <a:gd name="connsiteX2" fmla="*/ 6418399 w 6418446"/>
              <a:gd name="connsiteY2" fmla="*/ 6030912 h 6030922"/>
              <a:gd name="connsiteX3" fmla="*/ 326935 w 6418446"/>
              <a:gd name="connsiteY3" fmla="*/ 5353504 h 6030922"/>
              <a:gd name="connsiteX4" fmla="*/ 0 w 6418446"/>
              <a:gd name="connsiteY4" fmla="*/ 473982 h 6030922"/>
              <a:gd name="connsiteX0" fmla="*/ 0 w 6418450"/>
              <a:gd name="connsiteY0" fmla="*/ 483507 h 6040447"/>
              <a:gd name="connsiteX1" fmla="*/ 5893618 w 6418450"/>
              <a:gd name="connsiteY1" fmla="*/ 0 h 6040447"/>
              <a:gd name="connsiteX2" fmla="*/ 6418399 w 6418450"/>
              <a:gd name="connsiteY2" fmla="*/ 6040437 h 6040447"/>
              <a:gd name="connsiteX3" fmla="*/ 326935 w 6418450"/>
              <a:gd name="connsiteY3" fmla="*/ 5363029 h 6040447"/>
              <a:gd name="connsiteX4" fmla="*/ 0 w 6418450"/>
              <a:gd name="connsiteY4" fmla="*/ 483507 h 6040447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326935 w 6418450"/>
              <a:gd name="connsiteY3" fmla="*/ 533445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6978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212635 w 6418450"/>
              <a:gd name="connsiteY3" fmla="*/ 5239204 h 6011872"/>
              <a:gd name="connsiteX4" fmla="*/ 0 w 6418450"/>
              <a:gd name="connsiteY4" fmla="*/ 454932 h 6011872"/>
              <a:gd name="connsiteX0" fmla="*/ 0 w 6418450"/>
              <a:gd name="connsiteY0" fmla="*/ 454932 h 6011872"/>
              <a:gd name="connsiteX1" fmla="*/ 5893618 w 6418450"/>
              <a:gd name="connsiteY1" fmla="*/ 0 h 6011872"/>
              <a:gd name="connsiteX2" fmla="*/ 6418399 w 6418450"/>
              <a:gd name="connsiteY2" fmla="*/ 6011862 h 6011872"/>
              <a:gd name="connsiteX3" fmla="*/ 193585 w 6418450"/>
              <a:gd name="connsiteY3" fmla="*/ 5201104 h 6011872"/>
              <a:gd name="connsiteX4" fmla="*/ 0 w 6418450"/>
              <a:gd name="connsiteY4" fmla="*/ 454932 h 6011872"/>
              <a:gd name="connsiteX0" fmla="*/ 0 w 6456546"/>
              <a:gd name="connsiteY0" fmla="*/ 454932 h 6069021"/>
              <a:gd name="connsiteX1" fmla="*/ 5893618 w 6456546"/>
              <a:gd name="connsiteY1" fmla="*/ 0 h 6069021"/>
              <a:gd name="connsiteX2" fmla="*/ 6456499 w 6456546"/>
              <a:gd name="connsiteY2" fmla="*/ 6069012 h 6069021"/>
              <a:gd name="connsiteX3" fmla="*/ 193585 w 6456546"/>
              <a:gd name="connsiteY3" fmla="*/ 5201104 h 6069021"/>
              <a:gd name="connsiteX4" fmla="*/ 0 w 6456546"/>
              <a:gd name="connsiteY4" fmla="*/ 454932 h 6069021"/>
              <a:gd name="connsiteX0" fmla="*/ 0 w 6441306"/>
              <a:gd name="connsiteY0" fmla="*/ 424452 h 6069021"/>
              <a:gd name="connsiteX1" fmla="*/ 5878378 w 6441306"/>
              <a:gd name="connsiteY1" fmla="*/ 0 h 6069021"/>
              <a:gd name="connsiteX2" fmla="*/ 6441259 w 6441306"/>
              <a:gd name="connsiteY2" fmla="*/ 6069012 h 6069021"/>
              <a:gd name="connsiteX3" fmla="*/ 178345 w 6441306"/>
              <a:gd name="connsiteY3" fmla="*/ 5201104 h 6069021"/>
              <a:gd name="connsiteX4" fmla="*/ 0 w 6441306"/>
              <a:gd name="connsiteY4" fmla="*/ 424452 h 6069021"/>
              <a:gd name="connsiteX0" fmla="*/ 0 w 6471786"/>
              <a:gd name="connsiteY0" fmla="*/ 424452 h 6069021"/>
              <a:gd name="connsiteX1" fmla="*/ 5908858 w 6471786"/>
              <a:gd name="connsiteY1" fmla="*/ 0 h 6069021"/>
              <a:gd name="connsiteX2" fmla="*/ 6471739 w 6471786"/>
              <a:gd name="connsiteY2" fmla="*/ 6069012 h 6069021"/>
              <a:gd name="connsiteX3" fmla="*/ 208825 w 6471786"/>
              <a:gd name="connsiteY3" fmla="*/ 5201104 h 6069021"/>
              <a:gd name="connsiteX4" fmla="*/ 0 w 6471786"/>
              <a:gd name="connsiteY4" fmla="*/ 424452 h 60690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471786" h="6069021">
                <a:moveTo>
                  <a:pt x="0" y="424452"/>
                </a:moveTo>
                <a:lnTo>
                  <a:pt x="5908858" y="0"/>
                </a:lnTo>
                <a:cubicBezTo>
                  <a:pt x="5907573" y="5292"/>
                  <a:pt x="6477786" y="6078007"/>
                  <a:pt x="6471739" y="6069012"/>
                </a:cubicBezTo>
                <a:lnTo>
                  <a:pt x="208825" y="5201104"/>
                </a:lnTo>
                <a:cubicBezTo>
                  <a:pt x="156513" y="3606573"/>
                  <a:pt x="1330" y="437606"/>
                  <a:pt x="0" y="424452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  <a:effectLst>
            <a:innerShdw blurRad="127000">
              <a:prstClr val="black"/>
            </a:innerShdw>
          </a:effectLst>
          <a:scene3d>
            <a:camera prst="isometricRightUp">
              <a:rot lat="1788000" lon="18522000" rev="21360000"/>
            </a:camera>
            <a:lightRig rig="threePt" dir="t"/>
          </a:scene3d>
        </p:spPr>
        <p:txBody>
          <a:bodyPr/>
          <a:lstStyle>
            <a:lvl1pPr marL="0" indent="0" algn="ctr">
              <a:buNone/>
              <a:defRPr sz="15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4514476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6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7">
            <a:extLst>
              <a:ext uri="{FF2B5EF4-FFF2-40B4-BE49-F238E27FC236}">
                <a16:creationId xmlns:a16="http://schemas.microsoft.com/office/drawing/2014/main" id="{FD8D4079-8FB2-4295-A45C-6BF55EDE88C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992191"/>
            <a:ext cx="12192000" cy="305371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100"/>
            </a:lvl1pPr>
          </a:lstStyle>
          <a:p>
            <a:endParaRPr lang="id-ID"/>
          </a:p>
        </p:txBody>
      </p:sp>
      <p:sp>
        <p:nvSpPr>
          <p:cNvPr id="5" name="Picture Placeholder 26">
            <a:extLst>
              <a:ext uri="{FF2B5EF4-FFF2-40B4-BE49-F238E27FC236}">
                <a16:creationId xmlns:a16="http://schemas.microsoft.com/office/drawing/2014/main" id="{6BD500B4-B18D-4ED7-B4BD-B914BDB0EA4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12315" y="1662105"/>
            <a:ext cx="2185732" cy="4767606"/>
          </a:xfrm>
          <a:custGeom>
            <a:avLst/>
            <a:gdLst>
              <a:gd name="connsiteX0" fmla="*/ 175875 w 1878807"/>
              <a:gd name="connsiteY0" fmla="*/ 0 h 4098133"/>
              <a:gd name="connsiteX1" fmla="*/ 416720 w 1878807"/>
              <a:gd name="connsiteY1" fmla="*/ 0 h 4098133"/>
              <a:gd name="connsiteX2" fmla="*/ 416720 w 1878807"/>
              <a:gd name="connsiteY2" fmla="*/ 70297 h 4098133"/>
              <a:gd name="connsiteX3" fmla="*/ 496728 w 1878807"/>
              <a:gd name="connsiteY3" fmla="*/ 150632 h 4098133"/>
              <a:gd name="connsiteX4" fmla="*/ 1379699 w 1878807"/>
              <a:gd name="connsiteY4" fmla="*/ 150632 h 4098133"/>
              <a:gd name="connsiteX5" fmla="*/ 1459707 w 1878807"/>
              <a:gd name="connsiteY5" fmla="*/ 70297 h 4098133"/>
              <a:gd name="connsiteX6" fmla="*/ 1459707 w 1878807"/>
              <a:gd name="connsiteY6" fmla="*/ 0 h 4098133"/>
              <a:gd name="connsiteX7" fmla="*/ 1702932 w 1878807"/>
              <a:gd name="connsiteY7" fmla="*/ 0 h 4098133"/>
              <a:gd name="connsiteX8" fmla="*/ 1878807 w 1878807"/>
              <a:gd name="connsiteY8" fmla="*/ 176593 h 4098133"/>
              <a:gd name="connsiteX9" fmla="*/ 1878807 w 1878807"/>
              <a:gd name="connsiteY9" fmla="*/ 3921540 h 4098133"/>
              <a:gd name="connsiteX10" fmla="*/ 1702932 w 1878807"/>
              <a:gd name="connsiteY10" fmla="*/ 4098133 h 4098133"/>
              <a:gd name="connsiteX11" fmla="*/ 175875 w 1878807"/>
              <a:gd name="connsiteY11" fmla="*/ 4098133 h 4098133"/>
              <a:gd name="connsiteX12" fmla="*/ 0 w 1878807"/>
              <a:gd name="connsiteY12" fmla="*/ 3921540 h 4098133"/>
              <a:gd name="connsiteX13" fmla="*/ 0 w 1878807"/>
              <a:gd name="connsiteY13" fmla="*/ 176593 h 4098133"/>
              <a:gd name="connsiteX14" fmla="*/ 175875 w 1878807"/>
              <a:gd name="connsiteY14" fmla="*/ 0 h 409813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878807" h="4098133">
                <a:moveTo>
                  <a:pt x="175875" y="0"/>
                </a:moveTo>
                <a:lnTo>
                  <a:pt x="416720" y="0"/>
                </a:lnTo>
                <a:lnTo>
                  <a:pt x="416720" y="70297"/>
                </a:lnTo>
                <a:cubicBezTo>
                  <a:pt x="416720" y="114664"/>
                  <a:pt x="452541" y="150632"/>
                  <a:pt x="496728" y="150632"/>
                </a:cubicBezTo>
                <a:lnTo>
                  <a:pt x="1379699" y="150632"/>
                </a:lnTo>
                <a:cubicBezTo>
                  <a:pt x="1423886" y="150632"/>
                  <a:pt x="1459707" y="114664"/>
                  <a:pt x="1459707" y="70297"/>
                </a:cubicBezTo>
                <a:lnTo>
                  <a:pt x="1459707" y="0"/>
                </a:lnTo>
                <a:lnTo>
                  <a:pt x="1702932" y="0"/>
                </a:lnTo>
                <a:cubicBezTo>
                  <a:pt x="1800065" y="0"/>
                  <a:pt x="1878807" y="79064"/>
                  <a:pt x="1878807" y="176593"/>
                </a:cubicBezTo>
                <a:lnTo>
                  <a:pt x="1878807" y="3921540"/>
                </a:lnTo>
                <a:cubicBezTo>
                  <a:pt x="1878807" y="4019070"/>
                  <a:pt x="1800065" y="4098133"/>
                  <a:pt x="1702932" y="4098133"/>
                </a:cubicBezTo>
                <a:lnTo>
                  <a:pt x="175875" y="4098133"/>
                </a:lnTo>
                <a:cubicBezTo>
                  <a:pt x="78742" y="4098133"/>
                  <a:pt x="0" y="4019070"/>
                  <a:pt x="0" y="3921540"/>
                </a:cubicBezTo>
                <a:lnTo>
                  <a:pt x="0" y="176593"/>
                </a:lnTo>
                <a:cubicBezTo>
                  <a:pt x="0" y="79064"/>
                  <a:pt x="78742" y="0"/>
                  <a:pt x="175875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t">
            <a:no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Image Placeholder</a:t>
            </a:r>
          </a:p>
        </p:txBody>
      </p:sp>
    </p:spTree>
    <p:extLst>
      <p:ext uri="{BB962C8B-B14F-4D97-AF65-F5344CB8AC3E}">
        <p14:creationId xmlns:p14="http://schemas.microsoft.com/office/powerpoint/2010/main" val="36881697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370286" cy="68580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marL="0" indent="0">
              <a:buNone/>
              <a:defRPr sz="1800"/>
            </a:lvl1pPr>
          </a:lstStyle>
          <a:p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29733580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8">
            <a:extLst>
              <a:ext uri="{FF2B5EF4-FFF2-40B4-BE49-F238E27FC236}">
                <a16:creationId xmlns:a16="http://schemas.microsoft.com/office/drawing/2014/main" id="{2BD65058-72E8-4A86-91F4-EC6CA9CB9F7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2030730"/>
            <a:ext cx="5211105" cy="1801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0" sx="115000" sy="115000" algn="ctr" rotWithShape="0">
              <a:schemeClr val="bg1">
                <a:lumMod val="50000"/>
                <a:alpha val="17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id-ID" sz="1050">
                <a:solidFill>
                  <a:schemeClr val="tx1">
                    <a:lumMod val="85000"/>
                    <a:lumOff val="15000"/>
                  </a:schemeClr>
                </a:solidFill>
                <a:latin typeface="Montserrat SemiBold" panose="00000700000000000000" pitchFamily="50" charset="0"/>
              </a:defRPr>
            </a:lvl1pPr>
          </a:lstStyle>
          <a:p>
            <a:pPr marL="0" lvl="0"/>
            <a:endParaRPr lang="id-ID"/>
          </a:p>
        </p:txBody>
      </p:sp>
      <p:sp>
        <p:nvSpPr>
          <p:cNvPr id="5" name="Picture Placeholder 8">
            <a:extLst>
              <a:ext uri="{FF2B5EF4-FFF2-40B4-BE49-F238E27FC236}">
                <a16:creationId xmlns:a16="http://schemas.microsoft.com/office/drawing/2014/main" id="{86428C62-75DA-4420-AD79-8A5CD59C30C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096000" y="4201593"/>
            <a:ext cx="5211105" cy="180144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ffectLst>
            <a:outerShdw blurRad="1270000" sx="115000" sy="115000" algn="ctr" rotWithShape="0">
              <a:schemeClr val="bg1">
                <a:lumMod val="50000"/>
                <a:alpha val="17000"/>
              </a:scheme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>
            <a:lvl1pPr marL="0" indent="0">
              <a:buNone/>
              <a:defRPr lang="id-ID" sz="1050">
                <a:solidFill>
                  <a:schemeClr val="tx1">
                    <a:lumMod val="85000"/>
                    <a:lumOff val="15000"/>
                  </a:schemeClr>
                </a:solidFill>
                <a:latin typeface="Montserrat SemiBold" panose="00000700000000000000" pitchFamily="50" charset="0"/>
              </a:defRPr>
            </a:lvl1pPr>
          </a:lstStyle>
          <a:p>
            <a:pPr marL="0" lvl="0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343443383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decel="10000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75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75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5" grpId="0" animBg="1"/>
    </p:bldLst>
  </p:timing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/>
          <p:cNvSpPr>
            <a:spLocks noGrp="1"/>
          </p:cNvSpPr>
          <p:nvPr>
            <p:ph type="pic" sz="quarter" idx="11"/>
          </p:nvPr>
        </p:nvSpPr>
        <p:spPr>
          <a:xfrm>
            <a:off x="4816022" y="-1"/>
            <a:ext cx="7375978" cy="4632779"/>
          </a:xfrm>
          <a:custGeom>
            <a:avLst/>
            <a:gdLst>
              <a:gd name="connsiteX0" fmla="*/ 1 w 7375978"/>
              <a:gd name="connsiteY0" fmla="*/ 0 h 4632779"/>
              <a:gd name="connsiteX1" fmla="*/ 7375978 w 7375978"/>
              <a:gd name="connsiteY1" fmla="*/ 0 h 4632779"/>
              <a:gd name="connsiteX2" fmla="*/ 7375978 w 7375978"/>
              <a:gd name="connsiteY2" fmla="*/ 1889579 h 4632779"/>
              <a:gd name="connsiteX3" fmla="*/ 4632778 w 7375978"/>
              <a:gd name="connsiteY3" fmla="*/ 4632779 h 4632779"/>
              <a:gd name="connsiteX4" fmla="*/ 0 w 7375978"/>
              <a:gd name="connsiteY4" fmla="*/ 1 h 463277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375978" h="4632779">
                <a:moveTo>
                  <a:pt x="1" y="0"/>
                </a:moveTo>
                <a:lnTo>
                  <a:pt x="7375978" y="0"/>
                </a:lnTo>
                <a:lnTo>
                  <a:pt x="7375978" y="1889579"/>
                </a:lnTo>
                <a:lnTo>
                  <a:pt x="4632778" y="4632779"/>
                </a:lnTo>
                <a:lnTo>
                  <a:pt x="0" y="1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  <p:sp>
        <p:nvSpPr>
          <p:cNvPr id="19" name="Picture Placeholder 18"/>
          <p:cNvSpPr>
            <a:spLocks noGrp="1"/>
          </p:cNvSpPr>
          <p:nvPr>
            <p:ph type="pic" sz="quarter" idx="10"/>
          </p:nvPr>
        </p:nvSpPr>
        <p:spPr>
          <a:xfrm>
            <a:off x="1" y="2225221"/>
            <a:ext cx="7131956" cy="4632780"/>
          </a:xfrm>
          <a:custGeom>
            <a:avLst/>
            <a:gdLst>
              <a:gd name="connsiteX0" fmla="*/ 2499178 w 7131956"/>
              <a:gd name="connsiteY0" fmla="*/ 0 h 4632780"/>
              <a:gd name="connsiteX1" fmla="*/ 7131956 w 7131956"/>
              <a:gd name="connsiteY1" fmla="*/ 4632779 h 4632780"/>
              <a:gd name="connsiteX2" fmla="*/ 7131956 w 7131956"/>
              <a:gd name="connsiteY2" fmla="*/ 4632780 h 4632780"/>
              <a:gd name="connsiteX3" fmla="*/ 0 w 7131956"/>
              <a:gd name="connsiteY3" fmla="*/ 4632780 h 4632780"/>
              <a:gd name="connsiteX4" fmla="*/ 0 w 7131956"/>
              <a:gd name="connsiteY4" fmla="*/ 2499179 h 46327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131956" h="4632780">
                <a:moveTo>
                  <a:pt x="2499178" y="0"/>
                </a:moveTo>
                <a:lnTo>
                  <a:pt x="7131956" y="4632779"/>
                </a:lnTo>
                <a:lnTo>
                  <a:pt x="7131956" y="4632780"/>
                </a:lnTo>
                <a:lnTo>
                  <a:pt x="0" y="4632780"/>
                </a:lnTo>
                <a:lnTo>
                  <a:pt x="0" y="249917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>
            <a:noAutofit/>
          </a:bodyPr>
          <a:lstStyle>
            <a:lvl1pPr marL="0" indent="0">
              <a:buNone/>
              <a:defRPr sz="14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229656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2_Custom Layout">
    <p:bg>
      <p:bgPr>
        <a:blipFill dpi="0" rotWithShape="1">
          <a:blip r:embed="rId2">
            <a:lum/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Freeform: Shape 20">
            <a:extLst>
              <a:ext uri="{FF2B5EF4-FFF2-40B4-BE49-F238E27FC236}">
                <a16:creationId xmlns:a16="http://schemas.microsoft.com/office/drawing/2014/main" id="{ECC59880-7602-435A-BAFB-A77987A58E6A}"/>
              </a:ext>
            </a:extLst>
          </p:cNvPr>
          <p:cNvSpPr/>
          <p:nvPr userDrawn="1"/>
        </p:nvSpPr>
        <p:spPr>
          <a:xfrm>
            <a:off x="0" y="3624459"/>
            <a:ext cx="4489449" cy="3233541"/>
          </a:xfrm>
          <a:custGeom>
            <a:avLst/>
            <a:gdLst>
              <a:gd name="connsiteX0" fmla="*/ 4427661 w 4489449"/>
              <a:gd name="connsiteY0" fmla="*/ 2842515 h 3233541"/>
              <a:gd name="connsiteX1" fmla="*/ 4437959 w 4489449"/>
              <a:gd name="connsiteY1" fmla="*/ 2852813 h 3233541"/>
              <a:gd name="connsiteX2" fmla="*/ 4396767 w 4489449"/>
              <a:gd name="connsiteY2" fmla="*/ 2935204 h 3233541"/>
              <a:gd name="connsiteX3" fmla="*/ 4396767 w 4489449"/>
              <a:gd name="connsiteY3" fmla="*/ 2976402 h 3233541"/>
              <a:gd name="connsiteX4" fmla="*/ 4437959 w 4489449"/>
              <a:gd name="connsiteY4" fmla="*/ 2976402 h 3233541"/>
              <a:gd name="connsiteX5" fmla="*/ 4489449 w 4489449"/>
              <a:gd name="connsiteY5" fmla="*/ 2986700 h 3233541"/>
              <a:gd name="connsiteX6" fmla="*/ 4479151 w 4489449"/>
              <a:gd name="connsiteY6" fmla="*/ 2986700 h 3233541"/>
              <a:gd name="connsiteX7" fmla="*/ 4468853 w 4489449"/>
              <a:gd name="connsiteY7" fmla="*/ 3007297 h 3233541"/>
              <a:gd name="connsiteX8" fmla="*/ 4417363 w 4489449"/>
              <a:gd name="connsiteY8" fmla="*/ 3027895 h 3233541"/>
              <a:gd name="connsiteX9" fmla="*/ 4376171 w 4489449"/>
              <a:gd name="connsiteY9" fmla="*/ 3038195 h 3233541"/>
              <a:gd name="connsiteX10" fmla="*/ 4334979 w 4489449"/>
              <a:gd name="connsiteY10" fmla="*/ 3017597 h 3233541"/>
              <a:gd name="connsiteX11" fmla="*/ 4293787 w 4489449"/>
              <a:gd name="connsiteY11" fmla="*/ 3027895 h 3233541"/>
              <a:gd name="connsiteX12" fmla="*/ 4262893 w 4489449"/>
              <a:gd name="connsiteY12" fmla="*/ 3027895 h 3233541"/>
              <a:gd name="connsiteX13" fmla="*/ 4247446 w 4489449"/>
              <a:gd name="connsiteY13" fmla="*/ 3034333 h 3233541"/>
              <a:gd name="connsiteX14" fmla="*/ 4238178 w 4489449"/>
              <a:gd name="connsiteY14" fmla="*/ 3042830 h 3233541"/>
              <a:gd name="connsiteX15" fmla="*/ 4231999 w 4489449"/>
              <a:gd name="connsiteY15" fmla="*/ 3038195 h 3233541"/>
              <a:gd name="connsiteX16" fmla="*/ 4226685 w 4489449"/>
              <a:gd name="connsiteY16" fmla="*/ 3043511 h 3233541"/>
              <a:gd name="connsiteX17" fmla="*/ 4211403 w 4489449"/>
              <a:gd name="connsiteY17" fmla="*/ 3029182 h 3233541"/>
              <a:gd name="connsiteX18" fmla="*/ 4190807 w 4489449"/>
              <a:gd name="connsiteY18" fmla="*/ 3017597 h 3233541"/>
              <a:gd name="connsiteX19" fmla="*/ 4180509 w 4489449"/>
              <a:gd name="connsiteY19" fmla="*/ 3027895 h 3233541"/>
              <a:gd name="connsiteX20" fmla="*/ 4180509 w 4489449"/>
              <a:gd name="connsiteY20" fmla="*/ 3027896 h 3233541"/>
              <a:gd name="connsiteX21" fmla="*/ 4190807 w 4489449"/>
              <a:gd name="connsiteY21" fmla="*/ 3017599 h 3233541"/>
              <a:gd name="connsiteX22" fmla="*/ 4211403 w 4489449"/>
              <a:gd name="connsiteY22" fmla="*/ 3029182 h 3233541"/>
              <a:gd name="connsiteX23" fmla="*/ 4226684 w 4489449"/>
              <a:gd name="connsiteY23" fmla="*/ 3043511 h 3233541"/>
              <a:gd name="connsiteX24" fmla="*/ 4226685 w 4489449"/>
              <a:gd name="connsiteY24" fmla="*/ 3043511 h 3233541"/>
              <a:gd name="connsiteX25" fmla="*/ 4231999 w 4489449"/>
              <a:gd name="connsiteY25" fmla="*/ 3038196 h 3233541"/>
              <a:gd name="connsiteX26" fmla="*/ 4238177 w 4489449"/>
              <a:gd name="connsiteY26" fmla="*/ 3042831 h 3233541"/>
              <a:gd name="connsiteX27" fmla="*/ 4238178 w 4489449"/>
              <a:gd name="connsiteY27" fmla="*/ 3042830 h 3233541"/>
              <a:gd name="connsiteX28" fmla="*/ 4273191 w 4489449"/>
              <a:gd name="connsiteY28" fmla="*/ 3069092 h 3233541"/>
              <a:gd name="connsiteX29" fmla="*/ 4396767 w 4489449"/>
              <a:gd name="connsiteY29" fmla="*/ 3079390 h 3233541"/>
              <a:gd name="connsiteX30" fmla="*/ 4386469 w 4489449"/>
              <a:gd name="connsiteY30" fmla="*/ 3151483 h 3233541"/>
              <a:gd name="connsiteX31" fmla="*/ 4376171 w 4489449"/>
              <a:gd name="connsiteY31" fmla="*/ 3172081 h 3233541"/>
              <a:gd name="connsiteX32" fmla="*/ 4345277 w 4489449"/>
              <a:gd name="connsiteY32" fmla="*/ 3161781 h 3233541"/>
              <a:gd name="connsiteX33" fmla="*/ 4334979 w 4489449"/>
              <a:gd name="connsiteY33" fmla="*/ 3130886 h 3233541"/>
              <a:gd name="connsiteX34" fmla="*/ 4324681 w 4489449"/>
              <a:gd name="connsiteY34" fmla="*/ 3141184 h 3233541"/>
              <a:gd name="connsiteX35" fmla="*/ 4324681 w 4489449"/>
              <a:gd name="connsiteY35" fmla="*/ 3151483 h 3233541"/>
              <a:gd name="connsiteX36" fmla="*/ 4304085 w 4489449"/>
              <a:gd name="connsiteY36" fmla="*/ 3223576 h 3233541"/>
              <a:gd name="connsiteX37" fmla="*/ 4305331 w 4489449"/>
              <a:gd name="connsiteY37" fmla="*/ 3233541 h 3233541"/>
              <a:gd name="connsiteX38" fmla="*/ 3799455 w 4489449"/>
              <a:gd name="connsiteY38" fmla="*/ 3233541 h 3233541"/>
              <a:gd name="connsiteX39" fmla="*/ 3798196 w 4489449"/>
              <a:gd name="connsiteY39" fmla="*/ 3218427 h 3233541"/>
              <a:gd name="connsiteX40" fmla="*/ 3789185 w 4489449"/>
              <a:gd name="connsiteY40" fmla="*/ 3202979 h 3233541"/>
              <a:gd name="connsiteX41" fmla="*/ 3820079 w 4489449"/>
              <a:gd name="connsiteY41" fmla="*/ 3182381 h 3233541"/>
              <a:gd name="connsiteX42" fmla="*/ 3789185 w 4489449"/>
              <a:gd name="connsiteY42" fmla="*/ 3151483 h 3233541"/>
              <a:gd name="connsiteX43" fmla="*/ 3840675 w 4489449"/>
              <a:gd name="connsiteY43" fmla="*/ 3130886 h 3233541"/>
              <a:gd name="connsiteX44" fmla="*/ 3902463 w 4489449"/>
              <a:gd name="connsiteY44" fmla="*/ 3172081 h 3233541"/>
              <a:gd name="connsiteX45" fmla="*/ 3923059 w 4489449"/>
              <a:gd name="connsiteY45" fmla="*/ 3079390 h 3233541"/>
              <a:gd name="connsiteX46" fmla="*/ 3943655 w 4489449"/>
              <a:gd name="connsiteY46" fmla="*/ 3069092 h 3233541"/>
              <a:gd name="connsiteX47" fmla="*/ 3953953 w 4489449"/>
              <a:gd name="connsiteY47" fmla="*/ 3089690 h 3233541"/>
              <a:gd name="connsiteX48" fmla="*/ 3964251 w 4489449"/>
              <a:gd name="connsiteY48" fmla="*/ 3120586 h 3233541"/>
              <a:gd name="connsiteX49" fmla="*/ 3984847 w 4489449"/>
              <a:gd name="connsiteY49" fmla="*/ 3110288 h 3233541"/>
              <a:gd name="connsiteX50" fmla="*/ 3995145 w 4489449"/>
              <a:gd name="connsiteY50" fmla="*/ 3038195 h 3233541"/>
              <a:gd name="connsiteX51" fmla="*/ 3984847 w 4489449"/>
              <a:gd name="connsiteY51" fmla="*/ 3007297 h 3233541"/>
              <a:gd name="connsiteX52" fmla="*/ 3984847 w 4489449"/>
              <a:gd name="connsiteY52" fmla="*/ 2986700 h 3233541"/>
              <a:gd name="connsiteX53" fmla="*/ 4005443 w 4489449"/>
              <a:gd name="connsiteY53" fmla="*/ 2986700 h 3233541"/>
              <a:gd name="connsiteX54" fmla="*/ 4026039 w 4489449"/>
              <a:gd name="connsiteY54" fmla="*/ 3017597 h 3233541"/>
              <a:gd name="connsiteX55" fmla="*/ 4026039 w 4489449"/>
              <a:gd name="connsiteY55" fmla="*/ 3048493 h 3233541"/>
              <a:gd name="connsiteX56" fmla="*/ 4108423 w 4489449"/>
              <a:gd name="connsiteY56" fmla="*/ 3069092 h 3233541"/>
              <a:gd name="connsiteX57" fmla="*/ 4108423 w 4489449"/>
              <a:gd name="connsiteY57" fmla="*/ 3017597 h 3233541"/>
              <a:gd name="connsiteX58" fmla="*/ 4077529 w 4489449"/>
              <a:gd name="connsiteY58" fmla="*/ 3027895 h 3233541"/>
              <a:gd name="connsiteX59" fmla="*/ 4056933 w 4489449"/>
              <a:gd name="connsiteY59" fmla="*/ 3007297 h 3233541"/>
              <a:gd name="connsiteX60" fmla="*/ 4087827 w 4489449"/>
              <a:gd name="connsiteY60" fmla="*/ 2935204 h 3233541"/>
              <a:gd name="connsiteX61" fmla="*/ 4129019 w 4489449"/>
              <a:gd name="connsiteY61" fmla="*/ 2945504 h 3233541"/>
              <a:gd name="connsiteX62" fmla="*/ 4159913 w 4489449"/>
              <a:gd name="connsiteY62" fmla="*/ 2955802 h 3233541"/>
              <a:gd name="connsiteX63" fmla="*/ 4190807 w 4489449"/>
              <a:gd name="connsiteY63" fmla="*/ 2945504 h 3233541"/>
              <a:gd name="connsiteX64" fmla="*/ 4190807 w 4489449"/>
              <a:gd name="connsiteY64" fmla="*/ 2945505 h 3233541"/>
              <a:gd name="connsiteX65" fmla="*/ 4201105 w 4489449"/>
              <a:gd name="connsiteY65" fmla="*/ 2955803 h 3233541"/>
              <a:gd name="connsiteX66" fmla="*/ 4204967 w 4489449"/>
              <a:gd name="connsiteY66" fmla="*/ 2964815 h 3233541"/>
              <a:gd name="connsiteX67" fmla="*/ 4201105 w 4489449"/>
              <a:gd name="connsiteY67" fmla="*/ 2955802 h 3233541"/>
              <a:gd name="connsiteX68" fmla="*/ 4190807 w 4489449"/>
              <a:gd name="connsiteY68" fmla="*/ 2945504 h 3233541"/>
              <a:gd name="connsiteX69" fmla="*/ 4262893 w 4489449"/>
              <a:gd name="connsiteY69" fmla="*/ 2935204 h 3233541"/>
              <a:gd name="connsiteX70" fmla="*/ 4273191 w 4489449"/>
              <a:gd name="connsiteY70" fmla="*/ 2966102 h 3233541"/>
              <a:gd name="connsiteX71" fmla="*/ 4265537 w 4489449"/>
              <a:gd name="connsiteY71" fmla="*/ 2967197 h 3233541"/>
              <a:gd name="connsiteX72" fmla="*/ 4264180 w 4489449"/>
              <a:gd name="connsiteY72" fmla="*/ 2967390 h 3233541"/>
              <a:gd name="connsiteX73" fmla="*/ 4264181 w 4489449"/>
              <a:gd name="connsiteY73" fmla="*/ 2967390 h 3233541"/>
              <a:gd name="connsiteX74" fmla="*/ 4265537 w 4489449"/>
              <a:gd name="connsiteY74" fmla="*/ 2967197 h 3233541"/>
              <a:gd name="connsiteX75" fmla="*/ 4273190 w 4489449"/>
              <a:gd name="connsiteY75" fmla="*/ 2966103 h 3233541"/>
              <a:gd name="connsiteX76" fmla="*/ 4273191 w 4489449"/>
              <a:gd name="connsiteY76" fmla="*/ 2966102 h 3233541"/>
              <a:gd name="connsiteX77" fmla="*/ 4304085 w 4489449"/>
              <a:gd name="connsiteY77" fmla="*/ 2935204 h 3233541"/>
              <a:gd name="connsiteX78" fmla="*/ 4345277 w 4489449"/>
              <a:gd name="connsiteY78" fmla="*/ 2914607 h 3233541"/>
              <a:gd name="connsiteX79" fmla="*/ 4355575 w 4489449"/>
              <a:gd name="connsiteY79" fmla="*/ 2863111 h 3233541"/>
              <a:gd name="connsiteX80" fmla="*/ 4396767 w 4489449"/>
              <a:gd name="connsiteY80" fmla="*/ 2863111 h 3233541"/>
              <a:gd name="connsiteX81" fmla="*/ 4427661 w 4489449"/>
              <a:gd name="connsiteY81" fmla="*/ 2842515 h 3233541"/>
              <a:gd name="connsiteX82" fmla="*/ 2532830 w 4489449"/>
              <a:gd name="connsiteY82" fmla="*/ 0 h 3233541"/>
              <a:gd name="connsiteX83" fmla="*/ 2543128 w 4489449"/>
              <a:gd name="connsiteY83" fmla="*/ 0 h 3233541"/>
              <a:gd name="connsiteX84" fmla="*/ 2584320 w 4489449"/>
              <a:gd name="connsiteY84" fmla="*/ 41196 h 3233541"/>
              <a:gd name="connsiteX85" fmla="*/ 2615214 w 4489449"/>
              <a:gd name="connsiteY85" fmla="*/ 30898 h 3233541"/>
              <a:gd name="connsiteX86" fmla="*/ 2656406 w 4489449"/>
              <a:gd name="connsiteY86" fmla="*/ 61793 h 3233541"/>
              <a:gd name="connsiteX87" fmla="*/ 2656406 w 4489449"/>
              <a:gd name="connsiteY87" fmla="*/ 102990 h 3233541"/>
              <a:gd name="connsiteX88" fmla="*/ 2666704 w 4489449"/>
              <a:gd name="connsiteY88" fmla="*/ 113289 h 3233541"/>
              <a:gd name="connsiteX89" fmla="*/ 2677002 w 4489449"/>
              <a:gd name="connsiteY89" fmla="*/ 92691 h 3233541"/>
              <a:gd name="connsiteX90" fmla="*/ 2697598 w 4489449"/>
              <a:gd name="connsiteY90" fmla="*/ 61793 h 3233541"/>
              <a:gd name="connsiteX91" fmla="*/ 2707896 w 4489449"/>
              <a:gd name="connsiteY91" fmla="*/ 20598 h 3233541"/>
              <a:gd name="connsiteX92" fmla="*/ 2749088 w 4489449"/>
              <a:gd name="connsiteY92" fmla="*/ 30898 h 3233541"/>
              <a:gd name="connsiteX93" fmla="*/ 2779982 w 4489449"/>
              <a:gd name="connsiteY93" fmla="*/ 30898 h 3233541"/>
              <a:gd name="connsiteX94" fmla="*/ 2821174 w 4489449"/>
              <a:gd name="connsiteY94" fmla="*/ 51495 h 3233541"/>
              <a:gd name="connsiteX95" fmla="*/ 2831472 w 4489449"/>
              <a:gd name="connsiteY95" fmla="*/ 92691 h 3233541"/>
              <a:gd name="connsiteX96" fmla="*/ 2872664 w 4489449"/>
              <a:gd name="connsiteY96" fmla="*/ 113289 h 3233541"/>
              <a:gd name="connsiteX97" fmla="*/ 2852068 w 4489449"/>
              <a:gd name="connsiteY97" fmla="*/ 154484 h 3233541"/>
              <a:gd name="connsiteX98" fmla="*/ 2810876 w 4489449"/>
              <a:gd name="connsiteY98" fmla="*/ 154484 h 3233541"/>
              <a:gd name="connsiteX99" fmla="*/ 2810876 w 4489449"/>
              <a:gd name="connsiteY99" fmla="*/ 164784 h 3233541"/>
              <a:gd name="connsiteX100" fmla="*/ 2821174 w 4489449"/>
              <a:gd name="connsiteY100" fmla="*/ 216279 h 3233541"/>
              <a:gd name="connsiteX101" fmla="*/ 2749088 w 4489449"/>
              <a:gd name="connsiteY101" fmla="*/ 308970 h 3233541"/>
              <a:gd name="connsiteX102" fmla="*/ 2718194 w 4489449"/>
              <a:gd name="connsiteY102" fmla="*/ 401660 h 3233541"/>
              <a:gd name="connsiteX103" fmla="*/ 2697598 w 4489449"/>
              <a:gd name="connsiteY103" fmla="*/ 422258 h 3233541"/>
              <a:gd name="connsiteX104" fmla="*/ 2666704 w 4489449"/>
              <a:gd name="connsiteY104" fmla="*/ 432556 h 3233541"/>
              <a:gd name="connsiteX105" fmla="*/ 2635810 w 4489449"/>
              <a:gd name="connsiteY105" fmla="*/ 484051 h 3233541"/>
              <a:gd name="connsiteX106" fmla="*/ 2594618 w 4489449"/>
              <a:gd name="connsiteY106" fmla="*/ 504649 h 3233541"/>
              <a:gd name="connsiteX107" fmla="*/ 2574022 w 4489449"/>
              <a:gd name="connsiteY107" fmla="*/ 545845 h 3233541"/>
              <a:gd name="connsiteX108" fmla="*/ 2543128 w 4489449"/>
              <a:gd name="connsiteY108" fmla="*/ 576742 h 3233541"/>
              <a:gd name="connsiteX109" fmla="*/ 2532830 w 4489449"/>
              <a:gd name="connsiteY109" fmla="*/ 587042 h 3233541"/>
              <a:gd name="connsiteX110" fmla="*/ 2471042 w 4489449"/>
              <a:gd name="connsiteY110" fmla="*/ 659133 h 3233541"/>
              <a:gd name="connsiteX111" fmla="*/ 2501936 w 4489449"/>
              <a:gd name="connsiteY111" fmla="*/ 690031 h 3233541"/>
              <a:gd name="connsiteX112" fmla="*/ 2471042 w 4489449"/>
              <a:gd name="connsiteY112" fmla="*/ 720928 h 3233541"/>
              <a:gd name="connsiteX113" fmla="*/ 2450446 w 4489449"/>
              <a:gd name="connsiteY113" fmla="*/ 834217 h 3233541"/>
              <a:gd name="connsiteX114" fmla="*/ 2398956 w 4489449"/>
              <a:gd name="connsiteY114" fmla="*/ 865112 h 3233541"/>
              <a:gd name="connsiteX115" fmla="*/ 2409254 w 4489449"/>
              <a:gd name="connsiteY115" fmla="*/ 906310 h 3233541"/>
              <a:gd name="connsiteX116" fmla="*/ 2368062 w 4489449"/>
              <a:gd name="connsiteY116" fmla="*/ 968103 h 3233541"/>
              <a:gd name="connsiteX117" fmla="*/ 2347466 w 4489449"/>
              <a:gd name="connsiteY117" fmla="*/ 988701 h 3233541"/>
              <a:gd name="connsiteX118" fmla="*/ 2285678 w 4489449"/>
              <a:gd name="connsiteY118" fmla="*/ 1019598 h 3233541"/>
              <a:gd name="connsiteX119" fmla="*/ 2223890 w 4489449"/>
              <a:gd name="connsiteY119" fmla="*/ 1112289 h 3233541"/>
              <a:gd name="connsiteX120" fmla="*/ 2182698 w 4489449"/>
              <a:gd name="connsiteY120" fmla="*/ 1132887 h 3233541"/>
              <a:gd name="connsiteX121" fmla="*/ 2162102 w 4489449"/>
              <a:gd name="connsiteY121" fmla="*/ 1204980 h 3233541"/>
              <a:gd name="connsiteX122" fmla="*/ 2192996 w 4489449"/>
              <a:gd name="connsiteY122" fmla="*/ 1225577 h 3233541"/>
              <a:gd name="connsiteX123" fmla="*/ 2203294 w 4489449"/>
              <a:gd name="connsiteY123" fmla="*/ 1215278 h 3233541"/>
              <a:gd name="connsiteX124" fmla="*/ 2203294 w 4489449"/>
              <a:gd name="connsiteY124" fmla="*/ 1174082 h 3233541"/>
              <a:gd name="connsiteX125" fmla="*/ 2265082 w 4489449"/>
              <a:gd name="connsiteY125" fmla="*/ 1153484 h 3233541"/>
              <a:gd name="connsiteX126" fmla="*/ 2275380 w 4489449"/>
              <a:gd name="connsiteY126" fmla="*/ 1112289 h 3233541"/>
              <a:gd name="connsiteX127" fmla="*/ 2306274 w 4489449"/>
              <a:gd name="connsiteY127" fmla="*/ 1091691 h 3233541"/>
              <a:gd name="connsiteX128" fmla="*/ 2306274 w 4489449"/>
              <a:gd name="connsiteY128" fmla="*/ 1174082 h 3233541"/>
              <a:gd name="connsiteX129" fmla="*/ 2265082 w 4489449"/>
              <a:gd name="connsiteY129" fmla="*/ 1194681 h 3233541"/>
              <a:gd name="connsiteX130" fmla="*/ 2254784 w 4489449"/>
              <a:gd name="connsiteY130" fmla="*/ 1204980 h 3233541"/>
              <a:gd name="connsiteX131" fmla="*/ 2244486 w 4489449"/>
              <a:gd name="connsiteY131" fmla="*/ 1256473 h 3233541"/>
              <a:gd name="connsiteX132" fmla="*/ 2213592 w 4489449"/>
              <a:gd name="connsiteY132" fmla="*/ 1277073 h 3233541"/>
              <a:gd name="connsiteX133" fmla="*/ 2182698 w 4489449"/>
              <a:gd name="connsiteY133" fmla="*/ 1266773 h 3233541"/>
              <a:gd name="connsiteX134" fmla="*/ 2162102 w 4489449"/>
              <a:gd name="connsiteY134" fmla="*/ 1277073 h 3233541"/>
              <a:gd name="connsiteX135" fmla="*/ 2141506 w 4489449"/>
              <a:gd name="connsiteY135" fmla="*/ 1277073 h 3233541"/>
              <a:gd name="connsiteX136" fmla="*/ 2110612 w 4489449"/>
              <a:gd name="connsiteY136" fmla="*/ 1266773 h 3233541"/>
              <a:gd name="connsiteX137" fmla="*/ 2100314 w 4489449"/>
              <a:gd name="connsiteY137" fmla="*/ 1328566 h 3233541"/>
              <a:gd name="connsiteX138" fmla="*/ 2038526 w 4489449"/>
              <a:gd name="connsiteY138" fmla="*/ 1349165 h 3233541"/>
              <a:gd name="connsiteX139" fmla="*/ 2069420 w 4489449"/>
              <a:gd name="connsiteY139" fmla="*/ 1421258 h 3233541"/>
              <a:gd name="connsiteX140" fmla="*/ 2028228 w 4489449"/>
              <a:gd name="connsiteY140" fmla="*/ 1410959 h 3233541"/>
              <a:gd name="connsiteX141" fmla="*/ 1976738 w 4489449"/>
              <a:gd name="connsiteY141" fmla="*/ 1400659 h 3233541"/>
              <a:gd name="connsiteX142" fmla="*/ 1956142 w 4489449"/>
              <a:gd name="connsiteY142" fmla="*/ 1441855 h 3233541"/>
              <a:gd name="connsiteX143" fmla="*/ 1956142 w 4489449"/>
              <a:gd name="connsiteY143" fmla="*/ 1431557 h 3233541"/>
              <a:gd name="connsiteX144" fmla="*/ 1925248 w 4489449"/>
              <a:gd name="connsiteY144" fmla="*/ 1462452 h 3233541"/>
              <a:gd name="connsiteX145" fmla="*/ 1925248 w 4489449"/>
              <a:gd name="connsiteY145" fmla="*/ 1524247 h 3233541"/>
              <a:gd name="connsiteX146" fmla="*/ 1935546 w 4489449"/>
              <a:gd name="connsiteY146" fmla="*/ 1596340 h 3233541"/>
              <a:gd name="connsiteX147" fmla="*/ 1904652 w 4489449"/>
              <a:gd name="connsiteY147" fmla="*/ 1586041 h 3233541"/>
              <a:gd name="connsiteX148" fmla="*/ 1894354 w 4489449"/>
              <a:gd name="connsiteY148" fmla="*/ 1616938 h 3233541"/>
              <a:gd name="connsiteX149" fmla="*/ 1863460 w 4489449"/>
              <a:gd name="connsiteY149" fmla="*/ 1627236 h 3233541"/>
              <a:gd name="connsiteX150" fmla="*/ 1791374 w 4489449"/>
              <a:gd name="connsiteY150" fmla="*/ 1678731 h 3233541"/>
              <a:gd name="connsiteX151" fmla="*/ 1791374 w 4489449"/>
              <a:gd name="connsiteY151" fmla="*/ 1699329 h 3233541"/>
              <a:gd name="connsiteX152" fmla="*/ 1853162 w 4489449"/>
              <a:gd name="connsiteY152" fmla="*/ 1678731 h 3233541"/>
              <a:gd name="connsiteX153" fmla="*/ 1956142 w 4489449"/>
              <a:gd name="connsiteY153" fmla="*/ 1637536 h 3233541"/>
              <a:gd name="connsiteX154" fmla="*/ 2038526 w 4489449"/>
              <a:gd name="connsiteY154" fmla="*/ 1658134 h 3233541"/>
              <a:gd name="connsiteX155" fmla="*/ 2059122 w 4489449"/>
              <a:gd name="connsiteY155" fmla="*/ 1699329 h 3233541"/>
              <a:gd name="connsiteX156" fmla="*/ 2100314 w 4489449"/>
              <a:gd name="connsiteY156" fmla="*/ 1730227 h 3233541"/>
              <a:gd name="connsiteX157" fmla="*/ 2100314 w 4489449"/>
              <a:gd name="connsiteY157" fmla="*/ 1740525 h 3233541"/>
              <a:gd name="connsiteX158" fmla="*/ 2038526 w 4489449"/>
              <a:gd name="connsiteY158" fmla="*/ 1833215 h 3233541"/>
              <a:gd name="connsiteX159" fmla="*/ 2028228 w 4489449"/>
              <a:gd name="connsiteY159" fmla="*/ 1853813 h 3233541"/>
              <a:gd name="connsiteX160" fmla="*/ 1945844 w 4489449"/>
              <a:gd name="connsiteY160" fmla="*/ 1833215 h 3233541"/>
              <a:gd name="connsiteX161" fmla="*/ 1914950 w 4489449"/>
              <a:gd name="connsiteY161" fmla="*/ 1915608 h 3233541"/>
              <a:gd name="connsiteX162" fmla="*/ 1914950 w 4489449"/>
              <a:gd name="connsiteY162" fmla="*/ 2028897 h 3233541"/>
              <a:gd name="connsiteX163" fmla="*/ 1914950 w 4489449"/>
              <a:gd name="connsiteY163" fmla="*/ 2121587 h 3233541"/>
              <a:gd name="connsiteX164" fmla="*/ 1945844 w 4489449"/>
              <a:gd name="connsiteY164" fmla="*/ 2121587 h 3233541"/>
              <a:gd name="connsiteX165" fmla="*/ 1966440 w 4489449"/>
              <a:gd name="connsiteY165" fmla="*/ 2111288 h 3233541"/>
              <a:gd name="connsiteX166" fmla="*/ 2007632 w 4489449"/>
              <a:gd name="connsiteY166" fmla="*/ 2131885 h 3233541"/>
              <a:gd name="connsiteX167" fmla="*/ 2017930 w 4489449"/>
              <a:gd name="connsiteY167" fmla="*/ 2111288 h 3233541"/>
              <a:gd name="connsiteX168" fmla="*/ 2007632 w 4489449"/>
              <a:gd name="connsiteY168" fmla="*/ 2070092 h 3233541"/>
              <a:gd name="connsiteX169" fmla="*/ 2028228 w 4489449"/>
              <a:gd name="connsiteY169" fmla="*/ 2049494 h 3233541"/>
              <a:gd name="connsiteX170" fmla="*/ 2069420 w 4489449"/>
              <a:gd name="connsiteY170" fmla="*/ 2080392 h 3233541"/>
              <a:gd name="connsiteX171" fmla="*/ 2141506 w 4489449"/>
              <a:gd name="connsiteY171" fmla="*/ 2039195 h 3233541"/>
              <a:gd name="connsiteX172" fmla="*/ 2141506 w 4489449"/>
              <a:gd name="connsiteY172" fmla="*/ 2008299 h 3233541"/>
              <a:gd name="connsiteX173" fmla="*/ 2172400 w 4489449"/>
              <a:gd name="connsiteY173" fmla="*/ 2008299 h 3233541"/>
              <a:gd name="connsiteX174" fmla="*/ 2182698 w 4489449"/>
              <a:gd name="connsiteY174" fmla="*/ 2059792 h 3233541"/>
              <a:gd name="connsiteX175" fmla="*/ 2192996 w 4489449"/>
              <a:gd name="connsiteY175" fmla="*/ 2070092 h 3233541"/>
              <a:gd name="connsiteX176" fmla="*/ 2275380 w 4489449"/>
              <a:gd name="connsiteY176" fmla="*/ 2059792 h 3233541"/>
              <a:gd name="connsiteX177" fmla="*/ 2337168 w 4489449"/>
              <a:gd name="connsiteY177" fmla="*/ 2070092 h 3233541"/>
              <a:gd name="connsiteX178" fmla="*/ 2357764 w 4489449"/>
              <a:gd name="connsiteY178" fmla="*/ 2049494 h 3233541"/>
              <a:gd name="connsiteX179" fmla="*/ 2347466 w 4489449"/>
              <a:gd name="connsiteY179" fmla="*/ 2018598 h 3233541"/>
              <a:gd name="connsiteX180" fmla="*/ 2275380 w 4489449"/>
              <a:gd name="connsiteY180" fmla="*/ 1967103 h 3233541"/>
              <a:gd name="connsiteX181" fmla="*/ 2192996 w 4489449"/>
              <a:gd name="connsiteY181" fmla="*/ 1956804 h 3233541"/>
              <a:gd name="connsiteX182" fmla="*/ 2213592 w 4489449"/>
              <a:gd name="connsiteY182" fmla="*/ 1936207 h 3233541"/>
              <a:gd name="connsiteX183" fmla="*/ 2295976 w 4489449"/>
              <a:gd name="connsiteY183" fmla="*/ 1925906 h 3233541"/>
              <a:gd name="connsiteX184" fmla="*/ 2337168 w 4489449"/>
              <a:gd name="connsiteY184" fmla="*/ 1936207 h 3233541"/>
              <a:gd name="connsiteX185" fmla="*/ 2357764 w 4489449"/>
              <a:gd name="connsiteY185" fmla="*/ 1853813 h 3233541"/>
              <a:gd name="connsiteX186" fmla="*/ 2378360 w 4489449"/>
              <a:gd name="connsiteY186" fmla="*/ 1853813 h 3233541"/>
              <a:gd name="connsiteX187" fmla="*/ 2419552 w 4489449"/>
              <a:gd name="connsiteY187" fmla="*/ 1864114 h 3233541"/>
              <a:gd name="connsiteX188" fmla="*/ 2460744 w 4489449"/>
              <a:gd name="connsiteY188" fmla="*/ 1864114 h 3233541"/>
              <a:gd name="connsiteX189" fmla="*/ 2491638 w 4489449"/>
              <a:gd name="connsiteY189" fmla="*/ 1915608 h 3233541"/>
              <a:gd name="connsiteX190" fmla="*/ 2512234 w 4489449"/>
              <a:gd name="connsiteY190" fmla="*/ 1915608 h 3233541"/>
              <a:gd name="connsiteX191" fmla="*/ 2553426 w 4489449"/>
              <a:gd name="connsiteY191" fmla="*/ 1915608 h 3233541"/>
              <a:gd name="connsiteX192" fmla="*/ 2697598 w 4489449"/>
              <a:gd name="connsiteY192" fmla="*/ 1915608 h 3233541"/>
              <a:gd name="connsiteX193" fmla="*/ 2707896 w 4489449"/>
              <a:gd name="connsiteY193" fmla="*/ 1895010 h 3233541"/>
              <a:gd name="connsiteX194" fmla="*/ 2604916 w 4489449"/>
              <a:gd name="connsiteY194" fmla="*/ 1884711 h 3233541"/>
              <a:gd name="connsiteX195" fmla="*/ 2543128 w 4489449"/>
              <a:gd name="connsiteY195" fmla="*/ 1833215 h 3233541"/>
              <a:gd name="connsiteX196" fmla="*/ 2501936 w 4489449"/>
              <a:gd name="connsiteY196" fmla="*/ 1812618 h 3233541"/>
              <a:gd name="connsiteX197" fmla="*/ 2522532 w 4489449"/>
              <a:gd name="connsiteY197" fmla="*/ 1792021 h 3233541"/>
              <a:gd name="connsiteX198" fmla="*/ 2594618 w 4489449"/>
              <a:gd name="connsiteY198" fmla="*/ 1781722 h 3233541"/>
              <a:gd name="connsiteX199" fmla="*/ 2656406 w 4489449"/>
              <a:gd name="connsiteY199" fmla="*/ 1802320 h 3233541"/>
              <a:gd name="connsiteX200" fmla="*/ 2718194 w 4489449"/>
              <a:gd name="connsiteY200" fmla="*/ 1771422 h 3233541"/>
              <a:gd name="connsiteX201" fmla="*/ 2862366 w 4489449"/>
              <a:gd name="connsiteY201" fmla="*/ 1792021 h 3233541"/>
              <a:gd name="connsiteX202" fmla="*/ 2913856 w 4489449"/>
              <a:gd name="connsiteY202" fmla="*/ 1781722 h 3233541"/>
              <a:gd name="connsiteX203" fmla="*/ 2975644 w 4489449"/>
              <a:gd name="connsiteY203" fmla="*/ 1761122 h 3233541"/>
              <a:gd name="connsiteX204" fmla="*/ 2903558 w 4489449"/>
              <a:gd name="connsiteY204" fmla="*/ 1750824 h 3233541"/>
              <a:gd name="connsiteX205" fmla="*/ 2821174 w 4489449"/>
              <a:gd name="connsiteY205" fmla="*/ 1750824 h 3233541"/>
              <a:gd name="connsiteX206" fmla="*/ 2852068 w 4489449"/>
              <a:gd name="connsiteY206" fmla="*/ 1719928 h 3233541"/>
              <a:gd name="connsiteX207" fmla="*/ 2955048 w 4489449"/>
              <a:gd name="connsiteY207" fmla="*/ 1699329 h 3233541"/>
              <a:gd name="connsiteX208" fmla="*/ 2975644 w 4489449"/>
              <a:gd name="connsiteY208" fmla="*/ 1668432 h 3233541"/>
              <a:gd name="connsiteX209" fmla="*/ 2985942 w 4489449"/>
              <a:gd name="connsiteY209" fmla="*/ 1647835 h 3233541"/>
              <a:gd name="connsiteX210" fmla="*/ 3047730 w 4489449"/>
              <a:gd name="connsiteY210" fmla="*/ 1647835 h 3233541"/>
              <a:gd name="connsiteX211" fmla="*/ 3058028 w 4489449"/>
              <a:gd name="connsiteY211" fmla="*/ 1627236 h 3233541"/>
              <a:gd name="connsiteX212" fmla="*/ 3047730 w 4489449"/>
              <a:gd name="connsiteY212" fmla="*/ 1596340 h 3233541"/>
              <a:gd name="connsiteX213" fmla="*/ 3068325 w 4489449"/>
              <a:gd name="connsiteY213" fmla="*/ 1586041 h 3233541"/>
              <a:gd name="connsiteX214" fmla="*/ 3130113 w 4489449"/>
              <a:gd name="connsiteY214" fmla="*/ 1575741 h 3233541"/>
              <a:gd name="connsiteX215" fmla="*/ 3119815 w 4489449"/>
              <a:gd name="connsiteY215" fmla="*/ 1534545 h 3233541"/>
              <a:gd name="connsiteX216" fmla="*/ 3202199 w 4489449"/>
              <a:gd name="connsiteY216" fmla="*/ 1503650 h 3233541"/>
              <a:gd name="connsiteX217" fmla="*/ 3263987 w 4489449"/>
              <a:gd name="connsiteY217" fmla="*/ 1493351 h 3233541"/>
              <a:gd name="connsiteX218" fmla="*/ 3202199 w 4489449"/>
              <a:gd name="connsiteY218" fmla="*/ 1462452 h 3233541"/>
              <a:gd name="connsiteX219" fmla="*/ 3212497 w 4489449"/>
              <a:gd name="connsiteY219" fmla="*/ 1441855 h 3233541"/>
              <a:gd name="connsiteX220" fmla="*/ 3305179 w 4489449"/>
              <a:gd name="connsiteY220" fmla="*/ 1441855 h 3233541"/>
              <a:gd name="connsiteX221" fmla="*/ 3315477 w 4489449"/>
              <a:gd name="connsiteY221" fmla="*/ 1441855 h 3233541"/>
              <a:gd name="connsiteX222" fmla="*/ 3315477 w 4489449"/>
              <a:gd name="connsiteY222" fmla="*/ 1410959 h 3233541"/>
              <a:gd name="connsiteX223" fmla="*/ 3284583 w 4489449"/>
              <a:gd name="connsiteY223" fmla="*/ 1410959 h 3233541"/>
              <a:gd name="connsiteX224" fmla="*/ 3263987 w 4489449"/>
              <a:gd name="connsiteY224" fmla="*/ 1380061 h 3233541"/>
              <a:gd name="connsiteX225" fmla="*/ 3284583 w 4489449"/>
              <a:gd name="connsiteY225" fmla="*/ 1369762 h 3233541"/>
              <a:gd name="connsiteX226" fmla="*/ 3346371 w 4489449"/>
              <a:gd name="connsiteY226" fmla="*/ 1359464 h 3233541"/>
              <a:gd name="connsiteX227" fmla="*/ 3346375 w 4489449"/>
              <a:gd name="connsiteY227" fmla="*/ 1359466 h 3233541"/>
              <a:gd name="connsiteX228" fmla="*/ 3356669 w 4489449"/>
              <a:gd name="connsiteY228" fmla="*/ 1359466 h 3233541"/>
              <a:gd name="connsiteX229" fmla="*/ 3366967 w 4489449"/>
              <a:gd name="connsiteY229" fmla="*/ 1359466 h 3233541"/>
              <a:gd name="connsiteX230" fmla="*/ 3372116 w 4489449"/>
              <a:gd name="connsiteY230" fmla="*/ 1359466 h 3233541"/>
              <a:gd name="connsiteX231" fmla="*/ 3377264 w 4489449"/>
              <a:gd name="connsiteY231" fmla="*/ 1359466 h 3233541"/>
              <a:gd name="connsiteX232" fmla="*/ 3377265 w 4489449"/>
              <a:gd name="connsiteY232" fmla="*/ 1359464 h 3233541"/>
              <a:gd name="connsiteX233" fmla="*/ 3366967 w 4489449"/>
              <a:gd name="connsiteY233" fmla="*/ 1359464 h 3233541"/>
              <a:gd name="connsiteX234" fmla="*/ 3346371 w 4489449"/>
              <a:gd name="connsiteY234" fmla="*/ 1359464 h 3233541"/>
              <a:gd name="connsiteX235" fmla="*/ 3377265 w 4489449"/>
              <a:gd name="connsiteY235" fmla="*/ 1307968 h 3233541"/>
              <a:gd name="connsiteX236" fmla="*/ 3428755 w 4489449"/>
              <a:gd name="connsiteY236" fmla="*/ 1318268 h 3233541"/>
              <a:gd name="connsiteX237" fmla="*/ 3449351 w 4489449"/>
              <a:gd name="connsiteY237" fmla="*/ 1297671 h 3233541"/>
              <a:gd name="connsiteX238" fmla="*/ 3459649 w 4489449"/>
              <a:gd name="connsiteY238" fmla="*/ 1246175 h 3233541"/>
              <a:gd name="connsiteX239" fmla="*/ 3500841 w 4489449"/>
              <a:gd name="connsiteY239" fmla="*/ 1235875 h 3233541"/>
              <a:gd name="connsiteX240" fmla="*/ 3531735 w 4489449"/>
              <a:gd name="connsiteY240" fmla="*/ 1174082 h 3233541"/>
              <a:gd name="connsiteX241" fmla="*/ 3572927 w 4489449"/>
              <a:gd name="connsiteY241" fmla="*/ 1174082 h 3233541"/>
              <a:gd name="connsiteX242" fmla="*/ 3603821 w 4489449"/>
              <a:gd name="connsiteY242" fmla="*/ 1112289 h 3233541"/>
              <a:gd name="connsiteX243" fmla="*/ 3645013 w 4489449"/>
              <a:gd name="connsiteY243" fmla="*/ 1112289 h 3233541"/>
              <a:gd name="connsiteX244" fmla="*/ 3655311 w 4489449"/>
              <a:gd name="connsiteY244" fmla="*/ 1071094 h 3233541"/>
              <a:gd name="connsiteX245" fmla="*/ 3665609 w 4489449"/>
              <a:gd name="connsiteY245" fmla="*/ 1050495 h 3233541"/>
              <a:gd name="connsiteX246" fmla="*/ 3737695 w 4489449"/>
              <a:gd name="connsiteY246" fmla="*/ 1029896 h 3233541"/>
              <a:gd name="connsiteX247" fmla="*/ 3737695 w 4489449"/>
              <a:gd name="connsiteY247" fmla="*/ 1050495 h 3233541"/>
              <a:gd name="connsiteX248" fmla="*/ 3624417 w 4489449"/>
              <a:gd name="connsiteY248" fmla="*/ 1204980 h 3233541"/>
              <a:gd name="connsiteX249" fmla="*/ 3593523 w 4489449"/>
              <a:gd name="connsiteY249" fmla="*/ 1235875 h 3233541"/>
              <a:gd name="connsiteX250" fmla="*/ 3542033 w 4489449"/>
              <a:gd name="connsiteY250" fmla="*/ 1328566 h 3233541"/>
              <a:gd name="connsiteX251" fmla="*/ 3511139 w 4489449"/>
              <a:gd name="connsiteY251" fmla="*/ 1349165 h 3233541"/>
              <a:gd name="connsiteX252" fmla="*/ 3408159 w 4489449"/>
              <a:gd name="connsiteY252" fmla="*/ 1503650 h 3233541"/>
              <a:gd name="connsiteX253" fmla="*/ 3408159 w 4489449"/>
              <a:gd name="connsiteY253" fmla="*/ 1555143 h 3233541"/>
              <a:gd name="connsiteX254" fmla="*/ 3377265 w 4489449"/>
              <a:gd name="connsiteY254" fmla="*/ 1544845 h 3233541"/>
              <a:gd name="connsiteX255" fmla="*/ 3365358 w 4489449"/>
              <a:gd name="connsiteY255" fmla="*/ 1557076 h 3233541"/>
              <a:gd name="connsiteX256" fmla="*/ 3363650 w 4489449"/>
              <a:gd name="connsiteY256" fmla="*/ 1559413 h 3233541"/>
              <a:gd name="connsiteX257" fmla="*/ 3361697 w 4489449"/>
              <a:gd name="connsiteY257" fmla="*/ 1561502 h 3233541"/>
              <a:gd name="connsiteX258" fmla="*/ 3361230 w 4489449"/>
              <a:gd name="connsiteY258" fmla="*/ 1562725 h 3233541"/>
              <a:gd name="connsiteX259" fmla="*/ 3359244 w 4489449"/>
              <a:gd name="connsiteY259" fmla="*/ 1565444 h 3233541"/>
              <a:gd name="connsiteX260" fmla="*/ 3356669 w 4489449"/>
              <a:gd name="connsiteY260" fmla="*/ 1586041 h 3233541"/>
              <a:gd name="connsiteX261" fmla="*/ 3356991 w 4489449"/>
              <a:gd name="connsiteY261" fmla="*/ 1573812 h 3233541"/>
              <a:gd name="connsiteX262" fmla="*/ 3361230 w 4489449"/>
              <a:gd name="connsiteY262" fmla="*/ 1562725 h 3233541"/>
              <a:gd name="connsiteX263" fmla="*/ 3363650 w 4489449"/>
              <a:gd name="connsiteY263" fmla="*/ 1559413 h 3233541"/>
              <a:gd name="connsiteX264" fmla="*/ 3377265 w 4489449"/>
              <a:gd name="connsiteY264" fmla="*/ 1544846 h 3233541"/>
              <a:gd name="connsiteX265" fmla="*/ 3392712 w 4489449"/>
              <a:gd name="connsiteY265" fmla="*/ 1546135 h 3233541"/>
              <a:gd name="connsiteX266" fmla="*/ 3408158 w 4489449"/>
              <a:gd name="connsiteY266" fmla="*/ 1555145 h 3233541"/>
              <a:gd name="connsiteX267" fmla="*/ 3408159 w 4489449"/>
              <a:gd name="connsiteY267" fmla="*/ 1555143 h 3233541"/>
              <a:gd name="connsiteX268" fmla="*/ 3428755 w 4489449"/>
              <a:gd name="connsiteY268" fmla="*/ 1575741 h 3233541"/>
              <a:gd name="connsiteX269" fmla="*/ 3480245 w 4489449"/>
              <a:gd name="connsiteY269" fmla="*/ 1555143 h 3233541"/>
              <a:gd name="connsiteX270" fmla="*/ 3500841 w 4489449"/>
              <a:gd name="connsiteY270" fmla="*/ 1534545 h 3233541"/>
              <a:gd name="connsiteX271" fmla="*/ 3531735 w 4489449"/>
              <a:gd name="connsiteY271" fmla="*/ 1534545 h 3233541"/>
              <a:gd name="connsiteX272" fmla="*/ 3562629 w 4489449"/>
              <a:gd name="connsiteY272" fmla="*/ 1513948 h 3233541"/>
              <a:gd name="connsiteX273" fmla="*/ 3562629 w 4489449"/>
              <a:gd name="connsiteY273" fmla="*/ 1493351 h 3233541"/>
              <a:gd name="connsiteX274" fmla="*/ 3583225 w 4489449"/>
              <a:gd name="connsiteY274" fmla="*/ 1452154 h 3233541"/>
              <a:gd name="connsiteX275" fmla="*/ 3624417 w 4489449"/>
              <a:gd name="connsiteY275" fmla="*/ 1441855 h 3233541"/>
              <a:gd name="connsiteX276" fmla="*/ 3665609 w 4489449"/>
              <a:gd name="connsiteY276" fmla="*/ 1390361 h 3233541"/>
              <a:gd name="connsiteX277" fmla="*/ 3727397 w 4489449"/>
              <a:gd name="connsiteY277" fmla="*/ 1369762 h 3233541"/>
              <a:gd name="connsiteX278" fmla="*/ 3747993 w 4489449"/>
              <a:gd name="connsiteY278" fmla="*/ 1338866 h 3233541"/>
              <a:gd name="connsiteX279" fmla="*/ 3799483 w 4489449"/>
              <a:gd name="connsiteY279" fmla="*/ 1307968 h 3233541"/>
              <a:gd name="connsiteX280" fmla="*/ 3881867 w 4489449"/>
              <a:gd name="connsiteY280" fmla="*/ 1235875 h 3233541"/>
              <a:gd name="connsiteX281" fmla="*/ 3892165 w 4489449"/>
              <a:gd name="connsiteY281" fmla="*/ 1266773 h 3233541"/>
              <a:gd name="connsiteX282" fmla="*/ 3840675 w 4489449"/>
              <a:gd name="connsiteY282" fmla="*/ 1338866 h 3233541"/>
              <a:gd name="connsiteX283" fmla="*/ 3778887 w 4489449"/>
              <a:gd name="connsiteY283" fmla="*/ 1431557 h 3233541"/>
              <a:gd name="connsiteX284" fmla="*/ 3727397 w 4489449"/>
              <a:gd name="connsiteY284" fmla="*/ 1493351 h 3233541"/>
              <a:gd name="connsiteX285" fmla="*/ 3675907 w 4489449"/>
              <a:gd name="connsiteY285" fmla="*/ 1565444 h 3233541"/>
              <a:gd name="connsiteX286" fmla="*/ 3624417 w 4489449"/>
              <a:gd name="connsiteY286" fmla="*/ 1637536 h 3233541"/>
              <a:gd name="connsiteX287" fmla="*/ 3614119 w 4489449"/>
              <a:gd name="connsiteY287" fmla="*/ 1647835 h 3233541"/>
              <a:gd name="connsiteX288" fmla="*/ 3521437 w 4489449"/>
              <a:gd name="connsiteY288" fmla="*/ 1802320 h 3233541"/>
              <a:gd name="connsiteX289" fmla="*/ 3459649 w 4489449"/>
              <a:gd name="connsiteY289" fmla="*/ 1874413 h 3233541"/>
              <a:gd name="connsiteX290" fmla="*/ 3418457 w 4489449"/>
              <a:gd name="connsiteY290" fmla="*/ 1905308 h 3233541"/>
              <a:gd name="connsiteX291" fmla="*/ 3397861 w 4489449"/>
              <a:gd name="connsiteY291" fmla="*/ 1967103 h 3233541"/>
              <a:gd name="connsiteX292" fmla="*/ 3336073 w 4489449"/>
              <a:gd name="connsiteY292" fmla="*/ 2018598 h 3233541"/>
              <a:gd name="connsiteX293" fmla="*/ 3325775 w 4489449"/>
              <a:gd name="connsiteY293" fmla="*/ 2028897 h 3233541"/>
              <a:gd name="connsiteX294" fmla="*/ 3171305 w 4489449"/>
              <a:gd name="connsiteY294" fmla="*/ 2255474 h 3233541"/>
              <a:gd name="connsiteX295" fmla="*/ 3058028 w 4489449"/>
              <a:gd name="connsiteY295" fmla="*/ 2389361 h 3233541"/>
              <a:gd name="connsiteX296" fmla="*/ 2924154 w 4489449"/>
              <a:gd name="connsiteY296" fmla="*/ 2554143 h 3233541"/>
              <a:gd name="connsiteX297" fmla="*/ 2852068 w 4489449"/>
              <a:gd name="connsiteY297" fmla="*/ 2657132 h 3233541"/>
              <a:gd name="connsiteX298" fmla="*/ 2707896 w 4489449"/>
              <a:gd name="connsiteY298" fmla="*/ 2873411 h 3233541"/>
              <a:gd name="connsiteX299" fmla="*/ 2697598 w 4489449"/>
              <a:gd name="connsiteY299" fmla="*/ 2945504 h 3233541"/>
              <a:gd name="connsiteX300" fmla="*/ 2728492 w 4489449"/>
              <a:gd name="connsiteY300" fmla="*/ 2955802 h 3233541"/>
              <a:gd name="connsiteX301" fmla="*/ 2759386 w 4489449"/>
              <a:gd name="connsiteY301" fmla="*/ 2935204 h 3233541"/>
              <a:gd name="connsiteX302" fmla="*/ 2852068 w 4489449"/>
              <a:gd name="connsiteY302" fmla="*/ 2883711 h 3233541"/>
              <a:gd name="connsiteX303" fmla="*/ 2872664 w 4489449"/>
              <a:gd name="connsiteY303" fmla="*/ 2842515 h 3233541"/>
              <a:gd name="connsiteX304" fmla="*/ 2965346 w 4489449"/>
              <a:gd name="connsiteY304" fmla="*/ 2801318 h 3233541"/>
              <a:gd name="connsiteX305" fmla="*/ 3027134 w 4489449"/>
              <a:gd name="connsiteY305" fmla="*/ 2708627 h 3233541"/>
              <a:gd name="connsiteX306" fmla="*/ 3099219 w 4489449"/>
              <a:gd name="connsiteY306" fmla="*/ 2688030 h 3233541"/>
              <a:gd name="connsiteX307" fmla="*/ 3150709 w 4489449"/>
              <a:gd name="connsiteY307" fmla="*/ 2667432 h 3233541"/>
              <a:gd name="connsiteX308" fmla="*/ 3222795 w 4489449"/>
              <a:gd name="connsiteY308" fmla="*/ 2708627 h 3233541"/>
              <a:gd name="connsiteX309" fmla="*/ 3253689 w 4489449"/>
              <a:gd name="connsiteY309" fmla="*/ 2708627 h 3233541"/>
              <a:gd name="connsiteX310" fmla="*/ 3325775 w 4489449"/>
              <a:gd name="connsiteY310" fmla="*/ 2698329 h 3233541"/>
              <a:gd name="connsiteX311" fmla="*/ 3387563 w 4489449"/>
              <a:gd name="connsiteY311" fmla="*/ 2677732 h 3233541"/>
              <a:gd name="connsiteX312" fmla="*/ 3428755 w 4489449"/>
              <a:gd name="connsiteY312" fmla="*/ 2729225 h 3233541"/>
              <a:gd name="connsiteX313" fmla="*/ 3377265 w 4489449"/>
              <a:gd name="connsiteY313" fmla="*/ 2832216 h 3233541"/>
              <a:gd name="connsiteX314" fmla="*/ 3346371 w 4489449"/>
              <a:gd name="connsiteY314" fmla="*/ 2883711 h 3233541"/>
              <a:gd name="connsiteX315" fmla="*/ 3253689 w 4489449"/>
              <a:gd name="connsiteY315" fmla="*/ 3038195 h 3233541"/>
              <a:gd name="connsiteX316" fmla="*/ 3233093 w 4489449"/>
              <a:gd name="connsiteY316" fmla="*/ 3069092 h 3233541"/>
              <a:gd name="connsiteX317" fmla="*/ 3150709 w 4489449"/>
              <a:gd name="connsiteY317" fmla="*/ 3213277 h 3233541"/>
              <a:gd name="connsiteX318" fmla="*/ 3138679 w 4489449"/>
              <a:gd name="connsiteY318" fmla="*/ 3233541 h 3233541"/>
              <a:gd name="connsiteX319" fmla="*/ 0 w 4489449"/>
              <a:gd name="connsiteY319" fmla="*/ 3233541 h 3233541"/>
              <a:gd name="connsiteX320" fmla="*/ 0 w 4489449"/>
              <a:gd name="connsiteY320" fmla="*/ 1684240 h 3233541"/>
              <a:gd name="connsiteX321" fmla="*/ 4670 w 4489449"/>
              <a:gd name="connsiteY321" fmla="*/ 1687743 h 3233541"/>
              <a:gd name="connsiteX322" fmla="*/ 30415 w 4489449"/>
              <a:gd name="connsiteY322" fmla="*/ 1699329 h 3233541"/>
              <a:gd name="connsiteX323" fmla="*/ 40713 w 4489449"/>
              <a:gd name="connsiteY323" fmla="*/ 1647835 h 3233541"/>
              <a:gd name="connsiteX324" fmla="*/ 112799 w 4489449"/>
              <a:gd name="connsiteY324" fmla="*/ 1596340 h 3233541"/>
              <a:gd name="connsiteX325" fmla="*/ 143693 w 4489449"/>
              <a:gd name="connsiteY325" fmla="*/ 1596340 h 3233541"/>
              <a:gd name="connsiteX326" fmla="*/ 164289 w 4489449"/>
              <a:gd name="connsiteY326" fmla="*/ 1637536 h 3233541"/>
              <a:gd name="connsiteX327" fmla="*/ 246673 w 4489449"/>
              <a:gd name="connsiteY327" fmla="*/ 1637536 h 3233541"/>
              <a:gd name="connsiteX328" fmla="*/ 246673 w 4489449"/>
              <a:gd name="connsiteY328" fmla="*/ 1586041 h 3233541"/>
              <a:gd name="connsiteX329" fmla="*/ 195183 w 4489449"/>
              <a:gd name="connsiteY329" fmla="*/ 1606638 h 3233541"/>
              <a:gd name="connsiteX330" fmla="*/ 174587 w 4489449"/>
              <a:gd name="connsiteY330" fmla="*/ 1586041 h 3233541"/>
              <a:gd name="connsiteX331" fmla="*/ 195183 w 4489449"/>
              <a:gd name="connsiteY331" fmla="*/ 1524247 h 3233541"/>
              <a:gd name="connsiteX332" fmla="*/ 174587 w 4489449"/>
              <a:gd name="connsiteY332" fmla="*/ 1472752 h 3233541"/>
              <a:gd name="connsiteX333" fmla="*/ 205481 w 4489449"/>
              <a:gd name="connsiteY333" fmla="*/ 1452154 h 3233541"/>
              <a:gd name="connsiteX334" fmla="*/ 215779 w 4489449"/>
              <a:gd name="connsiteY334" fmla="*/ 1493351 h 3233541"/>
              <a:gd name="connsiteX335" fmla="*/ 236375 w 4489449"/>
              <a:gd name="connsiteY335" fmla="*/ 1503650 h 3233541"/>
              <a:gd name="connsiteX336" fmla="*/ 298163 w 4489449"/>
              <a:gd name="connsiteY336" fmla="*/ 1503650 h 3233541"/>
              <a:gd name="connsiteX337" fmla="*/ 380547 w 4489449"/>
              <a:gd name="connsiteY337" fmla="*/ 1483052 h 3233541"/>
              <a:gd name="connsiteX338" fmla="*/ 390845 w 4489449"/>
              <a:gd name="connsiteY338" fmla="*/ 1431557 h 3233541"/>
              <a:gd name="connsiteX339" fmla="*/ 493825 w 4489449"/>
              <a:gd name="connsiteY339" fmla="*/ 1390361 h 3233541"/>
              <a:gd name="connsiteX340" fmla="*/ 493825 w 4489449"/>
              <a:gd name="connsiteY340" fmla="*/ 1400659 h 3233541"/>
              <a:gd name="connsiteX341" fmla="*/ 493825 w 4489449"/>
              <a:gd name="connsiteY341" fmla="*/ 1421258 h 3233541"/>
              <a:gd name="connsiteX342" fmla="*/ 514421 w 4489449"/>
              <a:gd name="connsiteY342" fmla="*/ 1421258 h 3233541"/>
              <a:gd name="connsiteX343" fmla="*/ 535017 w 4489449"/>
              <a:gd name="connsiteY343" fmla="*/ 1380061 h 3233541"/>
              <a:gd name="connsiteX344" fmla="*/ 504123 w 4489449"/>
              <a:gd name="connsiteY344" fmla="*/ 1338866 h 3233541"/>
              <a:gd name="connsiteX345" fmla="*/ 483527 w 4489449"/>
              <a:gd name="connsiteY345" fmla="*/ 1338866 h 3233541"/>
              <a:gd name="connsiteX346" fmla="*/ 462931 w 4489449"/>
              <a:gd name="connsiteY346" fmla="*/ 1328566 h 3233541"/>
              <a:gd name="connsiteX347" fmla="*/ 473229 w 4489449"/>
              <a:gd name="connsiteY347" fmla="*/ 1277073 h 3233541"/>
              <a:gd name="connsiteX348" fmla="*/ 493825 w 4489449"/>
              <a:gd name="connsiteY348" fmla="*/ 1297671 h 3233541"/>
              <a:gd name="connsiteX349" fmla="*/ 576209 w 4489449"/>
              <a:gd name="connsiteY349" fmla="*/ 1307968 h 3233541"/>
              <a:gd name="connsiteX350" fmla="*/ 637997 w 4489449"/>
              <a:gd name="connsiteY350" fmla="*/ 1297671 h 3233541"/>
              <a:gd name="connsiteX351" fmla="*/ 668891 w 4489449"/>
              <a:gd name="connsiteY351" fmla="*/ 1246175 h 3233541"/>
              <a:gd name="connsiteX352" fmla="*/ 720381 w 4489449"/>
              <a:gd name="connsiteY352" fmla="*/ 1215278 h 3233541"/>
              <a:gd name="connsiteX353" fmla="*/ 740977 w 4489449"/>
              <a:gd name="connsiteY353" fmla="*/ 1184382 h 3233541"/>
              <a:gd name="connsiteX354" fmla="*/ 802765 w 4489449"/>
              <a:gd name="connsiteY354" fmla="*/ 1132887 h 3233541"/>
              <a:gd name="connsiteX355" fmla="*/ 823361 w 4489449"/>
              <a:gd name="connsiteY355" fmla="*/ 1112289 h 3233541"/>
              <a:gd name="connsiteX356" fmla="*/ 926341 w 4489449"/>
              <a:gd name="connsiteY356" fmla="*/ 1019598 h 3233541"/>
              <a:gd name="connsiteX357" fmla="*/ 957235 w 4489449"/>
              <a:gd name="connsiteY357" fmla="*/ 978403 h 3233541"/>
              <a:gd name="connsiteX358" fmla="*/ 1029321 w 4489449"/>
              <a:gd name="connsiteY358" fmla="*/ 957803 h 3233541"/>
              <a:gd name="connsiteX359" fmla="*/ 1101407 w 4489449"/>
              <a:gd name="connsiteY359" fmla="*/ 968103 h 3233541"/>
              <a:gd name="connsiteX360" fmla="*/ 1163195 w 4489449"/>
              <a:gd name="connsiteY360" fmla="*/ 957803 h 3233541"/>
              <a:gd name="connsiteX361" fmla="*/ 1214685 w 4489449"/>
              <a:gd name="connsiteY361" fmla="*/ 957803 h 3233541"/>
              <a:gd name="connsiteX362" fmla="*/ 1369155 w 4489449"/>
              <a:gd name="connsiteY362" fmla="*/ 844515 h 3233541"/>
              <a:gd name="connsiteX363" fmla="*/ 1400050 w 4489449"/>
              <a:gd name="connsiteY363" fmla="*/ 834217 h 3233541"/>
              <a:gd name="connsiteX364" fmla="*/ 1441242 w 4489449"/>
              <a:gd name="connsiteY364" fmla="*/ 782721 h 3233541"/>
              <a:gd name="connsiteX365" fmla="*/ 1513328 w 4489449"/>
              <a:gd name="connsiteY365" fmla="*/ 741526 h 3233541"/>
              <a:gd name="connsiteX366" fmla="*/ 1533924 w 4489449"/>
              <a:gd name="connsiteY366" fmla="*/ 762124 h 3233541"/>
              <a:gd name="connsiteX367" fmla="*/ 1533924 w 4489449"/>
              <a:gd name="connsiteY367" fmla="*/ 854814 h 3233541"/>
              <a:gd name="connsiteX368" fmla="*/ 1564818 w 4489449"/>
              <a:gd name="connsiteY368" fmla="*/ 865112 h 3233541"/>
              <a:gd name="connsiteX369" fmla="*/ 1554520 w 4489449"/>
              <a:gd name="connsiteY369" fmla="*/ 916608 h 3233541"/>
              <a:gd name="connsiteX370" fmla="*/ 1554520 w 4489449"/>
              <a:gd name="connsiteY370" fmla="*/ 916609 h 3233541"/>
              <a:gd name="connsiteX371" fmla="*/ 1559669 w 4489449"/>
              <a:gd name="connsiteY371" fmla="*/ 894725 h 3233541"/>
              <a:gd name="connsiteX372" fmla="*/ 1564818 w 4489449"/>
              <a:gd name="connsiteY372" fmla="*/ 865114 h 3233541"/>
              <a:gd name="connsiteX373" fmla="*/ 1576403 w 4489449"/>
              <a:gd name="connsiteY373" fmla="*/ 889253 h 3233541"/>
              <a:gd name="connsiteX374" fmla="*/ 1580265 w 4489449"/>
              <a:gd name="connsiteY374" fmla="*/ 903736 h 3233541"/>
              <a:gd name="connsiteX375" fmla="*/ 1580265 w 4489449"/>
              <a:gd name="connsiteY375" fmla="*/ 903735 h 3233541"/>
              <a:gd name="connsiteX376" fmla="*/ 1564818 w 4489449"/>
              <a:gd name="connsiteY376" fmla="*/ 865112 h 3233541"/>
              <a:gd name="connsiteX377" fmla="*/ 1554520 w 4489449"/>
              <a:gd name="connsiteY377" fmla="*/ 690031 h 3233541"/>
              <a:gd name="connsiteX378" fmla="*/ 1606010 w 4489449"/>
              <a:gd name="connsiteY378" fmla="*/ 679732 h 3233541"/>
              <a:gd name="connsiteX379" fmla="*/ 1606010 w 4489449"/>
              <a:gd name="connsiteY379" fmla="*/ 793021 h 3233541"/>
              <a:gd name="connsiteX380" fmla="*/ 1626606 w 4489449"/>
              <a:gd name="connsiteY380" fmla="*/ 854814 h 3233541"/>
              <a:gd name="connsiteX381" fmla="*/ 1667798 w 4489449"/>
              <a:gd name="connsiteY381" fmla="*/ 834217 h 3233541"/>
              <a:gd name="connsiteX382" fmla="*/ 1698692 w 4489449"/>
              <a:gd name="connsiteY382" fmla="*/ 854814 h 3233541"/>
              <a:gd name="connsiteX383" fmla="*/ 1708990 w 4489449"/>
              <a:gd name="connsiteY383" fmla="*/ 844515 h 3233541"/>
              <a:gd name="connsiteX384" fmla="*/ 1698692 w 4489449"/>
              <a:gd name="connsiteY384" fmla="*/ 823918 h 3233541"/>
              <a:gd name="connsiteX385" fmla="*/ 1739884 w 4489449"/>
              <a:gd name="connsiteY385" fmla="*/ 720928 h 3233541"/>
              <a:gd name="connsiteX386" fmla="*/ 1750182 w 4489449"/>
              <a:gd name="connsiteY386" fmla="*/ 710628 h 3233541"/>
              <a:gd name="connsiteX387" fmla="*/ 1770778 w 4489449"/>
              <a:gd name="connsiteY387" fmla="*/ 741526 h 3233541"/>
              <a:gd name="connsiteX388" fmla="*/ 1801672 w 4489449"/>
              <a:gd name="connsiteY388" fmla="*/ 648835 h 3233541"/>
              <a:gd name="connsiteX389" fmla="*/ 1863460 w 4489449"/>
              <a:gd name="connsiteY389" fmla="*/ 628238 h 3233541"/>
              <a:gd name="connsiteX390" fmla="*/ 1914950 w 4489449"/>
              <a:gd name="connsiteY390" fmla="*/ 597340 h 3233541"/>
              <a:gd name="connsiteX391" fmla="*/ 1935546 w 4489449"/>
              <a:gd name="connsiteY391" fmla="*/ 659133 h 3233541"/>
              <a:gd name="connsiteX392" fmla="*/ 1945844 w 4489449"/>
              <a:gd name="connsiteY392" fmla="*/ 659133 h 3233541"/>
              <a:gd name="connsiteX393" fmla="*/ 1966440 w 4489449"/>
              <a:gd name="connsiteY393" fmla="*/ 617938 h 3233541"/>
              <a:gd name="connsiteX394" fmla="*/ 1987036 w 4489449"/>
              <a:gd name="connsiteY394" fmla="*/ 587042 h 3233541"/>
              <a:gd name="connsiteX395" fmla="*/ 1945844 w 4489449"/>
              <a:gd name="connsiteY395" fmla="*/ 566444 h 3233541"/>
              <a:gd name="connsiteX396" fmla="*/ 1956142 w 4489449"/>
              <a:gd name="connsiteY396" fmla="*/ 535547 h 3233541"/>
              <a:gd name="connsiteX397" fmla="*/ 2059122 w 4489449"/>
              <a:gd name="connsiteY397" fmla="*/ 525247 h 3233541"/>
              <a:gd name="connsiteX398" fmla="*/ 2059122 w 4489449"/>
              <a:gd name="connsiteY398" fmla="*/ 473753 h 3233541"/>
              <a:gd name="connsiteX399" fmla="*/ 2110612 w 4489449"/>
              <a:gd name="connsiteY399" fmla="*/ 442856 h 3233541"/>
              <a:gd name="connsiteX400" fmla="*/ 2141506 w 4489449"/>
              <a:gd name="connsiteY400" fmla="*/ 391361 h 3233541"/>
              <a:gd name="connsiteX401" fmla="*/ 2182698 w 4489449"/>
              <a:gd name="connsiteY401" fmla="*/ 422258 h 3233541"/>
              <a:gd name="connsiteX402" fmla="*/ 2192996 w 4489449"/>
              <a:gd name="connsiteY402" fmla="*/ 350165 h 3233541"/>
              <a:gd name="connsiteX403" fmla="*/ 2213592 w 4489449"/>
              <a:gd name="connsiteY403" fmla="*/ 329567 h 3233541"/>
              <a:gd name="connsiteX404" fmla="*/ 2265082 w 4489449"/>
              <a:gd name="connsiteY404" fmla="*/ 360463 h 3233541"/>
              <a:gd name="connsiteX405" fmla="*/ 2265082 w 4489449"/>
              <a:gd name="connsiteY405" fmla="*/ 288372 h 3233541"/>
              <a:gd name="connsiteX406" fmla="*/ 2285678 w 4489449"/>
              <a:gd name="connsiteY406" fmla="*/ 267774 h 3233541"/>
              <a:gd name="connsiteX407" fmla="*/ 2316572 w 4489449"/>
              <a:gd name="connsiteY407" fmla="*/ 267774 h 3233541"/>
              <a:gd name="connsiteX408" fmla="*/ 2337168 w 4489449"/>
              <a:gd name="connsiteY408" fmla="*/ 257474 h 3233541"/>
              <a:gd name="connsiteX409" fmla="*/ 2326870 w 4489449"/>
              <a:gd name="connsiteY409" fmla="*/ 185381 h 3233541"/>
              <a:gd name="connsiteX410" fmla="*/ 2378360 w 4489449"/>
              <a:gd name="connsiteY410" fmla="*/ 175083 h 3233541"/>
              <a:gd name="connsiteX411" fmla="*/ 2409254 w 4489449"/>
              <a:gd name="connsiteY411" fmla="*/ 102990 h 3233541"/>
              <a:gd name="connsiteX412" fmla="*/ 2440148 w 4489449"/>
              <a:gd name="connsiteY412" fmla="*/ 41196 h 3233541"/>
              <a:gd name="connsiteX413" fmla="*/ 2460744 w 4489449"/>
              <a:gd name="connsiteY413" fmla="*/ 61793 h 3233541"/>
              <a:gd name="connsiteX414" fmla="*/ 2450446 w 4489449"/>
              <a:gd name="connsiteY414" fmla="*/ 102990 h 3233541"/>
              <a:gd name="connsiteX415" fmla="*/ 2460744 w 4489449"/>
              <a:gd name="connsiteY415" fmla="*/ 113289 h 3233541"/>
              <a:gd name="connsiteX416" fmla="*/ 2471042 w 4489449"/>
              <a:gd name="connsiteY416" fmla="*/ 113289 h 3233541"/>
              <a:gd name="connsiteX417" fmla="*/ 2491638 w 4489449"/>
              <a:gd name="connsiteY417" fmla="*/ 72093 h 3233541"/>
              <a:gd name="connsiteX418" fmla="*/ 2512234 w 4489449"/>
              <a:gd name="connsiteY418" fmla="*/ 113289 h 3233541"/>
              <a:gd name="connsiteX419" fmla="*/ 2532830 w 4489449"/>
              <a:gd name="connsiteY419" fmla="*/ 92691 h 3233541"/>
              <a:gd name="connsiteX420" fmla="*/ 2532830 w 4489449"/>
              <a:gd name="connsiteY420" fmla="*/ 51495 h 3233541"/>
              <a:gd name="connsiteX421" fmla="*/ 2532830 w 4489449"/>
              <a:gd name="connsiteY421" fmla="*/ 0 h 3233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</a:cxnLst>
            <a:rect l="l" t="t" r="r" b="b"/>
            <a:pathLst>
              <a:path w="4489449" h="3233541">
                <a:moveTo>
                  <a:pt x="4427661" y="2842515"/>
                </a:moveTo>
                <a:cubicBezTo>
                  <a:pt x="4437959" y="2842515"/>
                  <a:pt x="4437959" y="2852813"/>
                  <a:pt x="4437959" y="2852813"/>
                </a:cubicBezTo>
                <a:cubicBezTo>
                  <a:pt x="4417363" y="2883711"/>
                  <a:pt x="4396767" y="2904309"/>
                  <a:pt x="4396767" y="2935204"/>
                </a:cubicBezTo>
                <a:cubicBezTo>
                  <a:pt x="4396767" y="2945504"/>
                  <a:pt x="4396767" y="2966102"/>
                  <a:pt x="4396767" y="2976402"/>
                </a:cubicBezTo>
                <a:cubicBezTo>
                  <a:pt x="4417363" y="2986700"/>
                  <a:pt x="4427661" y="2986700"/>
                  <a:pt x="4437959" y="2976402"/>
                </a:cubicBezTo>
                <a:cubicBezTo>
                  <a:pt x="4458555" y="2976402"/>
                  <a:pt x="4468853" y="2976402"/>
                  <a:pt x="4489449" y="2986700"/>
                </a:cubicBezTo>
                <a:cubicBezTo>
                  <a:pt x="4479151" y="2986700"/>
                  <a:pt x="4479151" y="2986700"/>
                  <a:pt x="4479151" y="2986700"/>
                </a:cubicBezTo>
                <a:cubicBezTo>
                  <a:pt x="4479151" y="2996999"/>
                  <a:pt x="4479151" y="2996999"/>
                  <a:pt x="4468853" y="3007297"/>
                </a:cubicBezTo>
                <a:cubicBezTo>
                  <a:pt x="4458555" y="3017597"/>
                  <a:pt x="4437959" y="3017597"/>
                  <a:pt x="4417363" y="3027895"/>
                </a:cubicBezTo>
                <a:cubicBezTo>
                  <a:pt x="4407065" y="3027895"/>
                  <a:pt x="4386469" y="3048493"/>
                  <a:pt x="4376171" y="3038195"/>
                </a:cubicBezTo>
                <a:cubicBezTo>
                  <a:pt x="4355575" y="3038195"/>
                  <a:pt x="4345277" y="3027895"/>
                  <a:pt x="4334979" y="3017597"/>
                </a:cubicBezTo>
                <a:cubicBezTo>
                  <a:pt x="4324681" y="3017597"/>
                  <a:pt x="4314383" y="3027895"/>
                  <a:pt x="4293787" y="3027895"/>
                </a:cubicBezTo>
                <a:cubicBezTo>
                  <a:pt x="4283489" y="3027895"/>
                  <a:pt x="4273191" y="3027895"/>
                  <a:pt x="4262893" y="3027895"/>
                </a:cubicBezTo>
                <a:cubicBezTo>
                  <a:pt x="4257744" y="3027895"/>
                  <a:pt x="4252595" y="3030470"/>
                  <a:pt x="4247446" y="3034333"/>
                </a:cubicBezTo>
                <a:lnTo>
                  <a:pt x="4238178" y="3042830"/>
                </a:lnTo>
                <a:lnTo>
                  <a:pt x="4231999" y="3038195"/>
                </a:lnTo>
                <a:lnTo>
                  <a:pt x="4226685" y="3043511"/>
                </a:lnTo>
                <a:lnTo>
                  <a:pt x="4211403" y="3029182"/>
                </a:lnTo>
                <a:cubicBezTo>
                  <a:pt x="4206254" y="3022746"/>
                  <a:pt x="4201105" y="3017597"/>
                  <a:pt x="4190807" y="3017597"/>
                </a:cubicBezTo>
                <a:cubicBezTo>
                  <a:pt x="4180509" y="3017597"/>
                  <a:pt x="4180509" y="3027895"/>
                  <a:pt x="4180509" y="3027895"/>
                </a:cubicBezTo>
                <a:lnTo>
                  <a:pt x="4180509" y="3027896"/>
                </a:lnTo>
                <a:cubicBezTo>
                  <a:pt x="4180509" y="3027896"/>
                  <a:pt x="4180509" y="3017599"/>
                  <a:pt x="4190807" y="3017599"/>
                </a:cubicBezTo>
                <a:cubicBezTo>
                  <a:pt x="4201105" y="3017599"/>
                  <a:pt x="4206254" y="3022747"/>
                  <a:pt x="4211403" y="3029182"/>
                </a:cubicBezTo>
                <a:lnTo>
                  <a:pt x="4226684" y="3043511"/>
                </a:lnTo>
                <a:lnTo>
                  <a:pt x="4226685" y="3043511"/>
                </a:lnTo>
                <a:lnTo>
                  <a:pt x="4231999" y="3038196"/>
                </a:lnTo>
                <a:lnTo>
                  <a:pt x="4238177" y="3042831"/>
                </a:lnTo>
                <a:lnTo>
                  <a:pt x="4238178" y="3042830"/>
                </a:lnTo>
                <a:lnTo>
                  <a:pt x="4273191" y="3069092"/>
                </a:lnTo>
                <a:cubicBezTo>
                  <a:pt x="4314383" y="3069092"/>
                  <a:pt x="4355575" y="3048493"/>
                  <a:pt x="4396767" y="3079390"/>
                </a:cubicBezTo>
                <a:cubicBezTo>
                  <a:pt x="4386469" y="3110288"/>
                  <a:pt x="4386469" y="3130886"/>
                  <a:pt x="4386469" y="3151483"/>
                </a:cubicBezTo>
                <a:cubicBezTo>
                  <a:pt x="4386469" y="3161781"/>
                  <a:pt x="4376171" y="3172081"/>
                  <a:pt x="4376171" y="3172081"/>
                </a:cubicBezTo>
                <a:cubicBezTo>
                  <a:pt x="4365873" y="3172081"/>
                  <a:pt x="4355575" y="3172081"/>
                  <a:pt x="4345277" y="3161781"/>
                </a:cubicBezTo>
                <a:cubicBezTo>
                  <a:pt x="4345277" y="3151483"/>
                  <a:pt x="4345277" y="3141184"/>
                  <a:pt x="4334979" y="3130886"/>
                </a:cubicBezTo>
                <a:cubicBezTo>
                  <a:pt x="4324681" y="3130886"/>
                  <a:pt x="4324681" y="3130886"/>
                  <a:pt x="4324681" y="3141184"/>
                </a:cubicBezTo>
                <a:cubicBezTo>
                  <a:pt x="4324681" y="3141184"/>
                  <a:pt x="4324681" y="3151483"/>
                  <a:pt x="4324681" y="3151483"/>
                </a:cubicBezTo>
                <a:cubicBezTo>
                  <a:pt x="4334979" y="3182381"/>
                  <a:pt x="4304085" y="3202979"/>
                  <a:pt x="4304085" y="3223576"/>
                </a:cubicBezTo>
                <a:lnTo>
                  <a:pt x="4305331" y="3233541"/>
                </a:lnTo>
                <a:lnTo>
                  <a:pt x="3799455" y="3233541"/>
                </a:lnTo>
                <a:lnTo>
                  <a:pt x="3798196" y="3218427"/>
                </a:lnTo>
                <a:cubicBezTo>
                  <a:pt x="3796909" y="3213278"/>
                  <a:pt x="3794334" y="3208128"/>
                  <a:pt x="3789185" y="3202979"/>
                </a:cubicBezTo>
                <a:cubicBezTo>
                  <a:pt x="3799483" y="3192679"/>
                  <a:pt x="3820079" y="3202979"/>
                  <a:pt x="3820079" y="3182381"/>
                </a:cubicBezTo>
                <a:cubicBezTo>
                  <a:pt x="3809781" y="3172081"/>
                  <a:pt x="3799483" y="3161781"/>
                  <a:pt x="3789185" y="3151483"/>
                </a:cubicBezTo>
                <a:cubicBezTo>
                  <a:pt x="3809781" y="3130886"/>
                  <a:pt x="3830377" y="3141184"/>
                  <a:pt x="3840675" y="3130886"/>
                </a:cubicBezTo>
                <a:cubicBezTo>
                  <a:pt x="3871569" y="3130886"/>
                  <a:pt x="3892165" y="3151483"/>
                  <a:pt x="3902463" y="3172081"/>
                </a:cubicBezTo>
                <a:cubicBezTo>
                  <a:pt x="3923059" y="3141184"/>
                  <a:pt x="3923059" y="3110288"/>
                  <a:pt x="3923059" y="3079390"/>
                </a:cubicBezTo>
                <a:cubicBezTo>
                  <a:pt x="3933357" y="3079390"/>
                  <a:pt x="3933357" y="3069092"/>
                  <a:pt x="3943655" y="3069092"/>
                </a:cubicBezTo>
                <a:cubicBezTo>
                  <a:pt x="3943655" y="3079390"/>
                  <a:pt x="3953953" y="3079390"/>
                  <a:pt x="3953953" y="3089690"/>
                </a:cubicBezTo>
                <a:cubicBezTo>
                  <a:pt x="3953953" y="3099988"/>
                  <a:pt x="3953953" y="3110288"/>
                  <a:pt x="3964251" y="3120586"/>
                </a:cubicBezTo>
                <a:cubicBezTo>
                  <a:pt x="3974549" y="3130886"/>
                  <a:pt x="3984847" y="3120586"/>
                  <a:pt x="3984847" y="3110288"/>
                </a:cubicBezTo>
                <a:cubicBezTo>
                  <a:pt x="3974549" y="3089690"/>
                  <a:pt x="3984847" y="3058793"/>
                  <a:pt x="3995145" y="3038195"/>
                </a:cubicBezTo>
                <a:cubicBezTo>
                  <a:pt x="3995145" y="3027895"/>
                  <a:pt x="3995145" y="3017597"/>
                  <a:pt x="3984847" y="3007297"/>
                </a:cubicBezTo>
                <a:cubicBezTo>
                  <a:pt x="3984847" y="2996999"/>
                  <a:pt x="3984847" y="2986700"/>
                  <a:pt x="3984847" y="2986700"/>
                </a:cubicBezTo>
                <a:cubicBezTo>
                  <a:pt x="3995145" y="2976402"/>
                  <a:pt x="4005443" y="2976402"/>
                  <a:pt x="4005443" y="2986700"/>
                </a:cubicBezTo>
                <a:cubicBezTo>
                  <a:pt x="4015741" y="2996999"/>
                  <a:pt x="4026039" y="3007297"/>
                  <a:pt x="4026039" y="3017597"/>
                </a:cubicBezTo>
                <a:cubicBezTo>
                  <a:pt x="4026039" y="3027895"/>
                  <a:pt x="4026039" y="3038195"/>
                  <a:pt x="4026039" y="3048493"/>
                </a:cubicBezTo>
                <a:cubicBezTo>
                  <a:pt x="4056933" y="3069092"/>
                  <a:pt x="4087827" y="3069092"/>
                  <a:pt x="4108423" y="3069092"/>
                </a:cubicBezTo>
                <a:cubicBezTo>
                  <a:pt x="4129019" y="3038195"/>
                  <a:pt x="4129019" y="3038195"/>
                  <a:pt x="4108423" y="3017597"/>
                </a:cubicBezTo>
                <a:cubicBezTo>
                  <a:pt x="4098125" y="3017597"/>
                  <a:pt x="4087827" y="3027895"/>
                  <a:pt x="4077529" y="3027895"/>
                </a:cubicBezTo>
                <a:cubicBezTo>
                  <a:pt x="4067231" y="3027895"/>
                  <a:pt x="4056933" y="3017597"/>
                  <a:pt x="4056933" y="3007297"/>
                </a:cubicBezTo>
                <a:cubicBezTo>
                  <a:pt x="4056933" y="2986700"/>
                  <a:pt x="4056933" y="2966102"/>
                  <a:pt x="4087827" y="2935204"/>
                </a:cubicBezTo>
                <a:cubicBezTo>
                  <a:pt x="4098125" y="2935204"/>
                  <a:pt x="4118721" y="2945504"/>
                  <a:pt x="4129019" y="2945504"/>
                </a:cubicBezTo>
                <a:cubicBezTo>
                  <a:pt x="4139317" y="2955802"/>
                  <a:pt x="4149615" y="2955802"/>
                  <a:pt x="4159913" y="2955802"/>
                </a:cubicBezTo>
                <a:cubicBezTo>
                  <a:pt x="4170211" y="2955802"/>
                  <a:pt x="4180509" y="2945504"/>
                  <a:pt x="4190807" y="2945504"/>
                </a:cubicBezTo>
                <a:lnTo>
                  <a:pt x="4190807" y="2945505"/>
                </a:lnTo>
                <a:cubicBezTo>
                  <a:pt x="4190807" y="2945505"/>
                  <a:pt x="4201105" y="2955803"/>
                  <a:pt x="4201105" y="2955803"/>
                </a:cubicBezTo>
                <a:lnTo>
                  <a:pt x="4204967" y="2964815"/>
                </a:lnTo>
                <a:cubicBezTo>
                  <a:pt x="4206254" y="2963527"/>
                  <a:pt x="4206254" y="2960952"/>
                  <a:pt x="4201105" y="2955802"/>
                </a:cubicBezTo>
                <a:cubicBezTo>
                  <a:pt x="4201105" y="2955802"/>
                  <a:pt x="4190807" y="2945504"/>
                  <a:pt x="4190807" y="2945504"/>
                </a:cubicBezTo>
                <a:cubicBezTo>
                  <a:pt x="4211403" y="2914607"/>
                  <a:pt x="4231999" y="2924906"/>
                  <a:pt x="4262893" y="2935204"/>
                </a:cubicBezTo>
                <a:cubicBezTo>
                  <a:pt x="4262893" y="2945504"/>
                  <a:pt x="4262893" y="2955802"/>
                  <a:pt x="4273191" y="2966102"/>
                </a:cubicBezTo>
                <a:lnTo>
                  <a:pt x="4265537" y="2967197"/>
                </a:lnTo>
                <a:lnTo>
                  <a:pt x="4264180" y="2967390"/>
                </a:lnTo>
                <a:lnTo>
                  <a:pt x="4264181" y="2967390"/>
                </a:lnTo>
                <a:lnTo>
                  <a:pt x="4265537" y="2967197"/>
                </a:lnTo>
                <a:lnTo>
                  <a:pt x="4273190" y="2966103"/>
                </a:lnTo>
                <a:lnTo>
                  <a:pt x="4273191" y="2966102"/>
                </a:lnTo>
                <a:cubicBezTo>
                  <a:pt x="4273191" y="2955802"/>
                  <a:pt x="4283489" y="2945504"/>
                  <a:pt x="4304085" y="2935204"/>
                </a:cubicBezTo>
                <a:cubicBezTo>
                  <a:pt x="4314383" y="2924906"/>
                  <a:pt x="4334979" y="2924906"/>
                  <a:pt x="4345277" y="2914607"/>
                </a:cubicBezTo>
                <a:cubicBezTo>
                  <a:pt x="4365873" y="2904309"/>
                  <a:pt x="4345277" y="2883711"/>
                  <a:pt x="4355575" y="2863111"/>
                </a:cubicBezTo>
                <a:cubicBezTo>
                  <a:pt x="4365873" y="2852813"/>
                  <a:pt x="4376171" y="2863111"/>
                  <a:pt x="4396767" y="2863111"/>
                </a:cubicBezTo>
                <a:cubicBezTo>
                  <a:pt x="4407065" y="2852813"/>
                  <a:pt x="4417363" y="2842515"/>
                  <a:pt x="4427661" y="2842515"/>
                </a:cubicBezTo>
                <a:close/>
                <a:moveTo>
                  <a:pt x="2532830" y="0"/>
                </a:moveTo>
                <a:cubicBezTo>
                  <a:pt x="2532830" y="0"/>
                  <a:pt x="2543128" y="0"/>
                  <a:pt x="2543128" y="0"/>
                </a:cubicBezTo>
                <a:cubicBezTo>
                  <a:pt x="2563724" y="0"/>
                  <a:pt x="2563724" y="30898"/>
                  <a:pt x="2584320" y="41196"/>
                </a:cubicBezTo>
                <a:cubicBezTo>
                  <a:pt x="2594618" y="41196"/>
                  <a:pt x="2604916" y="41196"/>
                  <a:pt x="2615214" y="30898"/>
                </a:cubicBezTo>
                <a:cubicBezTo>
                  <a:pt x="2635810" y="41196"/>
                  <a:pt x="2646108" y="51495"/>
                  <a:pt x="2656406" y="61793"/>
                </a:cubicBezTo>
                <a:cubicBezTo>
                  <a:pt x="2666704" y="72093"/>
                  <a:pt x="2656406" y="92691"/>
                  <a:pt x="2656406" y="102990"/>
                </a:cubicBezTo>
                <a:cubicBezTo>
                  <a:pt x="2656406" y="113289"/>
                  <a:pt x="2666704" y="113289"/>
                  <a:pt x="2666704" y="113289"/>
                </a:cubicBezTo>
                <a:cubicBezTo>
                  <a:pt x="2677002" y="113289"/>
                  <a:pt x="2677002" y="102990"/>
                  <a:pt x="2677002" y="92691"/>
                </a:cubicBezTo>
                <a:cubicBezTo>
                  <a:pt x="2687300" y="82393"/>
                  <a:pt x="2687300" y="72093"/>
                  <a:pt x="2697598" y="61793"/>
                </a:cubicBezTo>
                <a:cubicBezTo>
                  <a:pt x="2697598" y="51495"/>
                  <a:pt x="2707896" y="41196"/>
                  <a:pt x="2707896" y="20598"/>
                </a:cubicBezTo>
                <a:cubicBezTo>
                  <a:pt x="2718194" y="20598"/>
                  <a:pt x="2728492" y="30898"/>
                  <a:pt x="2749088" y="30898"/>
                </a:cubicBezTo>
                <a:cubicBezTo>
                  <a:pt x="2759386" y="30898"/>
                  <a:pt x="2769684" y="30898"/>
                  <a:pt x="2779982" y="30898"/>
                </a:cubicBezTo>
                <a:cubicBezTo>
                  <a:pt x="2800578" y="30898"/>
                  <a:pt x="2810876" y="41196"/>
                  <a:pt x="2821174" y="51495"/>
                </a:cubicBezTo>
                <a:cubicBezTo>
                  <a:pt x="2831472" y="61793"/>
                  <a:pt x="2831472" y="72093"/>
                  <a:pt x="2831472" y="92691"/>
                </a:cubicBezTo>
                <a:cubicBezTo>
                  <a:pt x="2841770" y="102990"/>
                  <a:pt x="2852068" y="113289"/>
                  <a:pt x="2872664" y="113289"/>
                </a:cubicBezTo>
                <a:cubicBezTo>
                  <a:pt x="2872664" y="133886"/>
                  <a:pt x="2862366" y="144186"/>
                  <a:pt x="2852068" y="154484"/>
                </a:cubicBezTo>
                <a:cubicBezTo>
                  <a:pt x="2841770" y="154484"/>
                  <a:pt x="2821174" y="154484"/>
                  <a:pt x="2810876" y="154484"/>
                </a:cubicBezTo>
                <a:cubicBezTo>
                  <a:pt x="2810876" y="154484"/>
                  <a:pt x="2810876" y="154484"/>
                  <a:pt x="2810876" y="164784"/>
                </a:cubicBezTo>
                <a:cubicBezTo>
                  <a:pt x="2810876" y="185381"/>
                  <a:pt x="2821174" y="205979"/>
                  <a:pt x="2821174" y="216279"/>
                </a:cubicBezTo>
                <a:cubicBezTo>
                  <a:pt x="2810876" y="267774"/>
                  <a:pt x="2779982" y="288372"/>
                  <a:pt x="2749088" y="308970"/>
                </a:cubicBezTo>
                <a:cubicBezTo>
                  <a:pt x="2738790" y="339865"/>
                  <a:pt x="2728492" y="370763"/>
                  <a:pt x="2718194" y="401660"/>
                </a:cubicBezTo>
                <a:cubicBezTo>
                  <a:pt x="2718194" y="401660"/>
                  <a:pt x="2707896" y="411958"/>
                  <a:pt x="2697598" y="422258"/>
                </a:cubicBezTo>
                <a:cubicBezTo>
                  <a:pt x="2687300" y="422258"/>
                  <a:pt x="2687300" y="422258"/>
                  <a:pt x="2666704" y="432556"/>
                </a:cubicBezTo>
                <a:cubicBezTo>
                  <a:pt x="2656406" y="442856"/>
                  <a:pt x="2646108" y="463454"/>
                  <a:pt x="2635810" y="484051"/>
                </a:cubicBezTo>
                <a:cubicBezTo>
                  <a:pt x="2625512" y="494351"/>
                  <a:pt x="2604916" y="494351"/>
                  <a:pt x="2594618" y="504649"/>
                </a:cubicBezTo>
                <a:cubicBezTo>
                  <a:pt x="2584320" y="514949"/>
                  <a:pt x="2584320" y="535547"/>
                  <a:pt x="2574022" y="545845"/>
                </a:cubicBezTo>
                <a:cubicBezTo>
                  <a:pt x="2563724" y="566444"/>
                  <a:pt x="2553426" y="576742"/>
                  <a:pt x="2543128" y="576742"/>
                </a:cubicBezTo>
                <a:cubicBezTo>
                  <a:pt x="2543128" y="576742"/>
                  <a:pt x="2532830" y="587042"/>
                  <a:pt x="2532830" y="587042"/>
                </a:cubicBezTo>
                <a:cubicBezTo>
                  <a:pt x="2522532" y="617938"/>
                  <a:pt x="2491638" y="628238"/>
                  <a:pt x="2471042" y="659133"/>
                </a:cubicBezTo>
                <a:cubicBezTo>
                  <a:pt x="2481340" y="679732"/>
                  <a:pt x="2491638" y="679732"/>
                  <a:pt x="2501936" y="690031"/>
                </a:cubicBezTo>
                <a:cubicBezTo>
                  <a:pt x="2491638" y="700331"/>
                  <a:pt x="2491638" y="710628"/>
                  <a:pt x="2471042" y="720928"/>
                </a:cubicBezTo>
                <a:cubicBezTo>
                  <a:pt x="2460744" y="751825"/>
                  <a:pt x="2450446" y="793021"/>
                  <a:pt x="2450446" y="834217"/>
                </a:cubicBezTo>
                <a:cubicBezTo>
                  <a:pt x="2429850" y="844515"/>
                  <a:pt x="2419552" y="854814"/>
                  <a:pt x="2398956" y="865112"/>
                </a:cubicBezTo>
                <a:cubicBezTo>
                  <a:pt x="2398956" y="875412"/>
                  <a:pt x="2398956" y="885712"/>
                  <a:pt x="2409254" y="906310"/>
                </a:cubicBezTo>
                <a:cubicBezTo>
                  <a:pt x="2398956" y="926908"/>
                  <a:pt x="2378360" y="947505"/>
                  <a:pt x="2368062" y="968103"/>
                </a:cubicBezTo>
                <a:cubicBezTo>
                  <a:pt x="2357764" y="968103"/>
                  <a:pt x="2357764" y="978403"/>
                  <a:pt x="2347466" y="988701"/>
                </a:cubicBezTo>
                <a:cubicBezTo>
                  <a:pt x="2326870" y="999001"/>
                  <a:pt x="2306274" y="1009298"/>
                  <a:pt x="2285678" y="1019598"/>
                </a:cubicBezTo>
                <a:cubicBezTo>
                  <a:pt x="2265082" y="1050495"/>
                  <a:pt x="2254784" y="1081391"/>
                  <a:pt x="2223890" y="1112289"/>
                </a:cubicBezTo>
                <a:cubicBezTo>
                  <a:pt x="2213592" y="1122588"/>
                  <a:pt x="2203294" y="1122588"/>
                  <a:pt x="2182698" y="1132887"/>
                </a:cubicBezTo>
                <a:cubicBezTo>
                  <a:pt x="2172400" y="1153484"/>
                  <a:pt x="2162102" y="1184382"/>
                  <a:pt x="2162102" y="1204980"/>
                </a:cubicBezTo>
                <a:cubicBezTo>
                  <a:pt x="2172400" y="1225577"/>
                  <a:pt x="2182698" y="1225577"/>
                  <a:pt x="2192996" y="1225577"/>
                </a:cubicBezTo>
                <a:cubicBezTo>
                  <a:pt x="2192996" y="1225577"/>
                  <a:pt x="2203294" y="1215278"/>
                  <a:pt x="2203294" y="1215278"/>
                </a:cubicBezTo>
                <a:cubicBezTo>
                  <a:pt x="2203294" y="1194681"/>
                  <a:pt x="2203294" y="1184382"/>
                  <a:pt x="2203294" y="1174082"/>
                </a:cubicBezTo>
                <a:cubicBezTo>
                  <a:pt x="2213592" y="1153484"/>
                  <a:pt x="2244486" y="1163782"/>
                  <a:pt x="2265082" y="1153484"/>
                </a:cubicBezTo>
                <a:cubicBezTo>
                  <a:pt x="2275380" y="1143185"/>
                  <a:pt x="2275380" y="1132887"/>
                  <a:pt x="2275380" y="1112289"/>
                </a:cubicBezTo>
                <a:cubicBezTo>
                  <a:pt x="2275380" y="1101989"/>
                  <a:pt x="2285678" y="1101989"/>
                  <a:pt x="2306274" y="1091691"/>
                </a:cubicBezTo>
                <a:cubicBezTo>
                  <a:pt x="2326870" y="1122588"/>
                  <a:pt x="2316572" y="1153484"/>
                  <a:pt x="2306274" y="1174082"/>
                </a:cubicBezTo>
                <a:cubicBezTo>
                  <a:pt x="2295976" y="1194681"/>
                  <a:pt x="2275380" y="1194681"/>
                  <a:pt x="2265082" y="1194681"/>
                </a:cubicBezTo>
                <a:cubicBezTo>
                  <a:pt x="2254784" y="1194681"/>
                  <a:pt x="2254784" y="1204980"/>
                  <a:pt x="2254784" y="1204980"/>
                </a:cubicBezTo>
                <a:cubicBezTo>
                  <a:pt x="2244486" y="1225577"/>
                  <a:pt x="2244486" y="1246175"/>
                  <a:pt x="2244486" y="1256473"/>
                </a:cubicBezTo>
                <a:cubicBezTo>
                  <a:pt x="2234188" y="1266773"/>
                  <a:pt x="2223890" y="1277073"/>
                  <a:pt x="2213592" y="1277073"/>
                </a:cubicBezTo>
                <a:cubicBezTo>
                  <a:pt x="2203294" y="1277073"/>
                  <a:pt x="2192996" y="1266773"/>
                  <a:pt x="2182698" y="1266773"/>
                </a:cubicBezTo>
                <a:cubicBezTo>
                  <a:pt x="2182698" y="1266773"/>
                  <a:pt x="2172400" y="1277073"/>
                  <a:pt x="2162102" y="1277073"/>
                </a:cubicBezTo>
                <a:cubicBezTo>
                  <a:pt x="2151804" y="1277073"/>
                  <a:pt x="2141506" y="1277073"/>
                  <a:pt x="2141506" y="1277073"/>
                </a:cubicBezTo>
                <a:cubicBezTo>
                  <a:pt x="2131208" y="1277073"/>
                  <a:pt x="2120910" y="1266773"/>
                  <a:pt x="2110612" y="1266773"/>
                </a:cubicBezTo>
                <a:cubicBezTo>
                  <a:pt x="2100314" y="1287371"/>
                  <a:pt x="2120910" y="1307968"/>
                  <a:pt x="2100314" y="1328566"/>
                </a:cubicBezTo>
                <a:cubicBezTo>
                  <a:pt x="2090016" y="1349165"/>
                  <a:pt x="2059122" y="1328566"/>
                  <a:pt x="2038526" y="1349165"/>
                </a:cubicBezTo>
                <a:cubicBezTo>
                  <a:pt x="2028228" y="1380061"/>
                  <a:pt x="2069420" y="1390361"/>
                  <a:pt x="2069420" y="1421258"/>
                </a:cubicBezTo>
                <a:cubicBezTo>
                  <a:pt x="2048824" y="1431557"/>
                  <a:pt x="2038526" y="1410959"/>
                  <a:pt x="2028228" y="1410959"/>
                </a:cubicBezTo>
                <a:cubicBezTo>
                  <a:pt x="2007632" y="1410959"/>
                  <a:pt x="1987036" y="1400659"/>
                  <a:pt x="1976738" y="1400659"/>
                </a:cubicBezTo>
                <a:cubicBezTo>
                  <a:pt x="1966440" y="1410959"/>
                  <a:pt x="1956142" y="1421258"/>
                  <a:pt x="1956142" y="1441855"/>
                </a:cubicBezTo>
                <a:cubicBezTo>
                  <a:pt x="1956142" y="1431557"/>
                  <a:pt x="1956142" y="1431557"/>
                  <a:pt x="1956142" y="1431557"/>
                </a:cubicBezTo>
                <a:cubicBezTo>
                  <a:pt x="1945844" y="1441855"/>
                  <a:pt x="1935546" y="1452154"/>
                  <a:pt x="1925248" y="1462452"/>
                </a:cubicBezTo>
                <a:cubicBezTo>
                  <a:pt x="1914950" y="1483052"/>
                  <a:pt x="1914950" y="1503650"/>
                  <a:pt x="1925248" y="1524247"/>
                </a:cubicBezTo>
                <a:cubicBezTo>
                  <a:pt x="1935546" y="1544845"/>
                  <a:pt x="1935546" y="1565444"/>
                  <a:pt x="1935546" y="1596340"/>
                </a:cubicBezTo>
                <a:cubicBezTo>
                  <a:pt x="1925248" y="1596340"/>
                  <a:pt x="1914950" y="1586041"/>
                  <a:pt x="1904652" y="1586041"/>
                </a:cubicBezTo>
                <a:cubicBezTo>
                  <a:pt x="1904652" y="1596340"/>
                  <a:pt x="1894354" y="1606638"/>
                  <a:pt x="1894354" y="1616938"/>
                </a:cubicBezTo>
                <a:cubicBezTo>
                  <a:pt x="1884056" y="1616938"/>
                  <a:pt x="1873758" y="1616938"/>
                  <a:pt x="1863460" y="1627236"/>
                </a:cubicBezTo>
                <a:cubicBezTo>
                  <a:pt x="1842864" y="1637536"/>
                  <a:pt x="1811970" y="1658134"/>
                  <a:pt x="1791374" y="1678731"/>
                </a:cubicBezTo>
                <a:cubicBezTo>
                  <a:pt x="1781076" y="1689031"/>
                  <a:pt x="1791374" y="1689031"/>
                  <a:pt x="1791374" y="1699329"/>
                </a:cubicBezTo>
                <a:cubicBezTo>
                  <a:pt x="1811970" y="1699329"/>
                  <a:pt x="1842864" y="1699329"/>
                  <a:pt x="1853162" y="1678731"/>
                </a:cubicBezTo>
                <a:cubicBezTo>
                  <a:pt x="1884056" y="1658134"/>
                  <a:pt x="1914950" y="1647835"/>
                  <a:pt x="1956142" y="1637536"/>
                </a:cubicBezTo>
                <a:cubicBezTo>
                  <a:pt x="1976738" y="1647835"/>
                  <a:pt x="2007632" y="1647835"/>
                  <a:pt x="2038526" y="1658134"/>
                </a:cubicBezTo>
                <a:cubicBezTo>
                  <a:pt x="2048824" y="1668432"/>
                  <a:pt x="2059122" y="1689031"/>
                  <a:pt x="2059122" y="1699329"/>
                </a:cubicBezTo>
                <a:cubicBezTo>
                  <a:pt x="2069420" y="1709629"/>
                  <a:pt x="2100314" y="1709629"/>
                  <a:pt x="2100314" y="1730227"/>
                </a:cubicBezTo>
                <a:cubicBezTo>
                  <a:pt x="2100314" y="1730227"/>
                  <a:pt x="2100314" y="1740525"/>
                  <a:pt x="2100314" y="1740525"/>
                </a:cubicBezTo>
                <a:cubicBezTo>
                  <a:pt x="2059122" y="1761122"/>
                  <a:pt x="2038526" y="1792021"/>
                  <a:pt x="2038526" y="1833215"/>
                </a:cubicBezTo>
                <a:cubicBezTo>
                  <a:pt x="2038526" y="1843515"/>
                  <a:pt x="2028228" y="1843515"/>
                  <a:pt x="2028228" y="1853813"/>
                </a:cubicBezTo>
                <a:cubicBezTo>
                  <a:pt x="1997334" y="1843515"/>
                  <a:pt x="1976738" y="1833215"/>
                  <a:pt x="1945844" y="1833215"/>
                </a:cubicBezTo>
                <a:cubicBezTo>
                  <a:pt x="1935546" y="1864114"/>
                  <a:pt x="1925248" y="1895010"/>
                  <a:pt x="1914950" y="1915608"/>
                </a:cubicBezTo>
                <a:cubicBezTo>
                  <a:pt x="1914950" y="1956804"/>
                  <a:pt x="1914950" y="1987701"/>
                  <a:pt x="1914950" y="2028897"/>
                </a:cubicBezTo>
                <a:cubicBezTo>
                  <a:pt x="1914950" y="2059792"/>
                  <a:pt x="1914950" y="2090691"/>
                  <a:pt x="1914950" y="2121587"/>
                </a:cubicBezTo>
                <a:cubicBezTo>
                  <a:pt x="1935546" y="2121587"/>
                  <a:pt x="1945844" y="2121587"/>
                  <a:pt x="1945844" y="2121587"/>
                </a:cubicBezTo>
                <a:cubicBezTo>
                  <a:pt x="1956142" y="2121587"/>
                  <a:pt x="1966440" y="2111288"/>
                  <a:pt x="1966440" y="2111288"/>
                </a:cubicBezTo>
                <a:cubicBezTo>
                  <a:pt x="1976738" y="2121587"/>
                  <a:pt x="1987036" y="2121587"/>
                  <a:pt x="2007632" y="2131885"/>
                </a:cubicBezTo>
                <a:cubicBezTo>
                  <a:pt x="2007632" y="2121587"/>
                  <a:pt x="2017930" y="2121587"/>
                  <a:pt x="2017930" y="2111288"/>
                </a:cubicBezTo>
                <a:cubicBezTo>
                  <a:pt x="2007632" y="2100990"/>
                  <a:pt x="2007632" y="2090691"/>
                  <a:pt x="2007632" y="2070092"/>
                </a:cubicBezTo>
                <a:cubicBezTo>
                  <a:pt x="2007632" y="2059792"/>
                  <a:pt x="2017930" y="2059792"/>
                  <a:pt x="2028228" y="2049494"/>
                </a:cubicBezTo>
                <a:cubicBezTo>
                  <a:pt x="2038526" y="2059792"/>
                  <a:pt x="2059122" y="2070092"/>
                  <a:pt x="2069420" y="2080392"/>
                </a:cubicBezTo>
                <a:cubicBezTo>
                  <a:pt x="2090016" y="2070092"/>
                  <a:pt x="2120910" y="2059792"/>
                  <a:pt x="2141506" y="2039195"/>
                </a:cubicBezTo>
                <a:cubicBezTo>
                  <a:pt x="2141506" y="2028897"/>
                  <a:pt x="2141506" y="2018598"/>
                  <a:pt x="2141506" y="2008299"/>
                </a:cubicBezTo>
                <a:cubicBezTo>
                  <a:pt x="2151804" y="1997999"/>
                  <a:pt x="2162102" y="1997999"/>
                  <a:pt x="2172400" y="2008299"/>
                </a:cubicBezTo>
                <a:cubicBezTo>
                  <a:pt x="2172400" y="2018598"/>
                  <a:pt x="2172400" y="2039195"/>
                  <a:pt x="2182698" y="2059792"/>
                </a:cubicBezTo>
                <a:cubicBezTo>
                  <a:pt x="2182698" y="2059792"/>
                  <a:pt x="2192996" y="2070092"/>
                  <a:pt x="2192996" y="2070092"/>
                </a:cubicBezTo>
                <a:cubicBezTo>
                  <a:pt x="2223890" y="2070092"/>
                  <a:pt x="2244486" y="2059792"/>
                  <a:pt x="2275380" y="2059792"/>
                </a:cubicBezTo>
                <a:cubicBezTo>
                  <a:pt x="2295976" y="2059792"/>
                  <a:pt x="2316572" y="2070092"/>
                  <a:pt x="2337168" y="2070092"/>
                </a:cubicBezTo>
                <a:cubicBezTo>
                  <a:pt x="2347466" y="2070092"/>
                  <a:pt x="2357764" y="2059792"/>
                  <a:pt x="2357764" y="2049494"/>
                </a:cubicBezTo>
                <a:cubicBezTo>
                  <a:pt x="2357764" y="2039195"/>
                  <a:pt x="2347466" y="2028897"/>
                  <a:pt x="2347466" y="2018598"/>
                </a:cubicBezTo>
                <a:cubicBezTo>
                  <a:pt x="2316572" y="1997999"/>
                  <a:pt x="2295976" y="1987701"/>
                  <a:pt x="2275380" y="1967103"/>
                </a:cubicBezTo>
                <a:cubicBezTo>
                  <a:pt x="2244486" y="1967103"/>
                  <a:pt x="2223890" y="1967103"/>
                  <a:pt x="2192996" y="1956804"/>
                </a:cubicBezTo>
                <a:cubicBezTo>
                  <a:pt x="2192996" y="1946504"/>
                  <a:pt x="2213592" y="1936207"/>
                  <a:pt x="2213592" y="1936207"/>
                </a:cubicBezTo>
                <a:cubicBezTo>
                  <a:pt x="2244486" y="1936207"/>
                  <a:pt x="2265082" y="1936207"/>
                  <a:pt x="2295976" y="1925906"/>
                </a:cubicBezTo>
                <a:cubicBezTo>
                  <a:pt x="2306274" y="1925906"/>
                  <a:pt x="2326870" y="1925906"/>
                  <a:pt x="2337168" y="1936207"/>
                </a:cubicBezTo>
                <a:cubicBezTo>
                  <a:pt x="2368062" y="1915608"/>
                  <a:pt x="2357764" y="1884711"/>
                  <a:pt x="2357764" y="1853813"/>
                </a:cubicBezTo>
                <a:cubicBezTo>
                  <a:pt x="2368062" y="1853813"/>
                  <a:pt x="2378360" y="1853813"/>
                  <a:pt x="2378360" y="1853813"/>
                </a:cubicBezTo>
                <a:cubicBezTo>
                  <a:pt x="2398956" y="1853813"/>
                  <a:pt x="2409254" y="1864114"/>
                  <a:pt x="2419552" y="1864114"/>
                </a:cubicBezTo>
                <a:cubicBezTo>
                  <a:pt x="2429850" y="1864114"/>
                  <a:pt x="2450446" y="1864114"/>
                  <a:pt x="2460744" y="1864114"/>
                </a:cubicBezTo>
                <a:cubicBezTo>
                  <a:pt x="2471042" y="1884711"/>
                  <a:pt x="2481340" y="1895010"/>
                  <a:pt x="2491638" y="1915608"/>
                </a:cubicBezTo>
                <a:cubicBezTo>
                  <a:pt x="2501936" y="1915608"/>
                  <a:pt x="2501936" y="1915608"/>
                  <a:pt x="2512234" y="1915608"/>
                </a:cubicBezTo>
                <a:cubicBezTo>
                  <a:pt x="2522532" y="1915608"/>
                  <a:pt x="2543128" y="1915608"/>
                  <a:pt x="2553426" y="1915608"/>
                </a:cubicBezTo>
                <a:cubicBezTo>
                  <a:pt x="2604916" y="1925906"/>
                  <a:pt x="2646108" y="1925906"/>
                  <a:pt x="2697598" y="1915608"/>
                </a:cubicBezTo>
                <a:cubicBezTo>
                  <a:pt x="2697598" y="1915608"/>
                  <a:pt x="2707896" y="1905308"/>
                  <a:pt x="2707896" y="1895010"/>
                </a:cubicBezTo>
                <a:cubicBezTo>
                  <a:pt x="2677002" y="1864114"/>
                  <a:pt x="2635810" y="1864114"/>
                  <a:pt x="2604916" y="1884711"/>
                </a:cubicBezTo>
                <a:cubicBezTo>
                  <a:pt x="2574022" y="1884711"/>
                  <a:pt x="2584320" y="1853813"/>
                  <a:pt x="2543128" y="1833215"/>
                </a:cubicBezTo>
                <a:cubicBezTo>
                  <a:pt x="2543128" y="1833215"/>
                  <a:pt x="2522532" y="1822917"/>
                  <a:pt x="2501936" y="1812618"/>
                </a:cubicBezTo>
                <a:cubicBezTo>
                  <a:pt x="2512234" y="1802320"/>
                  <a:pt x="2512234" y="1802320"/>
                  <a:pt x="2522532" y="1792021"/>
                </a:cubicBezTo>
                <a:cubicBezTo>
                  <a:pt x="2543128" y="1792021"/>
                  <a:pt x="2563724" y="1781722"/>
                  <a:pt x="2594618" y="1781722"/>
                </a:cubicBezTo>
                <a:cubicBezTo>
                  <a:pt x="2615214" y="1781722"/>
                  <a:pt x="2635810" y="1792021"/>
                  <a:pt x="2656406" y="1802320"/>
                </a:cubicBezTo>
                <a:cubicBezTo>
                  <a:pt x="2666704" y="1792021"/>
                  <a:pt x="2687300" y="1781722"/>
                  <a:pt x="2718194" y="1771422"/>
                </a:cubicBezTo>
                <a:cubicBezTo>
                  <a:pt x="2759386" y="1792021"/>
                  <a:pt x="2810876" y="1792021"/>
                  <a:pt x="2862366" y="1792021"/>
                </a:cubicBezTo>
                <a:cubicBezTo>
                  <a:pt x="2882962" y="1792021"/>
                  <a:pt x="2903558" y="1792021"/>
                  <a:pt x="2913856" y="1781722"/>
                </a:cubicBezTo>
                <a:cubicBezTo>
                  <a:pt x="2934452" y="1771422"/>
                  <a:pt x="2955048" y="1781722"/>
                  <a:pt x="2975644" y="1761122"/>
                </a:cubicBezTo>
                <a:cubicBezTo>
                  <a:pt x="2955048" y="1740525"/>
                  <a:pt x="2924154" y="1750824"/>
                  <a:pt x="2903558" y="1750824"/>
                </a:cubicBezTo>
                <a:cubicBezTo>
                  <a:pt x="2872664" y="1750824"/>
                  <a:pt x="2852068" y="1750824"/>
                  <a:pt x="2821174" y="1750824"/>
                </a:cubicBezTo>
                <a:cubicBezTo>
                  <a:pt x="2821174" y="1719928"/>
                  <a:pt x="2841770" y="1719928"/>
                  <a:pt x="2852068" y="1719928"/>
                </a:cubicBezTo>
                <a:cubicBezTo>
                  <a:pt x="2893260" y="1699329"/>
                  <a:pt x="2924154" y="1719928"/>
                  <a:pt x="2955048" y="1699329"/>
                </a:cubicBezTo>
                <a:cubicBezTo>
                  <a:pt x="2975644" y="1699329"/>
                  <a:pt x="2965346" y="1678731"/>
                  <a:pt x="2975644" y="1668432"/>
                </a:cubicBezTo>
                <a:cubicBezTo>
                  <a:pt x="2975644" y="1658134"/>
                  <a:pt x="2985942" y="1658134"/>
                  <a:pt x="2985942" y="1647835"/>
                </a:cubicBezTo>
                <a:cubicBezTo>
                  <a:pt x="3006538" y="1637536"/>
                  <a:pt x="3027134" y="1647835"/>
                  <a:pt x="3047730" y="1647835"/>
                </a:cubicBezTo>
                <a:cubicBezTo>
                  <a:pt x="3047730" y="1637536"/>
                  <a:pt x="3058028" y="1637536"/>
                  <a:pt x="3058028" y="1627236"/>
                </a:cubicBezTo>
                <a:cubicBezTo>
                  <a:pt x="3058028" y="1616938"/>
                  <a:pt x="3047730" y="1606638"/>
                  <a:pt x="3047730" y="1596340"/>
                </a:cubicBezTo>
                <a:cubicBezTo>
                  <a:pt x="3058028" y="1596340"/>
                  <a:pt x="3058028" y="1586041"/>
                  <a:pt x="3068325" y="1586041"/>
                </a:cubicBezTo>
                <a:cubicBezTo>
                  <a:pt x="3088921" y="1575741"/>
                  <a:pt x="3109517" y="1575741"/>
                  <a:pt x="3130113" y="1575741"/>
                </a:cubicBezTo>
                <a:cubicBezTo>
                  <a:pt x="3140411" y="1555143"/>
                  <a:pt x="3119815" y="1544845"/>
                  <a:pt x="3119815" y="1534545"/>
                </a:cubicBezTo>
                <a:cubicBezTo>
                  <a:pt x="3150709" y="1503650"/>
                  <a:pt x="3181603" y="1524247"/>
                  <a:pt x="3202199" y="1503650"/>
                </a:cubicBezTo>
                <a:cubicBezTo>
                  <a:pt x="3222795" y="1493351"/>
                  <a:pt x="3243391" y="1513948"/>
                  <a:pt x="3263987" y="1493351"/>
                </a:cubicBezTo>
                <a:cubicBezTo>
                  <a:pt x="3253689" y="1462452"/>
                  <a:pt x="3222795" y="1483052"/>
                  <a:pt x="3202199" y="1462452"/>
                </a:cubicBezTo>
                <a:cubicBezTo>
                  <a:pt x="3202199" y="1452154"/>
                  <a:pt x="3202199" y="1441855"/>
                  <a:pt x="3212497" y="1441855"/>
                </a:cubicBezTo>
                <a:cubicBezTo>
                  <a:pt x="3243391" y="1431557"/>
                  <a:pt x="3274285" y="1431557"/>
                  <a:pt x="3305179" y="1441855"/>
                </a:cubicBezTo>
                <a:cubicBezTo>
                  <a:pt x="3305179" y="1441855"/>
                  <a:pt x="3315477" y="1441855"/>
                  <a:pt x="3315477" y="1441855"/>
                </a:cubicBezTo>
                <a:cubicBezTo>
                  <a:pt x="3325775" y="1431557"/>
                  <a:pt x="3325775" y="1421258"/>
                  <a:pt x="3315477" y="1410959"/>
                </a:cubicBezTo>
                <a:cubicBezTo>
                  <a:pt x="3305179" y="1410959"/>
                  <a:pt x="3294881" y="1410959"/>
                  <a:pt x="3284583" y="1410959"/>
                </a:cubicBezTo>
                <a:cubicBezTo>
                  <a:pt x="3274285" y="1410959"/>
                  <a:pt x="3263987" y="1400659"/>
                  <a:pt x="3263987" y="1380061"/>
                </a:cubicBezTo>
                <a:cubicBezTo>
                  <a:pt x="3263987" y="1380061"/>
                  <a:pt x="3274285" y="1369762"/>
                  <a:pt x="3284583" y="1369762"/>
                </a:cubicBezTo>
                <a:cubicBezTo>
                  <a:pt x="3305179" y="1359464"/>
                  <a:pt x="3325775" y="1369762"/>
                  <a:pt x="3346371" y="1359464"/>
                </a:cubicBezTo>
                <a:lnTo>
                  <a:pt x="3346375" y="1359466"/>
                </a:lnTo>
                <a:lnTo>
                  <a:pt x="3356669" y="1359466"/>
                </a:lnTo>
                <a:cubicBezTo>
                  <a:pt x="3359244" y="1359466"/>
                  <a:pt x="3361818" y="1359466"/>
                  <a:pt x="3366967" y="1359466"/>
                </a:cubicBezTo>
                <a:cubicBezTo>
                  <a:pt x="3366967" y="1359466"/>
                  <a:pt x="3369542" y="1359466"/>
                  <a:pt x="3372116" y="1359466"/>
                </a:cubicBezTo>
                <a:lnTo>
                  <a:pt x="3377264" y="1359466"/>
                </a:lnTo>
                <a:lnTo>
                  <a:pt x="3377265" y="1359464"/>
                </a:lnTo>
                <a:cubicBezTo>
                  <a:pt x="3377265" y="1359464"/>
                  <a:pt x="3366967" y="1359464"/>
                  <a:pt x="3366967" y="1359464"/>
                </a:cubicBezTo>
                <a:cubicBezTo>
                  <a:pt x="3356669" y="1359464"/>
                  <a:pt x="3356669" y="1359464"/>
                  <a:pt x="3346371" y="1359464"/>
                </a:cubicBezTo>
                <a:cubicBezTo>
                  <a:pt x="3356669" y="1318268"/>
                  <a:pt x="3356669" y="1318268"/>
                  <a:pt x="3377265" y="1307968"/>
                </a:cubicBezTo>
                <a:cubicBezTo>
                  <a:pt x="3397861" y="1307968"/>
                  <a:pt x="3408159" y="1307968"/>
                  <a:pt x="3428755" y="1318268"/>
                </a:cubicBezTo>
                <a:cubicBezTo>
                  <a:pt x="3439053" y="1307968"/>
                  <a:pt x="3439053" y="1297671"/>
                  <a:pt x="3449351" y="1297671"/>
                </a:cubicBezTo>
                <a:cubicBezTo>
                  <a:pt x="3459649" y="1277073"/>
                  <a:pt x="3439053" y="1266773"/>
                  <a:pt x="3459649" y="1246175"/>
                </a:cubicBezTo>
                <a:cubicBezTo>
                  <a:pt x="3469947" y="1246175"/>
                  <a:pt x="3490543" y="1235875"/>
                  <a:pt x="3500841" y="1235875"/>
                </a:cubicBezTo>
                <a:cubicBezTo>
                  <a:pt x="3531735" y="1215278"/>
                  <a:pt x="3521437" y="1194681"/>
                  <a:pt x="3531735" y="1174082"/>
                </a:cubicBezTo>
                <a:cubicBezTo>
                  <a:pt x="3542033" y="1174082"/>
                  <a:pt x="3552331" y="1174082"/>
                  <a:pt x="3572927" y="1174082"/>
                </a:cubicBezTo>
                <a:cubicBezTo>
                  <a:pt x="3583225" y="1153484"/>
                  <a:pt x="3593523" y="1132887"/>
                  <a:pt x="3603821" y="1112289"/>
                </a:cubicBezTo>
                <a:cubicBezTo>
                  <a:pt x="3614119" y="1112289"/>
                  <a:pt x="3624417" y="1112289"/>
                  <a:pt x="3645013" y="1112289"/>
                </a:cubicBezTo>
                <a:cubicBezTo>
                  <a:pt x="3655311" y="1101989"/>
                  <a:pt x="3645013" y="1081391"/>
                  <a:pt x="3655311" y="1071094"/>
                </a:cubicBezTo>
                <a:cubicBezTo>
                  <a:pt x="3655311" y="1060794"/>
                  <a:pt x="3665609" y="1060794"/>
                  <a:pt x="3665609" y="1050495"/>
                </a:cubicBezTo>
                <a:cubicBezTo>
                  <a:pt x="3696503" y="1040196"/>
                  <a:pt x="3717099" y="1029896"/>
                  <a:pt x="3737695" y="1029896"/>
                </a:cubicBezTo>
                <a:lnTo>
                  <a:pt x="3737695" y="1050495"/>
                </a:lnTo>
                <a:cubicBezTo>
                  <a:pt x="3696503" y="1101989"/>
                  <a:pt x="3655311" y="1153484"/>
                  <a:pt x="3624417" y="1204980"/>
                </a:cubicBezTo>
                <a:cubicBezTo>
                  <a:pt x="3614119" y="1215278"/>
                  <a:pt x="3603821" y="1225577"/>
                  <a:pt x="3593523" y="1235875"/>
                </a:cubicBezTo>
                <a:cubicBezTo>
                  <a:pt x="3572927" y="1266773"/>
                  <a:pt x="3552331" y="1297671"/>
                  <a:pt x="3542033" y="1328566"/>
                </a:cubicBezTo>
                <a:cubicBezTo>
                  <a:pt x="3531735" y="1338866"/>
                  <a:pt x="3511139" y="1338866"/>
                  <a:pt x="3511139" y="1349165"/>
                </a:cubicBezTo>
                <a:cubicBezTo>
                  <a:pt x="3469947" y="1400659"/>
                  <a:pt x="3428755" y="1441855"/>
                  <a:pt x="3408159" y="1503650"/>
                </a:cubicBezTo>
                <a:cubicBezTo>
                  <a:pt x="3408159" y="1513948"/>
                  <a:pt x="3408159" y="1534545"/>
                  <a:pt x="3408159" y="1555143"/>
                </a:cubicBezTo>
                <a:cubicBezTo>
                  <a:pt x="3397861" y="1544845"/>
                  <a:pt x="3387563" y="1544845"/>
                  <a:pt x="3377265" y="1544845"/>
                </a:cubicBezTo>
                <a:cubicBezTo>
                  <a:pt x="3372116" y="1549995"/>
                  <a:pt x="3368254" y="1553857"/>
                  <a:pt x="3365358" y="1557076"/>
                </a:cubicBezTo>
                <a:lnTo>
                  <a:pt x="3363650" y="1559413"/>
                </a:lnTo>
                <a:lnTo>
                  <a:pt x="3361697" y="1561502"/>
                </a:lnTo>
                <a:lnTo>
                  <a:pt x="3361230" y="1562725"/>
                </a:lnTo>
                <a:lnTo>
                  <a:pt x="3359244" y="1565444"/>
                </a:lnTo>
                <a:cubicBezTo>
                  <a:pt x="3356669" y="1570593"/>
                  <a:pt x="3356669" y="1575742"/>
                  <a:pt x="3356669" y="1586041"/>
                </a:cubicBezTo>
                <a:lnTo>
                  <a:pt x="3356991" y="1573812"/>
                </a:lnTo>
                <a:lnTo>
                  <a:pt x="3361230" y="1562725"/>
                </a:lnTo>
                <a:lnTo>
                  <a:pt x="3363650" y="1559413"/>
                </a:lnTo>
                <a:lnTo>
                  <a:pt x="3377265" y="1544846"/>
                </a:lnTo>
                <a:cubicBezTo>
                  <a:pt x="3382414" y="1544846"/>
                  <a:pt x="3387563" y="1544846"/>
                  <a:pt x="3392712" y="1546135"/>
                </a:cubicBezTo>
                <a:lnTo>
                  <a:pt x="3408158" y="1555145"/>
                </a:lnTo>
                <a:lnTo>
                  <a:pt x="3408159" y="1555143"/>
                </a:lnTo>
                <a:cubicBezTo>
                  <a:pt x="3418457" y="1565444"/>
                  <a:pt x="3428755" y="1565444"/>
                  <a:pt x="3428755" y="1575741"/>
                </a:cubicBezTo>
                <a:cubicBezTo>
                  <a:pt x="3449351" y="1565444"/>
                  <a:pt x="3469947" y="1555143"/>
                  <a:pt x="3480245" y="1555143"/>
                </a:cubicBezTo>
                <a:cubicBezTo>
                  <a:pt x="3490543" y="1544845"/>
                  <a:pt x="3500841" y="1534545"/>
                  <a:pt x="3500841" y="1534545"/>
                </a:cubicBezTo>
                <a:cubicBezTo>
                  <a:pt x="3511139" y="1534545"/>
                  <a:pt x="3521437" y="1534545"/>
                  <a:pt x="3531735" y="1534545"/>
                </a:cubicBezTo>
                <a:cubicBezTo>
                  <a:pt x="3542033" y="1534545"/>
                  <a:pt x="3552331" y="1524247"/>
                  <a:pt x="3562629" y="1513948"/>
                </a:cubicBezTo>
                <a:cubicBezTo>
                  <a:pt x="3572927" y="1503650"/>
                  <a:pt x="3572927" y="1503650"/>
                  <a:pt x="3562629" y="1493351"/>
                </a:cubicBezTo>
                <a:cubicBezTo>
                  <a:pt x="3562629" y="1483052"/>
                  <a:pt x="3572927" y="1462452"/>
                  <a:pt x="3583225" y="1452154"/>
                </a:cubicBezTo>
                <a:cubicBezTo>
                  <a:pt x="3593523" y="1441855"/>
                  <a:pt x="3603821" y="1441855"/>
                  <a:pt x="3624417" y="1441855"/>
                </a:cubicBezTo>
                <a:cubicBezTo>
                  <a:pt x="3634715" y="1421258"/>
                  <a:pt x="3645013" y="1410959"/>
                  <a:pt x="3665609" y="1390361"/>
                </a:cubicBezTo>
                <a:cubicBezTo>
                  <a:pt x="3686205" y="1380061"/>
                  <a:pt x="3706801" y="1380061"/>
                  <a:pt x="3727397" y="1369762"/>
                </a:cubicBezTo>
                <a:cubicBezTo>
                  <a:pt x="3737695" y="1359464"/>
                  <a:pt x="3737695" y="1349165"/>
                  <a:pt x="3747993" y="1338866"/>
                </a:cubicBezTo>
                <a:cubicBezTo>
                  <a:pt x="3768589" y="1328566"/>
                  <a:pt x="3789185" y="1328566"/>
                  <a:pt x="3799483" y="1307968"/>
                </a:cubicBezTo>
                <a:cubicBezTo>
                  <a:pt x="3820079" y="1277073"/>
                  <a:pt x="3850973" y="1256473"/>
                  <a:pt x="3881867" y="1235875"/>
                </a:cubicBezTo>
                <a:cubicBezTo>
                  <a:pt x="3902463" y="1246175"/>
                  <a:pt x="3892165" y="1256473"/>
                  <a:pt x="3892165" y="1266773"/>
                </a:cubicBezTo>
                <a:cubicBezTo>
                  <a:pt x="3871569" y="1297671"/>
                  <a:pt x="3861271" y="1318268"/>
                  <a:pt x="3840675" y="1338866"/>
                </a:cubicBezTo>
                <a:cubicBezTo>
                  <a:pt x="3809781" y="1369762"/>
                  <a:pt x="3799483" y="1400659"/>
                  <a:pt x="3778887" y="1431557"/>
                </a:cubicBezTo>
                <a:cubicBezTo>
                  <a:pt x="3758291" y="1452154"/>
                  <a:pt x="3747993" y="1483052"/>
                  <a:pt x="3727397" y="1493351"/>
                </a:cubicBezTo>
                <a:cubicBezTo>
                  <a:pt x="3696503" y="1513948"/>
                  <a:pt x="3696503" y="1544845"/>
                  <a:pt x="3675907" y="1565444"/>
                </a:cubicBezTo>
                <a:cubicBezTo>
                  <a:pt x="3655311" y="1586041"/>
                  <a:pt x="3645013" y="1606638"/>
                  <a:pt x="3624417" y="1637536"/>
                </a:cubicBezTo>
                <a:cubicBezTo>
                  <a:pt x="3624417" y="1637536"/>
                  <a:pt x="3624417" y="1647835"/>
                  <a:pt x="3614119" y="1647835"/>
                </a:cubicBezTo>
                <a:cubicBezTo>
                  <a:pt x="3572927" y="1689031"/>
                  <a:pt x="3542033" y="1740525"/>
                  <a:pt x="3521437" y="1802320"/>
                </a:cubicBezTo>
                <a:cubicBezTo>
                  <a:pt x="3490543" y="1812618"/>
                  <a:pt x="3469947" y="1843515"/>
                  <a:pt x="3459649" y="1874413"/>
                </a:cubicBezTo>
                <a:cubicBezTo>
                  <a:pt x="3439053" y="1884711"/>
                  <a:pt x="3428755" y="1895010"/>
                  <a:pt x="3418457" y="1905308"/>
                </a:cubicBezTo>
                <a:cubicBezTo>
                  <a:pt x="3408159" y="1925906"/>
                  <a:pt x="3397861" y="1946504"/>
                  <a:pt x="3397861" y="1967103"/>
                </a:cubicBezTo>
                <a:cubicBezTo>
                  <a:pt x="3377265" y="1977401"/>
                  <a:pt x="3356669" y="1997999"/>
                  <a:pt x="3336073" y="2018598"/>
                </a:cubicBezTo>
                <a:cubicBezTo>
                  <a:pt x="3336073" y="2018598"/>
                  <a:pt x="3325775" y="2028897"/>
                  <a:pt x="3325775" y="2028897"/>
                </a:cubicBezTo>
                <a:cubicBezTo>
                  <a:pt x="3284583" y="2111288"/>
                  <a:pt x="3233093" y="2183381"/>
                  <a:pt x="3171305" y="2255474"/>
                </a:cubicBezTo>
                <a:cubicBezTo>
                  <a:pt x="3130113" y="2296669"/>
                  <a:pt x="3099219" y="2337865"/>
                  <a:pt x="3058028" y="2389361"/>
                </a:cubicBezTo>
                <a:cubicBezTo>
                  <a:pt x="3016836" y="2440855"/>
                  <a:pt x="2975644" y="2502648"/>
                  <a:pt x="2924154" y="2554143"/>
                </a:cubicBezTo>
                <a:cubicBezTo>
                  <a:pt x="2893260" y="2585041"/>
                  <a:pt x="2872664" y="2626236"/>
                  <a:pt x="2852068" y="2657132"/>
                </a:cubicBezTo>
                <a:cubicBezTo>
                  <a:pt x="2821174" y="2739525"/>
                  <a:pt x="2769684" y="2811618"/>
                  <a:pt x="2707896" y="2873411"/>
                </a:cubicBezTo>
                <a:cubicBezTo>
                  <a:pt x="2707896" y="2904309"/>
                  <a:pt x="2697598" y="2924906"/>
                  <a:pt x="2697598" y="2945504"/>
                </a:cubicBezTo>
                <a:cubicBezTo>
                  <a:pt x="2707896" y="2955802"/>
                  <a:pt x="2718194" y="2966102"/>
                  <a:pt x="2728492" y="2955802"/>
                </a:cubicBezTo>
                <a:cubicBezTo>
                  <a:pt x="2738790" y="2955802"/>
                  <a:pt x="2749088" y="2945504"/>
                  <a:pt x="2759386" y="2935204"/>
                </a:cubicBezTo>
                <a:cubicBezTo>
                  <a:pt x="2779982" y="2914607"/>
                  <a:pt x="2810876" y="2883711"/>
                  <a:pt x="2852068" y="2883711"/>
                </a:cubicBezTo>
                <a:cubicBezTo>
                  <a:pt x="2862366" y="2863111"/>
                  <a:pt x="2872664" y="2852813"/>
                  <a:pt x="2872664" y="2842515"/>
                </a:cubicBezTo>
                <a:cubicBezTo>
                  <a:pt x="2903558" y="2832216"/>
                  <a:pt x="2934452" y="2821916"/>
                  <a:pt x="2965346" y="2801318"/>
                </a:cubicBezTo>
                <a:cubicBezTo>
                  <a:pt x="2985942" y="2770422"/>
                  <a:pt x="3006538" y="2739525"/>
                  <a:pt x="3027134" y="2708627"/>
                </a:cubicBezTo>
                <a:cubicBezTo>
                  <a:pt x="3047730" y="2688030"/>
                  <a:pt x="3078623" y="2688030"/>
                  <a:pt x="3099219" y="2688030"/>
                </a:cubicBezTo>
                <a:cubicBezTo>
                  <a:pt x="3109517" y="2677732"/>
                  <a:pt x="3130113" y="2677732"/>
                  <a:pt x="3150709" y="2667432"/>
                </a:cubicBezTo>
                <a:cubicBezTo>
                  <a:pt x="3171305" y="2677732"/>
                  <a:pt x="3202199" y="2698329"/>
                  <a:pt x="3222795" y="2708627"/>
                </a:cubicBezTo>
                <a:cubicBezTo>
                  <a:pt x="3233093" y="2708627"/>
                  <a:pt x="3243391" y="2708627"/>
                  <a:pt x="3253689" y="2708627"/>
                </a:cubicBezTo>
                <a:cubicBezTo>
                  <a:pt x="3274285" y="2708627"/>
                  <a:pt x="3305179" y="2708627"/>
                  <a:pt x="3325775" y="2698329"/>
                </a:cubicBezTo>
                <a:cubicBezTo>
                  <a:pt x="3346371" y="2688030"/>
                  <a:pt x="3366967" y="2688030"/>
                  <a:pt x="3387563" y="2677732"/>
                </a:cubicBezTo>
                <a:cubicBezTo>
                  <a:pt x="3418457" y="2688030"/>
                  <a:pt x="3428755" y="2708627"/>
                  <a:pt x="3428755" y="2729225"/>
                </a:cubicBezTo>
                <a:cubicBezTo>
                  <a:pt x="3408159" y="2760123"/>
                  <a:pt x="3387563" y="2801318"/>
                  <a:pt x="3377265" y="2832216"/>
                </a:cubicBezTo>
                <a:cubicBezTo>
                  <a:pt x="3366967" y="2852813"/>
                  <a:pt x="3356669" y="2863111"/>
                  <a:pt x="3346371" y="2883711"/>
                </a:cubicBezTo>
                <a:cubicBezTo>
                  <a:pt x="3315477" y="2924906"/>
                  <a:pt x="3274285" y="2996999"/>
                  <a:pt x="3253689" y="3038195"/>
                </a:cubicBezTo>
                <a:cubicBezTo>
                  <a:pt x="3243391" y="3048493"/>
                  <a:pt x="3243391" y="3058793"/>
                  <a:pt x="3233093" y="3069092"/>
                </a:cubicBezTo>
                <a:cubicBezTo>
                  <a:pt x="3202199" y="3110288"/>
                  <a:pt x="3181603" y="3172081"/>
                  <a:pt x="3150709" y="3213277"/>
                </a:cubicBezTo>
                <a:lnTo>
                  <a:pt x="3138679" y="3233541"/>
                </a:lnTo>
                <a:lnTo>
                  <a:pt x="0" y="3233541"/>
                </a:lnTo>
                <a:lnTo>
                  <a:pt x="0" y="1684240"/>
                </a:lnTo>
                <a:lnTo>
                  <a:pt x="4670" y="1687743"/>
                </a:lnTo>
                <a:cubicBezTo>
                  <a:pt x="12394" y="1694180"/>
                  <a:pt x="20117" y="1699329"/>
                  <a:pt x="30415" y="1699329"/>
                </a:cubicBezTo>
                <a:cubicBezTo>
                  <a:pt x="30415" y="1678731"/>
                  <a:pt x="40713" y="1668432"/>
                  <a:pt x="40713" y="1647835"/>
                </a:cubicBezTo>
                <a:cubicBezTo>
                  <a:pt x="61309" y="1627236"/>
                  <a:pt x="92203" y="1616938"/>
                  <a:pt x="112799" y="1596340"/>
                </a:cubicBezTo>
                <a:cubicBezTo>
                  <a:pt x="123097" y="1596340"/>
                  <a:pt x="133395" y="1596340"/>
                  <a:pt x="143693" y="1596340"/>
                </a:cubicBezTo>
                <a:cubicBezTo>
                  <a:pt x="153991" y="1606638"/>
                  <a:pt x="153991" y="1616938"/>
                  <a:pt x="164289" y="1637536"/>
                </a:cubicBezTo>
                <a:cubicBezTo>
                  <a:pt x="184885" y="1637536"/>
                  <a:pt x="215779" y="1627236"/>
                  <a:pt x="246673" y="1637536"/>
                </a:cubicBezTo>
                <a:cubicBezTo>
                  <a:pt x="256971" y="1616938"/>
                  <a:pt x="256971" y="1606638"/>
                  <a:pt x="246673" y="1586041"/>
                </a:cubicBezTo>
                <a:cubicBezTo>
                  <a:pt x="226077" y="1596340"/>
                  <a:pt x="205481" y="1606638"/>
                  <a:pt x="195183" y="1606638"/>
                </a:cubicBezTo>
                <a:cubicBezTo>
                  <a:pt x="184885" y="1606638"/>
                  <a:pt x="174587" y="1596340"/>
                  <a:pt x="174587" y="1586041"/>
                </a:cubicBezTo>
                <a:cubicBezTo>
                  <a:pt x="184885" y="1565444"/>
                  <a:pt x="184885" y="1544845"/>
                  <a:pt x="195183" y="1524247"/>
                </a:cubicBezTo>
                <a:cubicBezTo>
                  <a:pt x="184885" y="1503650"/>
                  <a:pt x="184885" y="1493351"/>
                  <a:pt x="174587" y="1472752"/>
                </a:cubicBezTo>
                <a:cubicBezTo>
                  <a:pt x="184885" y="1462452"/>
                  <a:pt x="184885" y="1452154"/>
                  <a:pt x="205481" y="1452154"/>
                </a:cubicBezTo>
                <a:cubicBezTo>
                  <a:pt x="205481" y="1462452"/>
                  <a:pt x="215779" y="1483052"/>
                  <a:pt x="215779" y="1493351"/>
                </a:cubicBezTo>
                <a:cubicBezTo>
                  <a:pt x="226077" y="1503650"/>
                  <a:pt x="226077" y="1503650"/>
                  <a:pt x="236375" y="1503650"/>
                </a:cubicBezTo>
                <a:cubicBezTo>
                  <a:pt x="256971" y="1513948"/>
                  <a:pt x="277567" y="1513948"/>
                  <a:pt x="298163" y="1503650"/>
                </a:cubicBezTo>
                <a:cubicBezTo>
                  <a:pt x="329057" y="1503650"/>
                  <a:pt x="349653" y="1493351"/>
                  <a:pt x="380547" y="1483052"/>
                </a:cubicBezTo>
                <a:cubicBezTo>
                  <a:pt x="390845" y="1462452"/>
                  <a:pt x="390845" y="1441855"/>
                  <a:pt x="390845" y="1431557"/>
                </a:cubicBezTo>
                <a:cubicBezTo>
                  <a:pt x="432037" y="1380061"/>
                  <a:pt x="442335" y="1380061"/>
                  <a:pt x="493825" y="1390361"/>
                </a:cubicBezTo>
                <a:cubicBezTo>
                  <a:pt x="493825" y="1390361"/>
                  <a:pt x="493825" y="1400659"/>
                  <a:pt x="493825" y="1400659"/>
                </a:cubicBezTo>
                <a:cubicBezTo>
                  <a:pt x="493825" y="1410959"/>
                  <a:pt x="493825" y="1421258"/>
                  <a:pt x="493825" y="1421258"/>
                </a:cubicBezTo>
                <a:cubicBezTo>
                  <a:pt x="504123" y="1431557"/>
                  <a:pt x="504123" y="1431557"/>
                  <a:pt x="514421" y="1421258"/>
                </a:cubicBezTo>
                <a:cubicBezTo>
                  <a:pt x="524719" y="1410959"/>
                  <a:pt x="535017" y="1400659"/>
                  <a:pt x="535017" y="1380061"/>
                </a:cubicBezTo>
                <a:cubicBezTo>
                  <a:pt x="545315" y="1359464"/>
                  <a:pt x="524719" y="1349165"/>
                  <a:pt x="504123" y="1338866"/>
                </a:cubicBezTo>
                <a:cubicBezTo>
                  <a:pt x="493825" y="1338866"/>
                  <a:pt x="483527" y="1338866"/>
                  <a:pt x="483527" y="1338866"/>
                </a:cubicBezTo>
                <a:cubicBezTo>
                  <a:pt x="473229" y="1338866"/>
                  <a:pt x="462931" y="1328566"/>
                  <a:pt x="462931" y="1328566"/>
                </a:cubicBezTo>
                <a:cubicBezTo>
                  <a:pt x="452633" y="1307968"/>
                  <a:pt x="462931" y="1287371"/>
                  <a:pt x="473229" y="1277073"/>
                </a:cubicBezTo>
                <a:cubicBezTo>
                  <a:pt x="483527" y="1277073"/>
                  <a:pt x="493825" y="1287371"/>
                  <a:pt x="493825" y="1297671"/>
                </a:cubicBezTo>
                <a:cubicBezTo>
                  <a:pt x="524719" y="1297671"/>
                  <a:pt x="545315" y="1307968"/>
                  <a:pt x="576209" y="1307968"/>
                </a:cubicBezTo>
                <a:cubicBezTo>
                  <a:pt x="596805" y="1307968"/>
                  <a:pt x="617401" y="1297671"/>
                  <a:pt x="637997" y="1297671"/>
                </a:cubicBezTo>
                <a:cubicBezTo>
                  <a:pt x="648295" y="1277073"/>
                  <a:pt x="658593" y="1266773"/>
                  <a:pt x="668891" y="1246175"/>
                </a:cubicBezTo>
                <a:cubicBezTo>
                  <a:pt x="679189" y="1246175"/>
                  <a:pt x="699785" y="1235875"/>
                  <a:pt x="720381" y="1215278"/>
                </a:cubicBezTo>
                <a:cubicBezTo>
                  <a:pt x="720381" y="1204980"/>
                  <a:pt x="730679" y="1194681"/>
                  <a:pt x="740977" y="1184382"/>
                </a:cubicBezTo>
                <a:cubicBezTo>
                  <a:pt x="761573" y="1163782"/>
                  <a:pt x="792467" y="1153484"/>
                  <a:pt x="802765" y="1132887"/>
                </a:cubicBezTo>
                <a:cubicBezTo>
                  <a:pt x="802765" y="1122588"/>
                  <a:pt x="813063" y="1112289"/>
                  <a:pt x="823361" y="1112289"/>
                </a:cubicBezTo>
                <a:cubicBezTo>
                  <a:pt x="864553" y="1091691"/>
                  <a:pt x="885149" y="1050495"/>
                  <a:pt x="926341" y="1019598"/>
                </a:cubicBezTo>
                <a:cubicBezTo>
                  <a:pt x="936639" y="1009298"/>
                  <a:pt x="946937" y="988701"/>
                  <a:pt x="957235" y="978403"/>
                </a:cubicBezTo>
                <a:cubicBezTo>
                  <a:pt x="977831" y="978403"/>
                  <a:pt x="1008725" y="968103"/>
                  <a:pt x="1029321" y="957803"/>
                </a:cubicBezTo>
                <a:cubicBezTo>
                  <a:pt x="1049917" y="957803"/>
                  <a:pt x="1080811" y="968103"/>
                  <a:pt x="1101407" y="968103"/>
                </a:cubicBezTo>
                <a:cubicBezTo>
                  <a:pt x="1132301" y="968103"/>
                  <a:pt x="1152897" y="957803"/>
                  <a:pt x="1163195" y="957803"/>
                </a:cubicBezTo>
                <a:cubicBezTo>
                  <a:pt x="1183791" y="957803"/>
                  <a:pt x="1204387" y="957803"/>
                  <a:pt x="1214685" y="957803"/>
                </a:cubicBezTo>
                <a:cubicBezTo>
                  <a:pt x="1276473" y="937205"/>
                  <a:pt x="1317665" y="885712"/>
                  <a:pt x="1369155" y="844515"/>
                </a:cubicBezTo>
                <a:cubicBezTo>
                  <a:pt x="1379453" y="844515"/>
                  <a:pt x="1389751" y="834217"/>
                  <a:pt x="1400050" y="834217"/>
                </a:cubicBezTo>
                <a:cubicBezTo>
                  <a:pt x="1410348" y="813619"/>
                  <a:pt x="1430944" y="803319"/>
                  <a:pt x="1441242" y="782721"/>
                </a:cubicBezTo>
                <a:cubicBezTo>
                  <a:pt x="1472136" y="772422"/>
                  <a:pt x="1492732" y="751825"/>
                  <a:pt x="1513328" y="741526"/>
                </a:cubicBezTo>
                <a:cubicBezTo>
                  <a:pt x="1533924" y="741526"/>
                  <a:pt x="1533924" y="751825"/>
                  <a:pt x="1533924" y="762124"/>
                </a:cubicBezTo>
                <a:cubicBezTo>
                  <a:pt x="1523626" y="793021"/>
                  <a:pt x="1523626" y="823918"/>
                  <a:pt x="1533924" y="854814"/>
                </a:cubicBezTo>
                <a:cubicBezTo>
                  <a:pt x="1544222" y="865112"/>
                  <a:pt x="1554520" y="865112"/>
                  <a:pt x="1564818" y="865112"/>
                </a:cubicBezTo>
                <a:cubicBezTo>
                  <a:pt x="1564818" y="885712"/>
                  <a:pt x="1554520" y="906310"/>
                  <a:pt x="1554520" y="916608"/>
                </a:cubicBezTo>
                <a:lnTo>
                  <a:pt x="1554520" y="916609"/>
                </a:lnTo>
                <a:lnTo>
                  <a:pt x="1559669" y="894725"/>
                </a:lnTo>
                <a:cubicBezTo>
                  <a:pt x="1562243" y="885714"/>
                  <a:pt x="1564818" y="875414"/>
                  <a:pt x="1564818" y="865114"/>
                </a:cubicBezTo>
                <a:cubicBezTo>
                  <a:pt x="1569967" y="875414"/>
                  <a:pt x="1573829" y="883139"/>
                  <a:pt x="1576403" y="889253"/>
                </a:cubicBezTo>
                <a:lnTo>
                  <a:pt x="1580265" y="903736"/>
                </a:lnTo>
                <a:lnTo>
                  <a:pt x="1580265" y="903735"/>
                </a:lnTo>
                <a:cubicBezTo>
                  <a:pt x="1580265" y="896011"/>
                  <a:pt x="1575116" y="885711"/>
                  <a:pt x="1564818" y="865112"/>
                </a:cubicBezTo>
                <a:cubicBezTo>
                  <a:pt x="1564818" y="803319"/>
                  <a:pt x="1564818" y="741526"/>
                  <a:pt x="1554520" y="690031"/>
                </a:cubicBezTo>
                <a:cubicBezTo>
                  <a:pt x="1575116" y="659133"/>
                  <a:pt x="1575116" y="659133"/>
                  <a:pt x="1606010" y="679732"/>
                </a:cubicBezTo>
                <a:cubicBezTo>
                  <a:pt x="1606010" y="720928"/>
                  <a:pt x="1606010" y="762124"/>
                  <a:pt x="1606010" y="793021"/>
                </a:cubicBezTo>
                <a:cubicBezTo>
                  <a:pt x="1616308" y="813619"/>
                  <a:pt x="1626606" y="834217"/>
                  <a:pt x="1626606" y="854814"/>
                </a:cubicBezTo>
                <a:cubicBezTo>
                  <a:pt x="1647202" y="844515"/>
                  <a:pt x="1657500" y="844515"/>
                  <a:pt x="1667798" y="834217"/>
                </a:cubicBezTo>
                <a:cubicBezTo>
                  <a:pt x="1678096" y="844515"/>
                  <a:pt x="1688394" y="854814"/>
                  <a:pt x="1698692" y="854814"/>
                </a:cubicBezTo>
                <a:cubicBezTo>
                  <a:pt x="1698692" y="854814"/>
                  <a:pt x="1708990" y="854814"/>
                  <a:pt x="1708990" y="844515"/>
                </a:cubicBezTo>
                <a:cubicBezTo>
                  <a:pt x="1708990" y="844515"/>
                  <a:pt x="1698692" y="834217"/>
                  <a:pt x="1698692" y="823918"/>
                </a:cubicBezTo>
                <a:cubicBezTo>
                  <a:pt x="1708990" y="793021"/>
                  <a:pt x="1719288" y="751825"/>
                  <a:pt x="1739884" y="720928"/>
                </a:cubicBezTo>
                <a:cubicBezTo>
                  <a:pt x="1739884" y="710628"/>
                  <a:pt x="1739884" y="710628"/>
                  <a:pt x="1750182" y="710628"/>
                </a:cubicBezTo>
                <a:cubicBezTo>
                  <a:pt x="1760480" y="720928"/>
                  <a:pt x="1760480" y="731226"/>
                  <a:pt x="1770778" y="741526"/>
                </a:cubicBezTo>
                <a:cubicBezTo>
                  <a:pt x="1781076" y="710628"/>
                  <a:pt x="1801672" y="679732"/>
                  <a:pt x="1801672" y="648835"/>
                </a:cubicBezTo>
                <a:cubicBezTo>
                  <a:pt x="1822268" y="628238"/>
                  <a:pt x="1853162" y="638535"/>
                  <a:pt x="1863460" y="628238"/>
                </a:cubicBezTo>
                <a:cubicBezTo>
                  <a:pt x="1884056" y="617938"/>
                  <a:pt x="1884056" y="597340"/>
                  <a:pt x="1914950" y="597340"/>
                </a:cubicBezTo>
                <a:cubicBezTo>
                  <a:pt x="1925248" y="617938"/>
                  <a:pt x="1904652" y="648835"/>
                  <a:pt x="1935546" y="659133"/>
                </a:cubicBezTo>
                <a:cubicBezTo>
                  <a:pt x="1935546" y="659133"/>
                  <a:pt x="1945844" y="659133"/>
                  <a:pt x="1945844" y="659133"/>
                </a:cubicBezTo>
                <a:cubicBezTo>
                  <a:pt x="1956142" y="648835"/>
                  <a:pt x="1956142" y="628238"/>
                  <a:pt x="1966440" y="617938"/>
                </a:cubicBezTo>
                <a:cubicBezTo>
                  <a:pt x="1976738" y="607640"/>
                  <a:pt x="1987036" y="607640"/>
                  <a:pt x="1987036" y="587042"/>
                </a:cubicBezTo>
                <a:cubicBezTo>
                  <a:pt x="1976738" y="576742"/>
                  <a:pt x="1966440" y="576742"/>
                  <a:pt x="1945844" y="566444"/>
                </a:cubicBezTo>
                <a:cubicBezTo>
                  <a:pt x="1945844" y="556144"/>
                  <a:pt x="1956142" y="545845"/>
                  <a:pt x="1956142" y="535547"/>
                </a:cubicBezTo>
                <a:cubicBezTo>
                  <a:pt x="1987036" y="525247"/>
                  <a:pt x="2028228" y="525247"/>
                  <a:pt x="2059122" y="525247"/>
                </a:cubicBezTo>
                <a:cubicBezTo>
                  <a:pt x="2079718" y="504649"/>
                  <a:pt x="2048824" y="484051"/>
                  <a:pt x="2059122" y="473753"/>
                </a:cubicBezTo>
                <a:cubicBezTo>
                  <a:pt x="2069420" y="442856"/>
                  <a:pt x="2090016" y="442856"/>
                  <a:pt x="2110612" y="442856"/>
                </a:cubicBezTo>
                <a:cubicBezTo>
                  <a:pt x="2120910" y="432556"/>
                  <a:pt x="2110612" y="391361"/>
                  <a:pt x="2141506" y="391361"/>
                </a:cubicBezTo>
                <a:cubicBezTo>
                  <a:pt x="2151804" y="401660"/>
                  <a:pt x="2172400" y="411958"/>
                  <a:pt x="2182698" y="422258"/>
                </a:cubicBezTo>
                <a:cubicBezTo>
                  <a:pt x="2192996" y="391361"/>
                  <a:pt x="2192996" y="370763"/>
                  <a:pt x="2192996" y="350165"/>
                </a:cubicBezTo>
                <a:cubicBezTo>
                  <a:pt x="2203294" y="339865"/>
                  <a:pt x="2213592" y="329567"/>
                  <a:pt x="2213592" y="329567"/>
                </a:cubicBezTo>
                <a:cubicBezTo>
                  <a:pt x="2244486" y="319268"/>
                  <a:pt x="2244486" y="350165"/>
                  <a:pt x="2265082" y="360463"/>
                </a:cubicBezTo>
                <a:cubicBezTo>
                  <a:pt x="2275380" y="339865"/>
                  <a:pt x="2265082" y="319268"/>
                  <a:pt x="2265082" y="288372"/>
                </a:cubicBezTo>
                <a:cubicBezTo>
                  <a:pt x="2265082" y="278072"/>
                  <a:pt x="2265082" y="278072"/>
                  <a:pt x="2285678" y="267774"/>
                </a:cubicBezTo>
                <a:cubicBezTo>
                  <a:pt x="2295976" y="267774"/>
                  <a:pt x="2306274" y="267774"/>
                  <a:pt x="2316572" y="267774"/>
                </a:cubicBezTo>
                <a:cubicBezTo>
                  <a:pt x="2326870" y="267774"/>
                  <a:pt x="2326870" y="267774"/>
                  <a:pt x="2337168" y="257474"/>
                </a:cubicBezTo>
                <a:cubicBezTo>
                  <a:pt x="2337168" y="236877"/>
                  <a:pt x="2316572" y="205979"/>
                  <a:pt x="2326870" y="185381"/>
                </a:cubicBezTo>
                <a:cubicBezTo>
                  <a:pt x="2337168" y="164784"/>
                  <a:pt x="2357764" y="175083"/>
                  <a:pt x="2378360" y="175083"/>
                </a:cubicBezTo>
                <a:cubicBezTo>
                  <a:pt x="2388658" y="154484"/>
                  <a:pt x="2398956" y="123588"/>
                  <a:pt x="2409254" y="102990"/>
                </a:cubicBezTo>
                <a:cubicBezTo>
                  <a:pt x="2429850" y="92691"/>
                  <a:pt x="2419552" y="61793"/>
                  <a:pt x="2440148" y="41196"/>
                </a:cubicBezTo>
                <a:cubicBezTo>
                  <a:pt x="2450446" y="41196"/>
                  <a:pt x="2450446" y="51495"/>
                  <a:pt x="2460744" y="61793"/>
                </a:cubicBezTo>
                <a:cubicBezTo>
                  <a:pt x="2450446" y="72093"/>
                  <a:pt x="2450446" y="92691"/>
                  <a:pt x="2450446" y="102990"/>
                </a:cubicBezTo>
                <a:cubicBezTo>
                  <a:pt x="2450446" y="102990"/>
                  <a:pt x="2460744" y="113289"/>
                  <a:pt x="2460744" y="113289"/>
                </a:cubicBezTo>
                <a:cubicBezTo>
                  <a:pt x="2471042" y="113289"/>
                  <a:pt x="2471042" y="113289"/>
                  <a:pt x="2471042" y="113289"/>
                </a:cubicBezTo>
                <a:cubicBezTo>
                  <a:pt x="2481340" y="102990"/>
                  <a:pt x="2491638" y="92691"/>
                  <a:pt x="2491638" y="72093"/>
                </a:cubicBezTo>
                <a:cubicBezTo>
                  <a:pt x="2501936" y="82393"/>
                  <a:pt x="2512234" y="102990"/>
                  <a:pt x="2512234" y="113289"/>
                </a:cubicBezTo>
                <a:cubicBezTo>
                  <a:pt x="2522532" y="113289"/>
                  <a:pt x="2532830" y="102990"/>
                  <a:pt x="2532830" y="92691"/>
                </a:cubicBezTo>
                <a:cubicBezTo>
                  <a:pt x="2532830" y="82393"/>
                  <a:pt x="2522532" y="61793"/>
                  <a:pt x="2532830" y="51495"/>
                </a:cubicBezTo>
                <a:cubicBezTo>
                  <a:pt x="2532830" y="30898"/>
                  <a:pt x="2532830" y="20598"/>
                  <a:pt x="2532830" y="0"/>
                </a:cubicBezTo>
                <a:close/>
              </a:path>
            </a:pathLst>
          </a:custGeom>
          <a:solidFill>
            <a:schemeClr val="bg1">
              <a:alpha val="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389508C-98E3-453A-8045-F57FFFCA5A4A}"/>
              </a:ext>
            </a:extLst>
          </p:cNvPr>
          <p:cNvSpPr txBox="1"/>
          <p:nvPr userDrawn="1"/>
        </p:nvSpPr>
        <p:spPr>
          <a:xfrm>
            <a:off x="708552" y="513014"/>
            <a:ext cx="2145803" cy="3016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80000"/>
              </a:lnSpc>
            </a:pPr>
            <a:r>
              <a:rPr lang="en-US" sz="1600" b="1" spc="0" dirty="0">
                <a:solidFill>
                  <a:schemeClr val="bg1">
                    <a:alpha val="49000"/>
                  </a:schemeClr>
                </a:solidFill>
                <a:latin typeface="Nexa Bold" panose="02000000000000000000" pitchFamily="50" charset="0"/>
              </a:rPr>
              <a:t>2018WildOnes</a:t>
            </a:r>
            <a:endParaRPr lang="en-US" sz="1600" b="0" spc="0" dirty="0">
              <a:solidFill>
                <a:schemeClr val="bg1">
                  <a:alpha val="49000"/>
                </a:schemeClr>
              </a:solidFill>
              <a:latin typeface="Nexa Light" panose="02000000000000000000" pitchFamily="50" charset="0"/>
            </a:endParaRP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C4BDC38A-3C41-49E8-906C-B78BB736F07A}"/>
              </a:ext>
            </a:extLst>
          </p:cNvPr>
          <p:cNvGrpSpPr/>
          <p:nvPr userDrawn="1"/>
        </p:nvGrpSpPr>
        <p:grpSpPr>
          <a:xfrm>
            <a:off x="9596438" y="6169620"/>
            <a:ext cx="1287755" cy="233758"/>
            <a:chOff x="9596438" y="6169620"/>
            <a:chExt cx="1287755" cy="233758"/>
          </a:xfrm>
        </p:grpSpPr>
        <p:sp>
          <p:nvSpPr>
            <p:cNvPr id="24" name="Freeform 85">
              <a:extLst>
                <a:ext uri="{FF2B5EF4-FFF2-40B4-BE49-F238E27FC236}">
                  <a16:creationId xmlns:a16="http://schemas.microsoft.com/office/drawing/2014/main" id="{01D32DCD-5EC2-4958-AE11-FFA77226393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116668" y="6204053"/>
              <a:ext cx="247295" cy="198775"/>
            </a:xfrm>
            <a:custGeom>
              <a:avLst/>
              <a:gdLst>
                <a:gd name="T0" fmla="*/ 250282 w 462"/>
                <a:gd name="T1" fmla="*/ 24258 h 374"/>
                <a:gd name="T2" fmla="*/ 250282 w 462"/>
                <a:gd name="T3" fmla="*/ 24258 h 374"/>
                <a:gd name="T4" fmla="*/ 221508 w 462"/>
                <a:gd name="T5" fmla="*/ 33962 h 374"/>
                <a:gd name="T6" fmla="*/ 240510 w 462"/>
                <a:gd name="T7" fmla="*/ 5391 h 374"/>
                <a:gd name="T8" fmla="*/ 211192 w 462"/>
                <a:gd name="T9" fmla="*/ 19407 h 374"/>
                <a:gd name="T10" fmla="*/ 173189 w 462"/>
                <a:gd name="T11" fmla="*/ 0 h 374"/>
                <a:gd name="T12" fmla="*/ 119983 w 462"/>
                <a:gd name="T13" fmla="*/ 52829 h 374"/>
                <a:gd name="T14" fmla="*/ 124870 w 462"/>
                <a:gd name="T15" fmla="*/ 62532 h 374"/>
                <a:gd name="T16" fmla="*/ 19002 w 462"/>
                <a:gd name="T17" fmla="*/ 10242 h 374"/>
                <a:gd name="T18" fmla="*/ 9229 w 462"/>
                <a:gd name="T19" fmla="*/ 38813 h 374"/>
                <a:gd name="T20" fmla="*/ 33118 w 462"/>
                <a:gd name="T21" fmla="*/ 81400 h 374"/>
                <a:gd name="T22" fmla="*/ 9229 w 462"/>
                <a:gd name="T23" fmla="*/ 72236 h 374"/>
                <a:gd name="T24" fmla="*/ 9229 w 462"/>
                <a:gd name="T25" fmla="*/ 72236 h 374"/>
                <a:gd name="T26" fmla="*/ 53205 w 462"/>
                <a:gd name="T27" fmla="*/ 124526 h 374"/>
                <a:gd name="T28" fmla="*/ 38004 w 462"/>
                <a:gd name="T29" fmla="*/ 124526 h 374"/>
                <a:gd name="T30" fmla="*/ 28774 w 462"/>
                <a:gd name="T31" fmla="*/ 124526 h 374"/>
                <a:gd name="T32" fmla="*/ 77093 w 462"/>
                <a:gd name="T33" fmla="*/ 158487 h 374"/>
                <a:gd name="T34" fmla="*/ 14116 w 462"/>
                <a:gd name="T35" fmla="*/ 182206 h 374"/>
                <a:gd name="T36" fmla="*/ 0 w 462"/>
                <a:gd name="T37" fmla="*/ 182206 h 374"/>
                <a:gd name="T38" fmla="*/ 77093 w 462"/>
                <a:gd name="T39" fmla="*/ 201074 h 374"/>
                <a:gd name="T40" fmla="*/ 221508 w 462"/>
                <a:gd name="T41" fmla="*/ 57681 h 374"/>
                <a:gd name="T42" fmla="*/ 221508 w 462"/>
                <a:gd name="T43" fmla="*/ 52829 h 374"/>
                <a:gd name="T44" fmla="*/ 250282 w 462"/>
                <a:gd name="T45" fmla="*/ 24258 h 374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462" h="374">
                  <a:moveTo>
                    <a:pt x="461" y="45"/>
                  </a:moveTo>
                  <a:lnTo>
                    <a:pt x="461" y="45"/>
                  </a:lnTo>
                  <a:cubicBezTo>
                    <a:pt x="443" y="54"/>
                    <a:pt x="425" y="63"/>
                    <a:pt x="408" y="63"/>
                  </a:cubicBezTo>
                  <a:cubicBezTo>
                    <a:pt x="425" y="54"/>
                    <a:pt x="443" y="36"/>
                    <a:pt x="443" y="10"/>
                  </a:cubicBezTo>
                  <a:cubicBezTo>
                    <a:pt x="425" y="19"/>
                    <a:pt x="408" y="27"/>
                    <a:pt x="389" y="36"/>
                  </a:cubicBezTo>
                  <a:cubicBezTo>
                    <a:pt x="372" y="19"/>
                    <a:pt x="345" y="0"/>
                    <a:pt x="319" y="0"/>
                  </a:cubicBezTo>
                  <a:cubicBezTo>
                    <a:pt x="265" y="0"/>
                    <a:pt x="221" y="45"/>
                    <a:pt x="221" y="98"/>
                  </a:cubicBezTo>
                  <a:cubicBezTo>
                    <a:pt x="221" y="107"/>
                    <a:pt x="221" y="116"/>
                    <a:pt x="230" y="116"/>
                  </a:cubicBezTo>
                  <a:cubicBezTo>
                    <a:pt x="151" y="116"/>
                    <a:pt x="79" y="81"/>
                    <a:pt x="35" y="19"/>
                  </a:cubicBezTo>
                  <a:cubicBezTo>
                    <a:pt x="26" y="36"/>
                    <a:pt x="17" y="54"/>
                    <a:pt x="17" y="72"/>
                  </a:cubicBezTo>
                  <a:cubicBezTo>
                    <a:pt x="17" y="98"/>
                    <a:pt x="35" y="134"/>
                    <a:pt x="61" y="151"/>
                  </a:cubicBezTo>
                  <a:cubicBezTo>
                    <a:pt x="44" y="143"/>
                    <a:pt x="35" y="143"/>
                    <a:pt x="17" y="134"/>
                  </a:cubicBezTo>
                  <a:cubicBezTo>
                    <a:pt x="17" y="178"/>
                    <a:pt x="53" y="222"/>
                    <a:pt x="98" y="231"/>
                  </a:cubicBezTo>
                  <a:cubicBezTo>
                    <a:pt x="89" y="231"/>
                    <a:pt x="79" y="231"/>
                    <a:pt x="70" y="231"/>
                  </a:cubicBezTo>
                  <a:cubicBezTo>
                    <a:pt x="61" y="231"/>
                    <a:pt x="61" y="231"/>
                    <a:pt x="53" y="231"/>
                  </a:cubicBezTo>
                  <a:cubicBezTo>
                    <a:pt x="61" y="266"/>
                    <a:pt x="98" y="294"/>
                    <a:pt x="142" y="294"/>
                  </a:cubicBezTo>
                  <a:cubicBezTo>
                    <a:pt x="106" y="319"/>
                    <a:pt x="70" y="338"/>
                    <a:pt x="26" y="338"/>
                  </a:cubicBezTo>
                  <a:cubicBezTo>
                    <a:pt x="17" y="338"/>
                    <a:pt x="8" y="338"/>
                    <a:pt x="0" y="338"/>
                  </a:cubicBezTo>
                  <a:cubicBezTo>
                    <a:pt x="44" y="364"/>
                    <a:pt x="89" y="373"/>
                    <a:pt x="142" y="373"/>
                  </a:cubicBezTo>
                  <a:cubicBezTo>
                    <a:pt x="319" y="373"/>
                    <a:pt x="408" y="231"/>
                    <a:pt x="408" y="107"/>
                  </a:cubicBezTo>
                  <a:lnTo>
                    <a:pt x="408" y="98"/>
                  </a:lnTo>
                  <a:cubicBezTo>
                    <a:pt x="434" y="81"/>
                    <a:pt x="443" y="72"/>
                    <a:pt x="461" y="45"/>
                  </a:cubicBezTo>
                </a:path>
              </a:pathLst>
            </a:cu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/>
            </a:p>
          </p:txBody>
        </p:sp>
        <p:sp>
          <p:nvSpPr>
            <p:cNvPr id="25" name="Freeform 87">
              <a:extLst>
                <a:ext uri="{FF2B5EF4-FFF2-40B4-BE49-F238E27FC236}">
                  <a16:creationId xmlns:a16="http://schemas.microsoft.com/office/drawing/2014/main" id="{E005C63B-2CA0-4FBF-829D-27433FD93B60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10655680" y="6169620"/>
              <a:ext cx="228513" cy="233209"/>
            </a:xfrm>
            <a:custGeom>
              <a:avLst/>
              <a:gdLst>
                <a:gd name="T0" fmla="*/ 187705 w 426"/>
                <a:gd name="T1" fmla="*/ 115822 h 435"/>
                <a:gd name="T2" fmla="*/ 187705 w 426"/>
                <a:gd name="T3" fmla="*/ 115822 h 435"/>
                <a:gd name="T4" fmla="*/ 115888 w 426"/>
                <a:gd name="T5" fmla="*/ 188143 h 435"/>
                <a:gd name="T6" fmla="*/ 42982 w 426"/>
                <a:gd name="T7" fmla="*/ 115822 h 435"/>
                <a:gd name="T8" fmla="*/ 47878 w 426"/>
                <a:gd name="T9" fmla="*/ 106034 h 435"/>
                <a:gd name="T10" fmla="*/ 0 w 426"/>
                <a:gd name="T11" fmla="*/ 106034 h 435"/>
                <a:gd name="T12" fmla="*/ 0 w 426"/>
                <a:gd name="T13" fmla="*/ 197387 h 435"/>
                <a:gd name="T14" fmla="*/ 33733 w 426"/>
                <a:gd name="T15" fmla="*/ 235994 h 435"/>
                <a:gd name="T16" fmla="*/ 197498 w 426"/>
                <a:gd name="T17" fmla="*/ 235994 h 435"/>
                <a:gd name="T18" fmla="*/ 231231 w 426"/>
                <a:gd name="T19" fmla="*/ 197387 h 435"/>
                <a:gd name="T20" fmla="*/ 231231 w 426"/>
                <a:gd name="T21" fmla="*/ 106034 h 435"/>
                <a:gd name="T22" fmla="*/ 183353 w 426"/>
                <a:gd name="T23" fmla="*/ 106034 h 435"/>
                <a:gd name="T24" fmla="*/ 187705 w 426"/>
                <a:gd name="T25" fmla="*/ 115822 h 435"/>
                <a:gd name="T26" fmla="*/ 197498 w 426"/>
                <a:gd name="T27" fmla="*/ 0 h 435"/>
                <a:gd name="T28" fmla="*/ 197498 w 426"/>
                <a:gd name="T29" fmla="*/ 0 h 435"/>
                <a:gd name="T30" fmla="*/ 33733 w 426"/>
                <a:gd name="T31" fmla="*/ 0 h 435"/>
                <a:gd name="T32" fmla="*/ 0 w 426"/>
                <a:gd name="T33" fmla="*/ 38607 h 435"/>
                <a:gd name="T34" fmla="*/ 0 w 426"/>
                <a:gd name="T35" fmla="*/ 77215 h 435"/>
                <a:gd name="T36" fmla="*/ 57672 w 426"/>
                <a:gd name="T37" fmla="*/ 77215 h 435"/>
                <a:gd name="T38" fmla="*/ 115888 w 426"/>
                <a:gd name="T39" fmla="*/ 48395 h 435"/>
                <a:gd name="T40" fmla="*/ 173559 w 426"/>
                <a:gd name="T41" fmla="*/ 77215 h 435"/>
                <a:gd name="T42" fmla="*/ 231231 w 426"/>
                <a:gd name="T43" fmla="*/ 77215 h 435"/>
                <a:gd name="T44" fmla="*/ 231231 w 426"/>
                <a:gd name="T45" fmla="*/ 38607 h 435"/>
                <a:gd name="T46" fmla="*/ 197498 w 426"/>
                <a:gd name="T47" fmla="*/ 0 h 435"/>
                <a:gd name="T48" fmla="*/ 212188 w 426"/>
                <a:gd name="T49" fmla="*/ 48395 h 435"/>
                <a:gd name="T50" fmla="*/ 212188 w 426"/>
                <a:gd name="T51" fmla="*/ 48395 h 435"/>
                <a:gd name="T52" fmla="*/ 207292 w 426"/>
                <a:gd name="T53" fmla="*/ 52745 h 435"/>
                <a:gd name="T54" fmla="*/ 187705 w 426"/>
                <a:gd name="T55" fmla="*/ 52745 h 435"/>
                <a:gd name="T56" fmla="*/ 178456 w 426"/>
                <a:gd name="T57" fmla="*/ 48395 h 435"/>
                <a:gd name="T58" fmla="*/ 178456 w 426"/>
                <a:gd name="T59" fmla="*/ 28820 h 435"/>
                <a:gd name="T60" fmla="*/ 187705 w 426"/>
                <a:gd name="T61" fmla="*/ 19576 h 435"/>
                <a:gd name="T62" fmla="*/ 207292 w 426"/>
                <a:gd name="T63" fmla="*/ 19576 h 435"/>
                <a:gd name="T64" fmla="*/ 212188 w 426"/>
                <a:gd name="T65" fmla="*/ 28820 h 435"/>
                <a:gd name="T66" fmla="*/ 212188 w 426"/>
                <a:gd name="T67" fmla="*/ 48395 h 435"/>
                <a:gd name="T68" fmla="*/ 158869 w 426"/>
                <a:gd name="T69" fmla="*/ 115822 h 435"/>
                <a:gd name="T70" fmla="*/ 158869 w 426"/>
                <a:gd name="T71" fmla="*/ 115822 h 435"/>
                <a:gd name="T72" fmla="*/ 115888 w 426"/>
                <a:gd name="T73" fmla="*/ 72321 h 435"/>
                <a:gd name="T74" fmla="*/ 71818 w 426"/>
                <a:gd name="T75" fmla="*/ 115822 h 435"/>
                <a:gd name="T76" fmla="*/ 115888 w 426"/>
                <a:gd name="T77" fmla="*/ 159323 h 435"/>
                <a:gd name="T78" fmla="*/ 158869 w 426"/>
                <a:gd name="T79" fmla="*/ 115822 h 435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</a:gdLst>
              <a:ahLst/>
              <a:cxnLst>
                <a:cxn ang="T80">
                  <a:pos x="T0" y="T1"/>
                </a:cxn>
                <a:cxn ang="T81">
                  <a:pos x="T2" y="T3"/>
                </a:cxn>
                <a:cxn ang="T82">
                  <a:pos x="T4" y="T5"/>
                </a:cxn>
                <a:cxn ang="T83">
                  <a:pos x="T6" y="T7"/>
                </a:cxn>
                <a:cxn ang="T84">
                  <a:pos x="T8" y="T9"/>
                </a:cxn>
                <a:cxn ang="T85">
                  <a:pos x="T10" y="T11"/>
                </a:cxn>
                <a:cxn ang="T86">
                  <a:pos x="T12" y="T13"/>
                </a:cxn>
                <a:cxn ang="T87">
                  <a:pos x="T14" y="T15"/>
                </a:cxn>
                <a:cxn ang="T88">
                  <a:pos x="T16" y="T17"/>
                </a:cxn>
                <a:cxn ang="T89">
                  <a:pos x="T18" y="T19"/>
                </a:cxn>
                <a:cxn ang="T90">
                  <a:pos x="T20" y="T21"/>
                </a:cxn>
                <a:cxn ang="T91">
                  <a:pos x="T22" y="T23"/>
                </a:cxn>
                <a:cxn ang="T92">
                  <a:pos x="T24" y="T25"/>
                </a:cxn>
                <a:cxn ang="T93">
                  <a:pos x="T26" y="T27"/>
                </a:cxn>
                <a:cxn ang="T94">
                  <a:pos x="T28" y="T29"/>
                </a:cxn>
                <a:cxn ang="T95">
                  <a:pos x="T30" y="T31"/>
                </a:cxn>
                <a:cxn ang="T96">
                  <a:pos x="T32" y="T33"/>
                </a:cxn>
                <a:cxn ang="T97">
                  <a:pos x="T34" y="T35"/>
                </a:cxn>
                <a:cxn ang="T98">
                  <a:pos x="T36" y="T37"/>
                </a:cxn>
                <a:cxn ang="T99">
                  <a:pos x="T38" y="T39"/>
                </a:cxn>
                <a:cxn ang="T100">
                  <a:pos x="T40" y="T41"/>
                </a:cxn>
                <a:cxn ang="T101">
                  <a:pos x="T42" y="T43"/>
                </a:cxn>
                <a:cxn ang="T102">
                  <a:pos x="T44" y="T45"/>
                </a:cxn>
                <a:cxn ang="T103">
                  <a:pos x="T46" y="T47"/>
                </a:cxn>
                <a:cxn ang="T104">
                  <a:pos x="T48" y="T49"/>
                </a:cxn>
                <a:cxn ang="T105">
                  <a:pos x="T50" y="T51"/>
                </a:cxn>
                <a:cxn ang="T106">
                  <a:pos x="T52" y="T53"/>
                </a:cxn>
                <a:cxn ang="T107">
                  <a:pos x="T54" y="T55"/>
                </a:cxn>
                <a:cxn ang="T108">
                  <a:pos x="T56" y="T57"/>
                </a:cxn>
                <a:cxn ang="T109">
                  <a:pos x="T58" y="T59"/>
                </a:cxn>
                <a:cxn ang="T110">
                  <a:pos x="T60" y="T61"/>
                </a:cxn>
                <a:cxn ang="T111">
                  <a:pos x="T62" y="T63"/>
                </a:cxn>
                <a:cxn ang="T112">
                  <a:pos x="T64" y="T65"/>
                </a:cxn>
                <a:cxn ang="T113">
                  <a:pos x="T66" y="T67"/>
                </a:cxn>
                <a:cxn ang="T114">
                  <a:pos x="T68" y="T69"/>
                </a:cxn>
                <a:cxn ang="T115">
                  <a:pos x="T70" y="T71"/>
                </a:cxn>
                <a:cxn ang="T116">
                  <a:pos x="T72" y="T73"/>
                </a:cxn>
                <a:cxn ang="T117">
                  <a:pos x="T74" y="T75"/>
                </a:cxn>
                <a:cxn ang="T118">
                  <a:pos x="T76" y="T77"/>
                </a:cxn>
                <a:cxn ang="T119">
                  <a:pos x="T78" y="T79"/>
                </a:cxn>
              </a:cxnLst>
              <a:rect l="0" t="0" r="r" b="b"/>
              <a:pathLst>
                <a:path w="426" h="435">
                  <a:moveTo>
                    <a:pt x="345" y="213"/>
                  </a:moveTo>
                  <a:lnTo>
                    <a:pt x="345" y="213"/>
                  </a:lnTo>
                  <a:cubicBezTo>
                    <a:pt x="345" y="284"/>
                    <a:pt x="284" y="346"/>
                    <a:pt x="213" y="346"/>
                  </a:cubicBezTo>
                  <a:cubicBezTo>
                    <a:pt x="142" y="346"/>
                    <a:pt x="79" y="284"/>
                    <a:pt x="79" y="213"/>
                  </a:cubicBezTo>
                  <a:cubicBezTo>
                    <a:pt x="79" y="203"/>
                    <a:pt x="88" y="203"/>
                    <a:pt x="88" y="195"/>
                  </a:cubicBezTo>
                  <a:cubicBezTo>
                    <a:pt x="0" y="195"/>
                    <a:pt x="0" y="195"/>
                    <a:pt x="0" y="195"/>
                  </a:cubicBezTo>
                  <a:cubicBezTo>
                    <a:pt x="0" y="363"/>
                    <a:pt x="0" y="363"/>
                    <a:pt x="0" y="363"/>
                  </a:cubicBezTo>
                  <a:cubicBezTo>
                    <a:pt x="0" y="399"/>
                    <a:pt x="26" y="434"/>
                    <a:pt x="62" y="434"/>
                  </a:cubicBezTo>
                  <a:cubicBezTo>
                    <a:pt x="363" y="434"/>
                    <a:pt x="363" y="434"/>
                    <a:pt x="363" y="434"/>
                  </a:cubicBezTo>
                  <a:cubicBezTo>
                    <a:pt x="398" y="434"/>
                    <a:pt x="425" y="399"/>
                    <a:pt x="425" y="363"/>
                  </a:cubicBezTo>
                  <a:cubicBezTo>
                    <a:pt x="425" y="195"/>
                    <a:pt x="425" y="195"/>
                    <a:pt x="425" y="195"/>
                  </a:cubicBezTo>
                  <a:cubicBezTo>
                    <a:pt x="337" y="195"/>
                    <a:pt x="337" y="195"/>
                    <a:pt x="337" y="195"/>
                  </a:cubicBezTo>
                  <a:cubicBezTo>
                    <a:pt x="337" y="203"/>
                    <a:pt x="345" y="203"/>
                    <a:pt x="345" y="213"/>
                  </a:cubicBezTo>
                  <a:close/>
                  <a:moveTo>
                    <a:pt x="363" y="0"/>
                  </a:moveTo>
                  <a:lnTo>
                    <a:pt x="363" y="0"/>
                  </a:lnTo>
                  <a:cubicBezTo>
                    <a:pt x="62" y="0"/>
                    <a:pt x="62" y="0"/>
                    <a:pt x="62" y="0"/>
                  </a:cubicBezTo>
                  <a:cubicBezTo>
                    <a:pt x="26" y="0"/>
                    <a:pt x="0" y="36"/>
                    <a:pt x="0" y="71"/>
                  </a:cubicBezTo>
                  <a:cubicBezTo>
                    <a:pt x="0" y="142"/>
                    <a:pt x="0" y="142"/>
                    <a:pt x="0" y="142"/>
                  </a:cubicBezTo>
                  <a:cubicBezTo>
                    <a:pt x="106" y="142"/>
                    <a:pt x="106" y="142"/>
                    <a:pt x="106" y="142"/>
                  </a:cubicBezTo>
                  <a:cubicBezTo>
                    <a:pt x="132" y="106"/>
                    <a:pt x="168" y="89"/>
                    <a:pt x="213" y="89"/>
                  </a:cubicBezTo>
                  <a:cubicBezTo>
                    <a:pt x="257" y="89"/>
                    <a:pt x="292" y="106"/>
                    <a:pt x="319" y="142"/>
                  </a:cubicBezTo>
                  <a:cubicBezTo>
                    <a:pt x="425" y="142"/>
                    <a:pt x="425" y="142"/>
                    <a:pt x="425" y="142"/>
                  </a:cubicBezTo>
                  <a:cubicBezTo>
                    <a:pt x="425" y="71"/>
                    <a:pt x="425" y="71"/>
                    <a:pt x="425" y="71"/>
                  </a:cubicBezTo>
                  <a:cubicBezTo>
                    <a:pt x="425" y="36"/>
                    <a:pt x="398" y="0"/>
                    <a:pt x="363" y="0"/>
                  </a:cubicBezTo>
                  <a:close/>
                  <a:moveTo>
                    <a:pt x="390" y="89"/>
                  </a:moveTo>
                  <a:lnTo>
                    <a:pt x="390" y="89"/>
                  </a:lnTo>
                  <a:cubicBezTo>
                    <a:pt x="390" y="89"/>
                    <a:pt x="390" y="97"/>
                    <a:pt x="381" y="97"/>
                  </a:cubicBezTo>
                  <a:cubicBezTo>
                    <a:pt x="345" y="97"/>
                    <a:pt x="345" y="97"/>
                    <a:pt x="345" y="97"/>
                  </a:cubicBezTo>
                  <a:cubicBezTo>
                    <a:pt x="337" y="97"/>
                    <a:pt x="328" y="89"/>
                    <a:pt x="328" y="89"/>
                  </a:cubicBezTo>
                  <a:cubicBezTo>
                    <a:pt x="328" y="53"/>
                    <a:pt x="328" y="53"/>
                    <a:pt x="328" y="53"/>
                  </a:cubicBezTo>
                  <a:cubicBezTo>
                    <a:pt x="328" y="44"/>
                    <a:pt x="337" y="36"/>
                    <a:pt x="345" y="36"/>
                  </a:cubicBezTo>
                  <a:cubicBezTo>
                    <a:pt x="381" y="36"/>
                    <a:pt x="381" y="36"/>
                    <a:pt x="381" y="36"/>
                  </a:cubicBezTo>
                  <a:cubicBezTo>
                    <a:pt x="390" y="36"/>
                    <a:pt x="390" y="44"/>
                    <a:pt x="390" y="53"/>
                  </a:cubicBezTo>
                  <a:lnTo>
                    <a:pt x="390" y="89"/>
                  </a:lnTo>
                  <a:close/>
                  <a:moveTo>
                    <a:pt x="292" y="213"/>
                  </a:moveTo>
                  <a:lnTo>
                    <a:pt x="292" y="213"/>
                  </a:lnTo>
                  <a:cubicBezTo>
                    <a:pt x="292" y="168"/>
                    <a:pt x="257" y="133"/>
                    <a:pt x="213" y="133"/>
                  </a:cubicBezTo>
                  <a:cubicBezTo>
                    <a:pt x="168" y="133"/>
                    <a:pt x="132" y="168"/>
                    <a:pt x="132" y="213"/>
                  </a:cubicBezTo>
                  <a:cubicBezTo>
                    <a:pt x="132" y="257"/>
                    <a:pt x="168" y="293"/>
                    <a:pt x="213" y="293"/>
                  </a:cubicBezTo>
                  <a:cubicBezTo>
                    <a:pt x="257" y="293"/>
                    <a:pt x="292" y="257"/>
                    <a:pt x="292" y="213"/>
                  </a:cubicBezTo>
                  <a:close/>
                </a:path>
              </a:pathLst>
            </a:cu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/>
            </a:p>
          </p:txBody>
        </p:sp>
        <p:sp>
          <p:nvSpPr>
            <p:cNvPr id="26" name="Freeform 106">
              <a:extLst>
                <a:ext uri="{FF2B5EF4-FFF2-40B4-BE49-F238E27FC236}">
                  <a16:creationId xmlns:a16="http://schemas.microsoft.com/office/drawing/2014/main" id="{85016B82-AAB9-458F-A16E-42D10C92E862}"/>
                </a:ext>
              </a:extLst>
            </p:cNvPr>
            <p:cNvSpPr>
              <a:spLocks noChangeArrowheads="1"/>
            </p:cNvSpPr>
            <p:nvPr userDrawn="1"/>
          </p:nvSpPr>
          <p:spPr bwMode="auto">
            <a:xfrm>
              <a:off x="9596438" y="6173300"/>
              <a:ext cx="228513" cy="230078"/>
            </a:xfrm>
            <a:custGeom>
              <a:avLst/>
              <a:gdLst>
                <a:gd name="T0" fmla="*/ 202395 w 426"/>
                <a:gd name="T1" fmla="*/ 0 h 427"/>
                <a:gd name="T2" fmla="*/ 202395 w 426"/>
                <a:gd name="T3" fmla="*/ 0 h 427"/>
                <a:gd name="T4" fmla="*/ 28836 w 426"/>
                <a:gd name="T5" fmla="*/ 0 h 427"/>
                <a:gd name="T6" fmla="*/ 0 w 426"/>
                <a:gd name="T7" fmla="*/ 28965 h 427"/>
                <a:gd name="T8" fmla="*/ 0 w 426"/>
                <a:gd name="T9" fmla="*/ 203304 h 427"/>
                <a:gd name="T10" fmla="*/ 28836 w 426"/>
                <a:gd name="T11" fmla="*/ 232815 h 427"/>
                <a:gd name="T12" fmla="*/ 115888 w 426"/>
                <a:gd name="T13" fmla="*/ 232815 h 427"/>
                <a:gd name="T14" fmla="*/ 115888 w 426"/>
                <a:gd name="T15" fmla="*/ 149745 h 427"/>
                <a:gd name="T16" fmla="*/ 87052 w 426"/>
                <a:gd name="T17" fmla="*/ 149745 h 427"/>
                <a:gd name="T18" fmla="*/ 87052 w 426"/>
                <a:gd name="T19" fmla="*/ 111489 h 427"/>
                <a:gd name="T20" fmla="*/ 115888 w 426"/>
                <a:gd name="T21" fmla="*/ 111489 h 427"/>
                <a:gd name="T22" fmla="*/ 115888 w 426"/>
                <a:gd name="T23" fmla="*/ 91815 h 427"/>
                <a:gd name="T24" fmla="*/ 163766 w 426"/>
                <a:gd name="T25" fmla="*/ 43721 h 427"/>
                <a:gd name="T26" fmla="*/ 188249 w 426"/>
                <a:gd name="T27" fmla="*/ 43721 h 427"/>
                <a:gd name="T28" fmla="*/ 188249 w 426"/>
                <a:gd name="T29" fmla="*/ 87442 h 427"/>
                <a:gd name="T30" fmla="*/ 168663 w 426"/>
                <a:gd name="T31" fmla="*/ 87442 h 427"/>
                <a:gd name="T32" fmla="*/ 158869 w 426"/>
                <a:gd name="T33" fmla="*/ 91815 h 427"/>
                <a:gd name="T34" fmla="*/ 158869 w 426"/>
                <a:gd name="T35" fmla="*/ 111489 h 427"/>
                <a:gd name="T36" fmla="*/ 188249 w 426"/>
                <a:gd name="T37" fmla="*/ 111489 h 427"/>
                <a:gd name="T38" fmla="*/ 188249 w 426"/>
                <a:gd name="T39" fmla="*/ 149745 h 427"/>
                <a:gd name="T40" fmla="*/ 158869 w 426"/>
                <a:gd name="T41" fmla="*/ 149745 h 427"/>
                <a:gd name="T42" fmla="*/ 158869 w 426"/>
                <a:gd name="T43" fmla="*/ 232815 h 427"/>
                <a:gd name="T44" fmla="*/ 202395 w 426"/>
                <a:gd name="T45" fmla="*/ 232815 h 427"/>
                <a:gd name="T46" fmla="*/ 231231 w 426"/>
                <a:gd name="T47" fmla="*/ 203304 h 427"/>
                <a:gd name="T48" fmla="*/ 231231 w 426"/>
                <a:gd name="T49" fmla="*/ 28965 h 427"/>
                <a:gd name="T50" fmla="*/ 202395 w 426"/>
                <a:gd name="T51" fmla="*/ 0 h 427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</a:gdLst>
              <a:ahLst/>
              <a:cxnLst>
                <a:cxn ang="T52">
                  <a:pos x="T0" y="T1"/>
                </a:cxn>
                <a:cxn ang="T53">
                  <a:pos x="T2" y="T3"/>
                </a:cxn>
                <a:cxn ang="T54">
                  <a:pos x="T4" y="T5"/>
                </a:cxn>
                <a:cxn ang="T55">
                  <a:pos x="T6" y="T7"/>
                </a:cxn>
                <a:cxn ang="T56">
                  <a:pos x="T8" y="T9"/>
                </a:cxn>
                <a:cxn ang="T57">
                  <a:pos x="T10" y="T11"/>
                </a:cxn>
                <a:cxn ang="T58">
                  <a:pos x="T12" y="T13"/>
                </a:cxn>
                <a:cxn ang="T59">
                  <a:pos x="T14" y="T15"/>
                </a:cxn>
                <a:cxn ang="T60">
                  <a:pos x="T16" y="T17"/>
                </a:cxn>
                <a:cxn ang="T61">
                  <a:pos x="T18" y="T19"/>
                </a:cxn>
                <a:cxn ang="T62">
                  <a:pos x="T20" y="T21"/>
                </a:cxn>
                <a:cxn ang="T63">
                  <a:pos x="T22" y="T23"/>
                </a:cxn>
                <a:cxn ang="T64">
                  <a:pos x="T24" y="T25"/>
                </a:cxn>
                <a:cxn ang="T65">
                  <a:pos x="T26" y="T27"/>
                </a:cxn>
                <a:cxn ang="T66">
                  <a:pos x="T28" y="T29"/>
                </a:cxn>
                <a:cxn ang="T67">
                  <a:pos x="T30" y="T31"/>
                </a:cxn>
                <a:cxn ang="T68">
                  <a:pos x="T32" y="T33"/>
                </a:cxn>
                <a:cxn ang="T69">
                  <a:pos x="T34" y="T35"/>
                </a:cxn>
                <a:cxn ang="T70">
                  <a:pos x="T36" y="T37"/>
                </a:cxn>
                <a:cxn ang="T71">
                  <a:pos x="T38" y="T39"/>
                </a:cxn>
                <a:cxn ang="T72">
                  <a:pos x="T40" y="T41"/>
                </a:cxn>
                <a:cxn ang="T73">
                  <a:pos x="T42" y="T43"/>
                </a:cxn>
                <a:cxn ang="T74">
                  <a:pos x="T44" y="T45"/>
                </a:cxn>
                <a:cxn ang="T75">
                  <a:pos x="T46" y="T47"/>
                </a:cxn>
                <a:cxn ang="T76">
                  <a:pos x="T48" y="T49"/>
                </a:cxn>
                <a:cxn ang="T77">
                  <a:pos x="T50" y="T51"/>
                </a:cxn>
              </a:cxnLst>
              <a:rect l="0" t="0" r="r" b="b"/>
              <a:pathLst>
                <a:path w="426" h="427">
                  <a:moveTo>
                    <a:pt x="372" y="0"/>
                  </a:moveTo>
                  <a:lnTo>
                    <a:pt x="372" y="0"/>
                  </a:lnTo>
                  <a:cubicBezTo>
                    <a:pt x="53" y="0"/>
                    <a:pt x="53" y="0"/>
                    <a:pt x="53" y="0"/>
                  </a:cubicBezTo>
                  <a:cubicBezTo>
                    <a:pt x="27" y="0"/>
                    <a:pt x="0" y="27"/>
                    <a:pt x="0" y="53"/>
                  </a:cubicBezTo>
                  <a:cubicBezTo>
                    <a:pt x="0" y="372"/>
                    <a:pt x="0" y="372"/>
                    <a:pt x="0" y="372"/>
                  </a:cubicBezTo>
                  <a:cubicBezTo>
                    <a:pt x="0" y="399"/>
                    <a:pt x="27" y="426"/>
                    <a:pt x="53" y="426"/>
                  </a:cubicBezTo>
                  <a:cubicBezTo>
                    <a:pt x="213" y="426"/>
                    <a:pt x="213" y="426"/>
                    <a:pt x="213" y="426"/>
                  </a:cubicBezTo>
                  <a:cubicBezTo>
                    <a:pt x="213" y="274"/>
                    <a:pt x="213" y="274"/>
                    <a:pt x="213" y="274"/>
                  </a:cubicBezTo>
                  <a:cubicBezTo>
                    <a:pt x="160" y="274"/>
                    <a:pt x="160" y="274"/>
                    <a:pt x="160" y="274"/>
                  </a:cubicBezTo>
                  <a:cubicBezTo>
                    <a:pt x="160" y="204"/>
                    <a:pt x="160" y="204"/>
                    <a:pt x="160" y="204"/>
                  </a:cubicBezTo>
                  <a:cubicBezTo>
                    <a:pt x="213" y="204"/>
                    <a:pt x="213" y="204"/>
                    <a:pt x="213" y="204"/>
                  </a:cubicBezTo>
                  <a:cubicBezTo>
                    <a:pt x="213" y="168"/>
                    <a:pt x="213" y="168"/>
                    <a:pt x="213" y="168"/>
                  </a:cubicBezTo>
                  <a:cubicBezTo>
                    <a:pt x="213" y="124"/>
                    <a:pt x="257" y="80"/>
                    <a:pt x="301" y="80"/>
                  </a:cubicBezTo>
                  <a:cubicBezTo>
                    <a:pt x="346" y="80"/>
                    <a:pt x="346" y="80"/>
                    <a:pt x="346" y="80"/>
                  </a:cubicBezTo>
                  <a:cubicBezTo>
                    <a:pt x="346" y="160"/>
                    <a:pt x="346" y="160"/>
                    <a:pt x="346" y="160"/>
                  </a:cubicBezTo>
                  <a:cubicBezTo>
                    <a:pt x="310" y="160"/>
                    <a:pt x="310" y="160"/>
                    <a:pt x="310" y="160"/>
                  </a:cubicBezTo>
                  <a:cubicBezTo>
                    <a:pt x="292" y="160"/>
                    <a:pt x="292" y="160"/>
                    <a:pt x="292" y="168"/>
                  </a:cubicBezTo>
                  <a:cubicBezTo>
                    <a:pt x="292" y="204"/>
                    <a:pt x="292" y="204"/>
                    <a:pt x="292" y="204"/>
                  </a:cubicBezTo>
                  <a:cubicBezTo>
                    <a:pt x="346" y="204"/>
                    <a:pt x="346" y="204"/>
                    <a:pt x="346" y="204"/>
                  </a:cubicBezTo>
                  <a:cubicBezTo>
                    <a:pt x="346" y="274"/>
                    <a:pt x="346" y="274"/>
                    <a:pt x="346" y="274"/>
                  </a:cubicBezTo>
                  <a:cubicBezTo>
                    <a:pt x="292" y="274"/>
                    <a:pt x="292" y="274"/>
                    <a:pt x="292" y="274"/>
                  </a:cubicBezTo>
                  <a:cubicBezTo>
                    <a:pt x="292" y="426"/>
                    <a:pt x="292" y="426"/>
                    <a:pt x="292" y="426"/>
                  </a:cubicBezTo>
                  <a:cubicBezTo>
                    <a:pt x="372" y="426"/>
                    <a:pt x="372" y="426"/>
                    <a:pt x="372" y="426"/>
                  </a:cubicBezTo>
                  <a:cubicBezTo>
                    <a:pt x="399" y="426"/>
                    <a:pt x="425" y="399"/>
                    <a:pt x="425" y="372"/>
                  </a:cubicBezTo>
                  <a:cubicBezTo>
                    <a:pt x="425" y="53"/>
                    <a:pt x="425" y="53"/>
                    <a:pt x="425" y="53"/>
                  </a:cubicBezTo>
                  <a:cubicBezTo>
                    <a:pt x="425" y="27"/>
                    <a:pt x="399" y="0"/>
                    <a:pt x="372" y="0"/>
                  </a:cubicBezTo>
                </a:path>
              </a:pathLst>
            </a:custGeom>
            <a:solidFill>
              <a:schemeClr val="bg1">
                <a:lumMod val="75000"/>
                <a:alpha val="20000"/>
              </a:schemeClr>
            </a:solidFill>
            <a:ln>
              <a:noFill/>
            </a:ln>
            <a:effectLst/>
          </p:spPr>
          <p:txBody>
            <a:bodyPr wrap="none" lIns="34290" tIns="17145" rIns="34290" bIns="17145" anchor="ctr"/>
            <a:lstStyle/>
            <a:p>
              <a:endParaRPr lang="en-US" dirty="0"/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B73FD97C-C65D-4033-99EE-6864029EFDBF}"/>
              </a:ext>
            </a:extLst>
          </p:cNvPr>
          <p:cNvSpPr txBox="1"/>
          <p:nvPr userDrawn="1"/>
        </p:nvSpPr>
        <p:spPr>
          <a:xfrm rot="16200000">
            <a:off x="10762467" y="3304350"/>
            <a:ext cx="2145803" cy="2492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sz="1200" b="0" spc="300" dirty="0">
                <a:solidFill>
                  <a:schemeClr val="tx1">
                    <a:lumMod val="50000"/>
                    <a:lumOff val="50000"/>
                  </a:schemeClr>
                </a:solidFill>
                <a:latin typeface="Nexa Light" panose="02000000000000000000" pitchFamily="50" charset="0"/>
              </a:rPr>
              <a:t>www.website.com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6C603E1-04E9-439A-A1B5-8804A1522115}"/>
              </a:ext>
            </a:extLst>
          </p:cNvPr>
          <p:cNvSpPr txBox="1"/>
          <p:nvPr userDrawn="1"/>
        </p:nvSpPr>
        <p:spPr>
          <a:xfrm>
            <a:off x="8972787" y="157648"/>
            <a:ext cx="2987231" cy="144655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260E2A6B-A809-4840-BF14-8648BC0BDF87}" type="slidenum">
              <a:rPr lang="id-ID" sz="8800" b="0" i="0" strike="noStrike" spc="0" smtClean="0">
                <a:solidFill>
                  <a:schemeClr val="bg1">
                    <a:alpha val="49000"/>
                  </a:schemeClr>
                </a:solidFill>
                <a:latin typeface="Nexa Light" panose="02000000000000000000" pitchFamily="50" charset="0"/>
                <a:ea typeface="Open Sans Semibold" panose="020B0706030804020204" pitchFamily="34" charset="0"/>
                <a:cs typeface="Segoe UI" panose="020B0502040204020203" pitchFamily="34" charset="0"/>
              </a:rPr>
              <a:pPr algn="r"/>
              <a:t>‹#›</a:t>
            </a:fld>
            <a:endParaRPr lang="id-ID" sz="11500" b="0" i="0" strike="noStrike" spc="0" dirty="0">
              <a:solidFill>
                <a:schemeClr val="bg1">
                  <a:alpha val="49000"/>
                </a:schemeClr>
              </a:solidFill>
              <a:latin typeface="Nexa Light" panose="02000000000000000000" pitchFamily="50" charset="0"/>
              <a:ea typeface="Open Sans Semibold" panose="020B0706030804020204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2593747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MAP-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ตัวแทนวันที่ 1"/>
          <p:cNvSpPr>
            <a:spLocks noGrp="1"/>
          </p:cNvSpPr>
          <p:nvPr>
            <p:ph type="dt" sz="half" idx="10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0BC60D4-4820-4F09-ACAF-35675421E0BC}" type="datetimeFigureOut">
              <a:rPr lang="th-TH" smtClean="0"/>
              <a:t>06/04/64</a:t>
            </a:fld>
            <a:endParaRPr lang="th-TH"/>
          </a:p>
        </p:txBody>
      </p:sp>
      <p:sp>
        <p:nvSpPr>
          <p:cNvPr id="3" name="ตัวแทนท้ายกระดาษ 2"/>
          <p:cNvSpPr>
            <a:spLocks noGrp="1"/>
          </p:cNvSpPr>
          <p:nvPr>
            <p:ph type="ftr" sz="quarter" idx="11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th-TH"/>
          </a:p>
        </p:txBody>
      </p:sp>
      <p:sp>
        <p:nvSpPr>
          <p:cNvPr id="4" name="ตัวแทนหมายเลขภาพนิ่ง 3"/>
          <p:cNvSpPr>
            <a:spLocks noGrp="1"/>
          </p:cNvSpPr>
          <p:nvPr>
            <p:ph type="sldNum" sz="quarter" idx="12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/>
          <a:lstStyle/>
          <a:p>
            <a:fld id="{BA21DD39-900E-40D5-A2D4-939611206A7B}" type="slidenum">
              <a:rPr lang="th-TH" smtClean="0"/>
              <a:t>‹#›</a:t>
            </a:fld>
            <a:endParaRPr lang="th-TH"/>
          </a:p>
        </p:txBody>
      </p:sp>
    </p:spTree>
    <p:extLst>
      <p:ext uri="{BB962C8B-B14F-4D97-AF65-F5344CB8AC3E}">
        <p14:creationId xmlns:p14="http://schemas.microsoft.com/office/powerpoint/2010/main" val="2771619231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4C4BAA-B18D-4E59-A1AC-DBC7AF432D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4A0CF8B-5021-48E0-A804-2F55653D6ED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5DA764F-C4FD-482F-A54C-2934CFED481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CB37A2-A5D2-4C55-8370-C1F49EBEBFE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596F6FB-6127-42AB-9FF0-36A1AF566D1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609090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:a16="http://schemas.microsoft.com/office/drawing/2014/main" id="{AD21893C-C35C-4C28-9D8E-FC6106085CE6}"/>
              </a:ext>
            </a:extLst>
          </p:cNvPr>
          <p:cNvSpPr/>
          <p:nvPr userDrawn="1"/>
        </p:nvSpPr>
        <p:spPr>
          <a:xfrm>
            <a:off x="-1" y="6426353"/>
            <a:ext cx="12236477" cy="431651"/>
          </a:xfrm>
          <a:prstGeom prst="rect">
            <a:avLst/>
          </a:prstGeom>
          <a:gradFill flip="none" rotWithShape="1">
            <a:gsLst>
              <a:gs pos="100000">
                <a:srgbClr val="E3E3E3"/>
              </a:gs>
              <a:gs pos="9000">
                <a:schemeClr val="bg1"/>
              </a:gs>
            </a:gsLst>
            <a:lin ang="2034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2E3F1B90-C0B5-4163-B4A7-F83A4F72E2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876021" y="6437654"/>
            <a:ext cx="7783558" cy="182562"/>
          </a:xfrm>
        </p:spPr>
        <p:txBody>
          <a:bodyPr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24" name="Slide Number Placeholder 5">
            <a:extLst>
              <a:ext uri="{FF2B5EF4-FFF2-40B4-BE49-F238E27FC236}">
                <a16:creationId xmlns:a16="http://schemas.microsoft.com/office/drawing/2014/main" id="{EC5B59CF-5F71-40F1-A35B-C3037180BA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Copyright © Children’s Investment Fund Foundation 2020 | </a:t>
            </a:r>
            <a:fld id="{A11913C4-23BE-4637-B15B-AFA213ABE320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25" name="Picture 24">
            <a:extLst>
              <a:ext uri="{FF2B5EF4-FFF2-40B4-BE49-F238E27FC236}">
                <a16:creationId xmlns:a16="http://schemas.microsoft.com/office/drawing/2014/main" id="{C225F68D-B312-495B-8A4F-49EE0D576D0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  <p:pic>
        <p:nvPicPr>
          <p:cNvPr id="26" name="Picture 5" descr="mapGraphic w-bg.tif">
            <a:extLst>
              <a:ext uri="{FF2B5EF4-FFF2-40B4-BE49-F238E27FC236}">
                <a16:creationId xmlns:a16="http://schemas.microsoft.com/office/drawing/2014/main" id="{F7DE1B46-FE41-49A6-AE06-1818EE1BA50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3689" y="1416685"/>
            <a:ext cx="9864621" cy="4024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7" name="Title 1">
            <a:extLst>
              <a:ext uri="{FF2B5EF4-FFF2-40B4-BE49-F238E27FC236}">
                <a16:creationId xmlns:a16="http://schemas.microsoft.com/office/drawing/2014/main" id="{3E6DBF2D-4757-4783-AF9B-2E5EC19E27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8028" y="522400"/>
            <a:ext cx="11141551" cy="589420"/>
          </a:xfrm>
        </p:spPr>
        <p:txBody>
          <a:bodyPr/>
          <a:lstStyle>
            <a:lvl1pPr>
              <a:defRPr>
                <a:solidFill>
                  <a:srgbClr val="ED1267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176804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C56004C-E457-4EA7-A6C2-3C7B74C7473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BC950B5-9751-4282-ADA9-B631B183134D}" type="datetimeFigureOut">
              <a:rPr lang="en-GB" smtClean="0"/>
              <a:t>06/04/2021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ADB0DD5-7D3B-439E-B10B-14ABC2A486D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B1C7FB6-B521-4D7F-ACAA-F88A3324005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862E0F6-E303-4002-88D6-15CD35C7493B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73666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7F9583F-3897-4E9E-8929-02696B3C506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ECCEDE76-106C-484C-AA4F-B258FD46A74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080413E-5739-408B-87C5-D3BEC67C46E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CCC6C36-B743-4282-B4C8-3ECB2DF14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45F11E3-556D-4350-BBC5-07C12E9A1C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243B0A1-14BF-4231-AC85-6D5A7BBE4037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73267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2.xml"/><Relationship Id="rId18" Type="http://schemas.openxmlformats.org/officeDocument/2006/relationships/slideLayout" Target="../slideLayouts/slideLayout37.xml"/><Relationship Id="rId26" Type="http://schemas.openxmlformats.org/officeDocument/2006/relationships/slideLayout" Target="../slideLayouts/slideLayout45.xml"/><Relationship Id="rId39" Type="http://schemas.openxmlformats.org/officeDocument/2006/relationships/slideLayout" Target="../slideLayouts/slideLayout58.xml"/><Relationship Id="rId21" Type="http://schemas.openxmlformats.org/officeDocument/2006/relationships/slideLayout" Target="../slideLayouts/slideLayout40.xml"/><Relationship Id="rId34" Type="http://schemas.openxmlformats.org/officeDocument/2006/relationships/slideLayout" Target="../slideLayouts/slideLayout53.xml"/><Relationship Id="rId42" Type="http://schemas.openxmlformats.org/officeDocument/2006/relationships/slideLayout" Target="../slideLayouts/slideLayout61.xml"/><Relationship Id="rId47" Type="http://schemas.openxmlformats.org/officeDocument/2006/relationships/slideLayout" Target="../slideLayouts/slideLayout66.xml"/><Relationship Id="rId50" Type="http://schemas.openxmlformats.org/officeDocument/2006/relationships/theme" Target="../theme/theme3.xml"/><Relationship Id="rId7" Type="http://schemas.openxmlformats.org/officeDocument/2006/relationships/slideLayout" Target="../slideLayouts/slideLayout26.xml"/><Relationship Id="rId2" Type="http://schemas.openxmlformats.org/officeDocument/2006/relationships/slideLayout" Target="../slideLayouts/slideLayout21.xml"/><Relationship Id="rId16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8.xml"/><Relationship Id="rId11" Type="http://schemas.openxmlformats.org/officeDocument/2006/relationships/slideLayout" Target="../slideLayouts/slideLayout30.xml"/><Relationship Id="rId24" Type="http://schemas.openxmlformats.org/officeDocument/2006/relationships/slideLayout" Target="../slideLayouts/slideLayout43.xml"/><Relationship Id="rId32" Type="http://schemas.openxmlformats.org/officeDocument/2006/relationships/slideLayout" Target="../slideLayouts/slideLayout51.xml"/><Relationship Id="rId37" Type="http://schemas.openxmlformats.org/officeDocument/2006/relationships/slideLayout" Target="../slideLayouts/slideLayout56.xml"/><Relationship Id="rId40" Type="http://schemas.openxmlformats.org/officeDocument/2006/relationships/slideLayout" Target="../slideLayouts/slideLayout59.xml"/><Relationship Id="rId45" Type="http://schemas.openxmlformats.org/officeDocument/2006/relationships/slideLayout" Target="../slideLayouts/slideLayout64.xml"/><Relationship Id="rId5" Type="http://schemas.openxmlformats.org/officeDocument/2006/relationships/slideLayout" Target="../slideLayouts/slideLayout24.xml"/><Relationship Id="rId15" Type="http://schemas.openxmlformats.org/officeDocument/2006/relationships/slideLayout" Target="../slideLayouts/slideLayout34.xml"/><Relationship Id="rId23" Type="http://schemas.openxmlformats.org/officeDocument/2006/relationships/slideLayout" Target="../slideLayouts/slideLayout42.xml"/><Relationship Id="rId28" Type="http://schemas.openxmlformats.org/officeDocument/2006/relationships/slideLayout" Target="../slideLayouts/slideLayout47.xml"/><Relationship Id="rId36" Type="http://schemas.openxmlformats.org/officeDocument/2006/relationships/slideLayout" Target="../slideLayouts/slideLayout55.xml"/><Relationship Id="rId49" Type="http://schemas.openxmlformats.org/officeDocument/2006/relationships/slideLayout" Target="../slideLayouts/slideLayout68.xml"/><Relationship Id="rId10" Type="http://schemas.openxmlformats.org/officeDocument/2006/relationships/slideLayout" Target="../slideLayouts/slideLayout29.xml"/><Relationship Id="rId19" Type="http://schemas.openxmlformats.org/officeDocument/2006/relationships/slideLayout" Target="../slideLayouts/slideLayout38.xml"/><Relationship Id="rId31" Type="http://schemas.openxmlformats.org/officeDocument/2006/relationships/slideLayout" Target="../slideLayouts/slideLayout50.xml"/><Relationship Id="rId44" Type="http://schemas.openxmlformats.org/officeDocument/2006/relationships/slideLayout" Target="../slideLayouts/slideLayout63.xml"/><Relationship Id="rId4" Type="http://schemas.openxmlformats.org/officeDocument/2006/relationships/slideLayout" Target="../slideLayouts/slideLayout23.xml"/><Relationship Id="rId9" Type="http://schemas.openxmlformats.org/officeDocument/2006/relationships/slideLayout" Target="../slideLayouts/slideLayout28.xml"/><Relationship Id="rId14" Type="http://schemas.openxmlformats.org/officeDocument/2006/relationships/slideLayout" Target="../slideLayouts/slideLayout33.xml"/><Relationship Id="rId22" Type="http://schemas.openxmlformats.org/officeDocument/2006/relationships/slideLayout" Target="../slideLayouts/slideLayout41.xml"/><Relationship Id="rId27" Type="http://schemas.openxmlformats.org/officeDocument/2006/relationships/slideLayout" Target="../slideLayouts/slideLayout46.xml"/><Relationship Id="rId30" Type="http://schemas.openxmlformats.org/officeDocument/2006/relationships/slideLayout" Target="../slideLayouts/slideLayout49.xml"/><Relationship Id="rId35" Type="http://schemas.openxmlformats.org/officeDocument/2006/relationships/slideLayout" Target="../slideLayouts/slideLayout54.xml"/><Relationship Id="rId43" Type="http://schemas.openxmlformats.org/officeDocument/2006/relationships/slideLayout" Target="../slideLayouts/slideLayout62.xml"/><Relationship Id="rId48" Type="http://schemas.openxmlformats.org/officeDocument/2006/relationships/slideLayout" Target="../slideLayouts/slideLayout67.xml"/><Relationship Id="rId8" Type="http://schemas.openxmlformats.org/officeDocument/2006/relationships/slideLayout" Target="../slideLayouts/slideLayout27.xml"/><Relationship Id="rId3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31.xml"/><Relationship Id="rId17" Type="http://schemas.openxmlformats.org/officeDocument/2006/relationships/slideLayout" Target="../slideLayouts/slideLayout36.xml"/><Relationship Id="rId25" Type="http://schemas.openxmlformats.org/officeDocument/2006/relationships/slideLayout" Target="../slideLayouts/slideLayout44.xml"/><Relationship Id="rId33" Type="http://schemas.openxmlformats.org/officeDocument/2006/relationships/slideLayout" Target="../slideLayouts/slideLayout52.xml"/><Relationship Id="rId38" Type="http://schemas.openxmlformats.org/officeDocument/2006/relationships/slideLayout" Target="../slideLayouts/slideLayout57.xml"/><Relationship Id="rId46" Type="http://schemas.openxmlformats.org/officeDocument/2006/relationships/slideLayout" Target="../slideLayouts/slideLayout65.xml"/><Relationship Id="rId20" Type="http://schemas.openxmlformats.org/officeDocument/2006/relationships/slideLayout" Target="../slideLayouts/slideLayout39.xml"/><Relationship Id="rId41" Type="http://schemas.openxmlformats.org/officeDocument/2006/relationships/slideLayout" Target="../slideLayouts/slideLayout60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DB6D22-E40E-4B7A-8D67-467B7B1684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114265E-52B6-4E44-9AEA-251C0446FAB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B7BAED8-516F-4EC8-8847-47DC2C995ACB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62E03A4-945B-4475-9187-B85F67D9AFC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704FFB6-2DC9-4189-9F70-945F179CD6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1913C4-23BE-4637-B15B-AFA213ABE320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47696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7" r:id="rId3"/>
    <p:sldLayoutId id="2147483651" r:id="rId4"/>
    <p:sldLayoutId id="2147483652" r:id="rId5"/>
    <p:sldLayoutId id="2147483653" r:id="rId6"/>
    <p:sldLayoutId id="2147483655" r:id="rId7"/>
    <p:sldLayoutId id="214748365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8C83396-CBC5-4EA2-B763-F5D6E01E7EE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DF6E427-569D-4684-A06C-E171EC524A1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7BFE70C-0197-448E-B24F-8B20014F7797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416E5BA-9929-4331-9787-E27CBF5669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43770A5-3A37-42E9-B323-37849E743A5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9DDE23A-095B-4E2A-B4FC-88ADAD01BB22}" type="slidenum">
              <a:rPr lang="en-GB" smtClean="0"/>
              <a:t>‹#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694C619-0969-46FE-8BCA-2E7E2DF1F3F7}"/>
              </a:ext>
            </a:extLst>
          </p:cNvPr>
          <p:cNvPicPr>
            <a:picLocks noChangeAspect="1"/>
          </p:cNvPicPr>
          <p:nvPr userDrawn="1"/>
        </p:nvPicPr>
        <p:blipFill>
          <a:blip r:embed="rId13"/>
          <a:stretch>
            <a:fillRect/>
          </a:stretch>
        </p:blipFill>
        <p:spPr>
          <a:xfrm>
            <a:off x="518028" y="6495051"/>
            <a:ext cx="1022142" cy="294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335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: Shape 13">
            <a:extLst>
              <a:ext uri="{FF2B5EF4-FFF2-40B4-BE49-F238E27FC236}">
                <a16:creationId xmlns:a16="http://schemas.microsoft.com/office/drawing/2014/main" id="{D46AB230-7B29-4C04-84F3-A45AD03F2C89}"/>
              </a:ext>
            </a:extLst>
          </p:cNvPr>
          <p:cNvSpPr/>
          <p:nvPr userDrawn="1"/>
        </p:nvSpPr>
        <p:spPr>
          <a:xfrm>
            <a:off x="0" y="3624459"/>
            <a:ext cx="4489449" cy="3233541"/>
          </a:xfrm>
          <a:custGeom>
            <a:avLst/>
            <a:gdLst>
              <a:gd name="connsiteX0" fmla="*/ 4427661 w 4489449"/>
              <a:gd name="connsiteY0" fmla="*/ 2842515 h 3233541"/>
              <a:gd name="connsiteX1" fmla="*/ 4437959 w 4489449"/>
              <a:gd name="connsiteY1" fmla="*/ 2852813 h 3233541"/>
              <a:gd name="connsiteX2" fmla="*/ 4396767 w 4489449"/>
              <a:gd name="connsiteY2" fmla="*/ 2935204 h 3233541"/>
              <a:gd name="connsiteX3" fmla="*/ 4396767 w 4489449"/>
              <a:gd name="connsiteY3" fmla="*/ 2976402 h 3233541"/>
              <a:gd name="connsiteX4" fmla="*/ 4437959 w 4489449"/>
              <a:gd name="connsiteY4" fmla="*/ 2976402 h 3233541"/>
              <a:gd name="connsiteX5" fmla="*/ 4489449 w 4489449"/>
              <a:gd name="connsiteY5" fmla="*/ 2986700 h 3233541"/>
              <a:gd name="connsiteX6" fmla="*/ 4479151 w 4489449"/>
              <a:gd name="connsiteY6" fmla="*/ 2986700 h 3233541"/>
              <a:gd name="connsiteX7" fmla="*/ 4468853 w 4489449"/>
              <a:gd name="connsiteY7" fmla="*/ 3007297 h 3233541"/>
              <a:gd name="connsiteX8" fmla="*/ 4417363 w 4489449"/>
              <a:gd name="connsiteY8" fmla="*/ 3027895 h 3233541"/>
              <a:gd name="connsiteX9" fmla="*/ 4376171 w 4489449"/>
              <a:gd name="connsiteY9" fmla="*/ 3038195 h 3233541"/>
              <a:gd name="connsiteX10" fmla="*/ 4334979 w 4489449"/>
              <a:gd name="connsiteY10" fmla="*/ 3017597 h 3233541"/>
              <a:gd name="connsiteX11" fmla="*/ 4293787 w 4489449"/>
              <a:gd name="connsiteY11" fmla="*/ 3027895 h 3233541"/>
              <a:gd name="connsiteX12" fmla="*/ 4262893 w 4489449"/>
              <a:gd name="connsiteY12" fmla="*/ 3027895 h 3233541"/>
              <a:gd name="connsiteX13" fmla="*/ 4247446 w 4489449"/>
              <a:gd name="connsiteY13" fmla="*/ 3034333 h 3233541"/>
              <a:gd name="connsiteX14" fmla="*/ 4238178 w 4489449"/>
              <a:gd name="connsiteY14" fmla="*/ 3042830 h 3233541"/>
              <a:gd name="connsiteX15" fmla="*/ 4231999 w 4489449"/>
              <a:gd name="connsiteY15" fmla="*/ 3038195 h 3233541"/>
              <a:gd name="connsiteX16" fmla="*/ 4226685 w 4489449"/>
              <a:gd name="connsiteY16" fmla="*/ 3043511 h 3233541"/>
              <a:gd name="connsiteX17" fmla="*/ 4211403 w 4489449"/>
              <a:gd name="connsiteY17" fmla="*/ 3029182 h 3233541"/>
              <a:gd name="connsiteX18" fmla="*/ 4190807 w 4489449"/>
              <a:gd name="connsiteY18" fmla="*/ 3017597 h 3233541"/>
              <a:gd name="connsiteX19" fmla="*/ 4180509 w 4489449"/>
              <a:gd name="connsiteY19" fmla="*/ 3027895 h 3233541"/>
              <a:gd name="connsiteX20" fmla="*/ 4180509 w 4489449"/>
              <a:gd name="connsiteY20" fmla="*/ 3027896 h 3233541"/>
              <a:gd name="connsiteX21" fmla="*/ 4190807 w 4489449"/>
              <a:gd name="connsiteY21" fmla="*/ 3017599 h 3233541"/>
              <a:gd name="connsiteX22" fmla="*/ 4211403 w 4489449"/>
              <a:gd name="connsiteY22" fmla="*/ 3029182 h 3233541"/>
              <a:gd name="connsiteX23" fmla="*/ 4226684 w 4489449"/>
              <a:gd name="connsiteY23" fmla="*/ 3043511 h 3233541"/>
              <a:gd name="connsiteX24" fmla="*/ 4226685 w 4489449"/>
              <a:gd name="connsiteY24" fmla="*/ 3043511 h 3233541"/>
              <a:gd name="connsiteX25" fmla="*/ 4231999 w 4489449"/>
              <a:gd name="connsiteY25" fmla="*/ 3038196 h 3233541"/>
              <a:gd name="connsiteX26" fmla="*/ 4238177 w 4489449"/>
              <a:gd name="connsiteY26" fmla="*/ 3042831 h 3233541"/>
              <a:gd name="connsiteX27" fmla="*/ 4238178 w 4489449"/>
              <a:gd name="connsiteY27" fmla="*/ 3042830 h 3233541"/>
              <a:gd name="connsiteX28" fmla="*/ 4273191 w 4489449"/>
              <a:gd name="connsiteY28" fmla="*/ 3069092 h 3233541"/>
              <a:gd name="connsiteX29" fmla="*/ 4396767 w 4489449"/>
              <a:gd name="connsiteY29" fmla="*/ 3079390 h 3233541"/>
              <a:gd name="connsiteX30" fmla="*/ 4386469 w 4489449"/>
              <a:gd name="connsiteY30" fmla="*/ 3151483 h 3233541"/>
              <a:gd name="connsiteX31" fmla="*/ 4376171 w 4489449"/>
              <a:gd name="connsiteY31" fmla="*/ 3172081 h 3233541"/>
              <a:gd name="connsiteX32" fmla="*/ 4345277 w 4489449"/>
              <a:gd name="connsiteY32" fmla="*/ 3161781 h 3233541"/>
              <a:gd name="connsiteX33" fmla="*/ 4334979 w 4489449"/>
              <a:gd name="connsiteY33" fmla="*/ 3130886 h 3233541"/>
              <a:gd name="connsiteX34" fmla="*/ 4324681 w 4489449"/>
              <a:gd name="connsiteY34" fmla="*/ 3141184 h 3233541"/>
              <a:gd name="connsiteX35" fmla="*/ 4324681 w 4489449"/>
              <a:gd name="connsiteY35" fmla="*/ 3151483 h 3233541"/>
              <a:gd name="connsiteX36" fmla="*/ 4304085 w 4489449"/>
              <a:gd name="connsiteY36" fmla="*/ 3223576 h 3233541"/>
              <a:gd name="connsiteX37" fmla="*/ 4305331 w 4489449"/>
              <a:gd name="connsiteY37" fmla="*/ 3233541 h 3233541"/>
              <a:gd name="connsiteX38" fmla="*/ 3799455 w 4489449"/>
              <a:gd name="connsiteY38" fmla="*/ 3233541 h 3233541"/>
              <a:gd name="connsiteX39" fmla="*/ 3798196 w 4489449"/>
              <a:gd name="connsiteY39" fmla="*/ 3218427 h 3233541"/>
              <a:gd name="connsiteX40" fmla="*/ 3789185 w 4489449"/>
              <a:gd name="connsiteY40" fmla="*/ 3202979 h 3233541"/>
              <a:gd name="connsiteX41" fmla="*/ 3820079 w 4489449"/>
              <a:gd name="connsiteY41" fmla="*/ 3182381 h 3233541"/>
              <a:gd name="connsiteX42" fmla="*/ 3789185 w 4489449"/>
              <a:gd name="connsiteY42" fmla="*/ 3151483 h 3233541"/>
              <a:gd name="connsiteX43" fmla="*/ 3840675 w 4489449"/>
              <a:gd name="connsiteY43" fmla="*/ 3130886 h 3233541"/>
              <a:gd name="connsiteX44" fmla="*/ 3902463 w 4489449"/>
              <a:gd name="connsiteY44" fmla="*/ 3172081 h 3233541"/>
              <a:gd name="connsiteX45" fmla="*/ 3923059 w 4489449"/>
              <a:gd name="connsiteY45" fmla="*/ 3079390 h 3233541"/>
              <a:gd name="connsiteX46" fmla="*/ 3943655 w 4489449"/>
              <a:gd name="connsiteY46" fmla="*/ 3069092 h 3233541"/>
              <a:gd name="connsiteX47" fmla="*/ 3953953 w 4489449"/>
              <a:gd name="connsiteY47" fmla="*/ 3089690 h 3233541"/>
              <a:gd name="connsiteX48" fmla="*/ 3964251 w 4489449"/>
              <a:gd name="connsiteY48" fmla="*/ 3120586 h 3233541"/>
              <a:gd name="connsiteX49" fmla="*/ 3984847 w 4489449"/>
              <a:gd name="connsiteY49" fmla="*/ 3110288 h 3233541"/>
              <a:gd name="connsiteX50" fmla="*/ 3995145 w 4489449"/>
              <a:gd name="connsiteY50" fmla="*/ 3038195 h 3233541"/>
              <a:gd name="connsiteX51" fmla="*/ 3984847 w 4489449"/>
              <a:gd name="connsiteY51" fmla="*/ 3007297 h 3233541"/>
              <a:gd name="connsiteX52" fmla="*/ 3984847 w 4489449"/>
              <a:gd name="connsiteY52" fmla="*/ 2986700 h 3233541"/>
              <a:gd name="connsiteX53" fmla="*/ 4005443 w 4489449"/>
              <a:gd name="connsiteY53" fmla="*/ 2986700 h 3233541"/>
              <a:gd name="connsiteX54" fmla="*/ 4026039 w 4489449"/>
              <a:gd name="connsiteY54" fmla="*/ 3017597 h 3233541"/>
              <a:gd name="connsiteX55" fmla="*/ 4026039 w 4489449"/>
              <a:gd name="connsiteY55" fmla="*/ 3048493 h 3233541"/>
              <a:gd name="connsiteX56" fmla="*/ 4108423 w 4489449"/>
              <a:gd name="connsiteY56" fmla="*/ 3069092 h 3233541"/>
              <a:gd name="connsiteX57" fmla="*/ 4108423 w 4489449"/>
              <a:gd name="connsiteY57" fmla="*/ 3017597 h 3233541"/>
              <a:gd name="connsiteX58" fmla="*/ 4077529 w 4489449"/>
              <a:gd name="connsiteY58" fmla="*/ 3027895 h 3233541"/>
              <a:gd name="connsiteX59" fmla="*/ 4056933 w 4489449"/>
              <a:gd name="connsiteY59" fmla="*/ 3007297 h 3233541"/>
              <a:gd name="connsiteX60" fmla="*/ 4087827 w 4489449"/>
              <a:gd name="connsiteY60" fmla="*/ 2935204 h 3233541"/>
              <a:gd name="connsiteX61" fmla="*/ 4129019 w 4489449"/>
              <a:gd name="connsiteY61" fmla="*/ 2945504 h 3233541"/>
              <a:gd name="connsiteX62" fmla="*/ 4159913 w 4489449"/>
              <a:gd name="connsiteY62" fmla="*/ 2955802 h 3233541"/>
              <a:gd name="connsiteX63" fmla="*/ 4190807 w 4489449"/>
              <a:gd name="connsiteY63" fmla="*/ 2945504 h 3233541"/>
              <a:gd name="connsiteX64" fmla="*/ 4190807 w 4489449"/>
              <a:gd name="connsiteY64" fmla="*/ 2945505 h 3233541"/>
              <a:gd name="connsiteX65" fmla="*/ 4201105 w 4489449"/>
              <a:gd name="connsiteY65" fmla="*/ 2955803 h 3233541"/>
              <a:gd name="connsiteX66" fmla="*/ 4204967 w 4489449"/>
              <a:gd name="connsiteY66" fmla="*/ 2964815 h 3233541"/>
              <a:gd name="connsiteX67" fmla="*/ 4201105 w 4489449"/>
              <a:gd name="connsiteY67" fmla="*/ 2955802 h 3233541"/>
              <a:gd name="connsiteX68" fmla="*/ 4190807 w 4489449"/>
              <a:gd name="connsiteY68" fmla="*/ 2945504 h 3233541"/>
              <a:gd name="connsiteX69" fmla="*/ 4262893 w 4489449"/>
              <a:gd name="connsiteY69" fmla="*/ 2935204 h 3233541"/>
              <a:gd name="connsiteX70" fmla="*/ 4273191 w 4489449"/>
              <a:gd name="connsiteY70" fmla="*/ 2966102 h 3233541"/>
              <a:gd name="connsiteX71" fmla="*/ 4265537 w 4489449"/>
              <a:gd name="connsiteY71" fmla="*/ 2967197 h 3233541"/>
              <a:gd name="connsiteX72" fmla="*/ 4264180 w 4489449"/>
              <a:gd name="connsiteY72" fmla="*/ 2967390 h 3233541"/>
              <a:gd name="connsiteX73" fmla="*/ 4264181 w 4489449"/>
              <a:gd name="connsiteY73" fmla="*/ 2967390 h 3233541"/>
              <a:gd name="connsiteX74" fmla="*/ 4265537 w 4489449"/>
              <a:gd name="connsiteY74" fmla="*/ 2967197 h 3233541"/>
              <a:gd name="connsiteX75" fmla="*/ 4273190 w 4489449"/>
              <a:gd name="connsiteY75" fmla="*/ 2966103 h 3233541"/>
              <a:gd name="connsiteX76" fmla="*/ 4273191 w 4489449"/>
              <a:gd name="connsiteY76" fmla="*/ 2966102 h 3233541"/>
              <a:gd name="connsiteX77" fmla="*/ 4304085 w 4489449"/>
              <a:gd name="connsiteY77" fmla="*/ 2935204 h 3233541"/>
              <a:gd name="connsiteX78" fmla="*/ 4345277 w 4489449"/>
              <a:gd name="connsiteY78" fmla="*/ 2914607 h 3233541"/>
              <a:gd name="connsiteX79" fmla="*/ 4355575 w 4489449"/>
              <a:gd name="connsiteY79" fmla="*/ 2863111 h 3233541"/>
              <a:gd name="connsiteX80" fmla="*/ 4396767 w 4489449"/>
              <a:gd name="connsiteY80" fmla="*/ 2863111 h 3233541"/>
              <a:gd name="connsiteX81" fmla="*/ 4427661 w 4489449"/>
              <a:gd name="connsiteY81" fmla="*/ 2842515 h 3233541"/>
              <a:gd name="connsiteX82" fmla="*/ 2532830 w 4489449"/>
              <a:gd name="connsiteY82" fmla="*/ 0 h 3233541"/>
              <a:gd name="connsiteX83" fmla="*/ 2543128 w 4489449"/>
              <a:gd name="connsiteY83" fmla="*/ 0 h 3233541"/>
              <a:gd name="connsiteX84" fmla="*/ 2584320 w 4489449"/>
              <a:gd name="connsiteY84" fmla="*/ 41196 h 3233541"/>
              <a:gd name="connsiteX85" fmla="*/ 2615214 w 4489449"/>
              <a:gd name="connsiteY85" fmla="*/ 30898 h 3233541"/>
              <a:gd name="connsiteX86" fmla="*/ 2656406 w 4489449"/>
              <a:gd name="connsiteY86" fmla="*/ 61793 h 3233541"/>
              <a:gd name="connsiteX87" fmla="*/ 2656406 w 4489449"/>
              <a:gd name="connsiteY87" fmla="*/ 102990 h 3233541"/>
              <a:gd name="connsiteX88" fmla="*/ 2666704 w 4489449"/>
              <a:gd name="connsiteY88" fmla="*/ 113289 h 3233541"/>
              <a:gd name="connsiteX89" fmla="*/ 2677002 w 4489449"/>
              <a:gd name="connsiteY89" fmla="*/ 92691 h 3233541"/>
              <a:gd name="connsiteX90" fmla="*/ 2697598 w 4489449"/>
              <a:gd name="connsiteY90" fmla="*/ 61793 h 3233541"/>
              <a:gd name="connsiteX91" fmla="*/ 2707896 w 4489449"/>
              <a:gd name="connsiteY91" fmla="*/ 20598 h 3233541"/>
              <a:gd name="connsiteX92" fmla="*/ 2749088 w 4489449"/>
              <a:gd name="connsiteY92" fmla="*/ 30898 h 3233541"/>
              <a:gd name="connsiteX93" fmla="*/ 2779982 w 4489449"/>
              <a:gd name="connsiteY93" fmla="*/ 30898 h 3233541"/>
              <a:gd name="connsiteX94" fmla="*/ 2821174 w 4489449"/>
              <a:gd name="connsiteY94" fmla="*/ 51495 h 3233541"/>
              <a:gd name="connsiteX95" fmla="*/ 2831472 w 4489449"/>
              <a:gd name="connsiteY95" fmla="*/ 92691 h 3233541"/>
              <a:gd name="connsiteX96" fmla="*/ 2872664 w 4489449"/>
              <a:gd name="connsiteY96" fmla="*/ 113289 h 3233541"/>
              <a:gd name="connsiteX97" fmla="*/ 2852068 w 4489449"/>
              <a:gd name="connsiteY97" fmla="*/ 154484 h 3233541"/>
              <a:gd name="connsiteX98" fmla="*/ 2810876 w 4489449"/>
              <a:gd name="connsiteY98" fmla="*/ 154484 h 3233541"/>
              <a:gd name="connsiteX99" fmla="*/ 2810876 w 4489449"/>
              <a:gd name="connsiteY99" fmla="*/ 164784 h 3233541"/>
              <a:gd name="connsiteX100" fmla="*/ 2821174 w 4489449"/>
              <a:gd name="connsiteY100" fmla="*/ 216279 h 3233541"/>
              <a:gd name="connsiteX101" fmla="*/ 2749088 w 4489449"/>
              <a:gd name="connsiteY101" fmla="*/ 308970 h 3233541"/>
              <a:gd name="connsiteX102" fmla="*/ 2718194 w 4489449"/>
              <a:gd name="connsiteY102" fmla="*/ 401660 h 3233541"/>
              <a:gd name="connsiteX103" fmla="*/ 2697598 w 4489449"/>
              <a:gd name="connsiteY103" fmla="*/ 422258 h 3233541"/>
              <a:gd name="connsiteX104" fmla="*/ 2666704 w 4489449"/>
              <a:gd name="connsiteY104" fmla="*/ 432556 h 3233541"/>
              <a:gd name="connsiteX105" fmla="*/ 2635810 w 4489449"/>
              <a:gd name="connsiteY105" fmla="*/ 484051 h 3233541"/>
              <a:gd name="connsiteX106" fmla="*/ 2594618 w 4489449"/>
              <a:gd name="connsiteY106" fmla="*/ 504649 h 3233541"/>
              <a:gd name="connsiteX107" fmla="*/ 2574022 w 4489449"/>
              <a:gd name="connsiteY107" fmla="*/ 545845 h 3233541"/>
              <a:gd name="connsiteX108" fmla="*/ 2543128 w 4489449"/>
              <a:gd name="connsiteY108" fmla="*/ 576742 h 3233541"/>
              <a:gd name="connsiteX109" fmla="*/ 2532830 w 4489449"/>
              <a:gd name="connsiteY109" fmla="*/ 587042 h 3233541"/>
              <a:gd name="connsiteX110" fmla="*/ 2471042 w 4489449"/>
              <a:gd name="connsiteY110" fmla="*/ 659133 h 3233541"/>
              <a:gd name="connsiteX111" fmla="*/ 2501936 w 4489449"/>
              <a:gd name="connsiteY111" fmla="*/ 690031 h 3233541"/>
              <a:gd name="connsiteX112" fmla="*/ 2471042 w 4489449"/>
              <a:gd name="connsiteY112" fmla="*/ 720928 h 3233541"/>
              <a:gd name="connsiteX113" fmla="*/ 2450446 w 4489449"/>
              <a:gd name="connsiteY113" fmla="*/ 834217 h 3233541"/>
              <a:gd name="connsiteX114" fmla="*/ 2398956 w 4489449"/>
              <a:gd name="connsiteY114" fmla="*/ 865112 h 3233541"/>
              <a:gd name="connsiteX115" fmla="*/ 2409254 w 4489449"/>
              <a:gd name="connsiteY115" fmla="*/ 906310 h 3233541"/>
              <a:gd name="connsiteX116" fmla="*/ 2368062 w 4489449"/>
              <a:gd name="connsiteY116" fmla="*/ 968103 h 3233541"/>
              <a:gd name="connsiteX117" fmla="*/ 2347466 w 4489449"/>
              <a:gd name="connsiteY117" fmla="*/ 988701 h 3233541"/>
              <a:gd name="connsiteX118" fmla="*/ 2285678 w 4489449"/>
              <a:gd name="connsiteY118" fmla="*/ 1019598 h 3233541"/>
              <a:gd name="connsiteX119" fmla="*/ 2223890 w 4489449"/>
              <a:gd name="connsiteY119" fmla="*/ 1112289 h 3233541"/>
              <a:gd name="connsiteX120" fmla="*/ 2182698 w 4489449"/>
              <a:gd name="connsiteY120" fmla="*/ 1132887 h 3233541"/>
              <a:gd name="connsiteX121" fmla="*/ 2162102 w 4489449"/>
              <a:gd name="connsiteY121" fmla="*/ 1204980 h 3233541"/>
              <a:gd name="connsiteX122" fmla="*/ 2192996 w 4489449"/>
              <a:gd name="connsiteY122" fmla="*/ 1225577 h 3233541"/>
              <a:gd name="connsiteX123" fmla="*/ 2203294 w 4489449"/>
              <a:gd name="connsiteY123" fmla="*/ 1215278 h 3233541"/>
              <a:gd name="connsiteX124" fmla="*/ 2203294 w 4489449"/>
              <a:gd name="connsiteY124" fmla="*/ 1174082 h 3233541"/>
              <a:gd name="connsiteX125" fmla="*/ 2265082 w 4489449"/>
              <a:gd name="connsiteY125" fmla="*/ 1153484 h 3233541"/>
              <a:gd name="connsiteX126" fmla="*/ 2275380 w 4489449"/>
              <a:gd name="connsiteY126" fmla="*/ 1112289 h 3233541"/>
              <a:gd name="connsiteX127" fmla="*/ 2306274 w 4489449"/>
              <a:gd name="connsiteY127" fmla="*/ 1091691 h 3233541"/>
              <a:gd name="connsiteX128" fmla="*/ 2306274 w 4489449"/>
              <a:gd name="connsiteY128" fmla="*/ 1174082 h 3233541"/>
              <a:gd name="connsiteX129" fmla="*/ 2265082 w 4489449"/>
              <a:gd name="connsiteY129" fmla="*/ 1194681 h 3233541"/>
              <a:gd name="connsiteX130" fmla="*/ 2254784 w 4489449"/>
              <a:gd name="connsiteY130" fmla="*/ 1204980 h 3233541"/>
              <a:gd name="connsiteX131" fmla="*/ 2244486 w 4489449"/>
              <a:gd name="connsiteY131" fmla="*/ 1256473 h 3233541"/>
              <a:gd name="connsiteX132" fmla="*/ 2213592 w 4489449"/>
              <a:gd name="connsiteY132" fmla="*/ 1277073 h 3233541"/>
              <a:gd name="connsiteX133" fmla="*/ 2182698 w 4489449"/>
              <a:gd name="connsiteY133" fmla="*/ 1266773 h 3233541"/>
              <a:gd name="connsiteX134" fmla="*/ 2162102 w 4489449"/>
              <a:gd name="connsiteY134" fmla="*/ 1277073 h 3233541"/>
              <a:gd name="connsiteX135" fmla="*/ 2141506 w 4489449"/>
              <a:gd name="connsiteY135" fmla="*/ 1277073 h 3233541"/>
              <a:gd name="connsiteX136" fmla="*/ 2110612 w 4489449"/>
              <a:gd name="connsiteY136" fmla="*/ 1266773 h 3233541"/>
              <a:gd name="connsiteX137" fmla="*/ 2100314 w 4489449"/>
              <a:gd name="connsiteY137" fmla="*/ 1328566 h 3233541"/>
              <a:gd name="connsiteX138" fmla="*/ 2038526 w 4489449"/>
              <a:gd name="connsiteY138" fmla="*/ 1349165 h 3233541"/>
              <a:gd name="connsiteX139" fmla="*/ 2069420 w 4489449"/>
              <a:gd name="connsiteY139" fmla="*/ 1421258 h 3233541"/>
              <a:gd name="connsiteX140" fmla="*/ 2028228 w 4489449"/>
              <a:gd name="connsiteY140" fmla="*/ 1410959 h 3233541"/>
              <a:gd name="connsiteX141" fmla="*/ 1976738 w 4489449"/>
              <a:gd name="connsiteY141" fmla="*/ 1400659 h 3233541"/>
              <a:gd name="connsiteX142" fmla="*/ 1956142 w 4489449"/>
              <a:gd name="connsiteY142" fmla="*/ 1441855 h 3233541"/>
              <a:gd name="connsiteX143" fmla="*/ 1956142 w 4489449"/>
              <a:gd name="connsiteY143" fmla="*/ 1431557 h 3233541"/>
              <a:gd name="connsiteX144" fmla="*/ 1925248 w 4489449"/>
              <a:gd name="connsiteY144" fmla="*/ 1462452 h 3233541"/>
              <a:gd name="connsiteX145" fmla="*/ 1925248 w 4489449"/>
              <a:gd name="connsiteY145" fmla="*/ 1524247 h 3233541"/>
              <a:gd name="connsiteX146" fmla="*/ 1935546 w 4489449"/>
              <a:gd name="connsiteY146" fmla="*/ 1596340 h 3233541"/>
              <a:gd name="connsiteX147" fmla="*/ 1904652 w 4489449"/>
              <a:gd name="connsiteY147" fmla="*/ 1586041 h 3233541"/>
              <a:gd name="connsiteX148" fmla="*/ 1894354 w 4489449"/>
              <a:gd name="connsiteY148" fmla="*/ 1616938 h 3233541"/>
              <a:gd name="connsiteX149" fmla="*/ 1863460 w 4489449"/>
              <a:gd name="connsiteY149" fmla="*/ 1627236 h 3233541"/>
              <a:gd name="connsiteX150" fmla="*/ 1791374 w 4489449"/>
              <a:gd name="connsiteY150" fmla="*/ 1678731 h 3233541"/>
              <a:gd name="connsiteX151" fmla="*/ 1791374 w 4489449"/>
              <a:gd name="connsiteY151" fmla="*/ 1699329 h 3233541"/>
              <a:gd name="connsiteX152" fmla="*/ 1853162 w 4489449"/>
              <a:gd name="connsiteY152" fmla="*/ 1678731 h 3233541"/>
              <a:gd name="connsiteX153" fmla="*/ 1956142 w 4489449"/>
              <a:gd name="connsiteY153" fmla="*/ 1637536 h 3233541"/>
              <a:gd name="connsiteX154" fmla="*/ 2038526 w 4489449"/>
              <a:gd name="connsiteY154" fmla="*/ 1658134 h 3233541"/>
              <a:gd name="connsiteX155" fmla="*/ 2059122 w 4489449"/>
              <a:gd name="connsiteY155" fmla="*/ 1699329 h 3233541"/>
              <a:gd name="connsiteX156" fmla="*/ 2100314 w 4489449"/>
              <a:gd name="connsiteY156" fmla="*/ 1730227 h 3233541"/>
              <a:gd name="connsiteX157" fmla="*/ 2100314 w 4489449"/>
              <a:gd name="connsiteY157" fmla="*/ 1740525 h 3233541"/>
              <a:gd name="connsiteX158" fmla="*/ 2038526 w 4489449"/>
              <a:gd name="connsiteY158" fmla="*/ 1833215 h 3233541"/>
              <a:gd name="connsiteX159" fmla="*/ 2028228 w 4489449"/>
              <a:gd name="connsiteY159" fmla="*/ 1853813 h 3233541"/>
              <a:gd name="connsiteX160" fmla="*/ 1945844 w 4489449"/>
              <a:gd name="connsiteY160" fmla="*/ 1833215 h 3233541"/>
              <a:gd name="connsiteX161" fmla="*/ 1914950 w 4489449"/>
              <a:gd name="connsiteY161" fmla="*/ 1915608 h 3233541"/>
              <a:gd name="connsiteX162" fmla="*/ 1914950 w 4489449"/>
              <a:gd name="connsiteY162" fmla="*/ 2028897 h 3233541"/>
              <a:gd name="connsiteX163" fmla="*/ 1914950 w 4489449"/>
              <a:gd name="connsiteY163" fmla="*/ 2121587 h 3233541"/>
              <a:gd name="connsiteX164" fmla="*/ 1945844 w 4489449"/>
              <a:gd name="connsiteY164" fmla="*/ 2121587 h 3233541"/>
              <a:gd name="connsiteX165" fmla="*/ 1966440 w 4489449"/>
              <a:gd name="connsiteY165" fmla="*/ 2111288 h 3233541"/>
              <a:gd name="connsiteX166" fmla="*/ 2007632 w 4489449"/>
              <a:gd name="connsiteY166" fmla="*/ 2131885 h 3233541"/>
              <a:gd name="connsiteX167" fmla="*/ 2017930 w 4489449"/>
              <a:gd name="connsiteY167" fmla="*/ 2111288 h 3233541"/>
              <a:gd name="connsiteX168" fmla="*/ 2007632 w 4489449"/>
              <a:gd name="connsiteY168" fmla="*/ 2070092 h 3233541"/>
              <a:gd name="connsiteX169" fmla="*/ 2028228 w 4489449"/>
              <a:gd name="connsiteY169" fmla="*/ 2049494 h 3233541"/>
              <a:gd name="connsiteX170" fmla="*/ 2069420 w 4489449"/>
              <a:gd name="connsiteY170" fmla="*/ 2080392 h 3233541"/>
              <a:gd name="connsiteX171" fmla="*/ 2141506 w 4489449"/>
              <a:gd name="connsiteY171" fmla="*/ 2039195 h 3233541"/>
              <a:gd name="connsiteX172" fmla="*/ 2141506 w 4489449"/>
              <a:gd name="connsiteY172" fmla="*/ 2008299 h 3233541"/>
              <a:gd name="connsiteX173" fmla="*/ 2172400 w 4489449"/>
              <a:gd name="connsiteY173" fmla="*/ 2008299 h 3233541"/>
              <a:gd name="connsiteX174" fmla="*/ 2182698 w 4489449"/>
              <a:gd name="connsiteY174" fmla="*/ 2059792 h 3233541"/>
              <a:gd name="connsiteX175" fmla="*/ 2192996 w 4489449"/>
              <a:gd name="connsiteY175" fmla="*/ 2070092 h 3233541"/>
              <a:gd name="connsiteX176" fmla="*/ 2275380 w 4489449"/>
              <a:gd name="connsiteY176" fmla="*/ 2059792 h 3233541"/>
              <a:gd name="connsiteX177" fmla="*/ 2337168 w 4489449"/>
              <a:gd name="connsiteY177" fmla="*/ 2070092 h 3233541"/>
              <a:gd name="connsiteX178" fmla="*/ 2357764 w 4489449"/>
              <a:gd name="connsiteY178" fmla="*/ 2049494 h 3233541"/>
              <a:gd name="connsiteX179" fmla="*/ 2347466 w 4489449"/>
              <a:gd name="connsiteY179" fmla="*/ 2018598 h 3233541"/>
              <a:gd name="connsiteX180" fmla="*/ 2275380 w 4489449"/>
              <a:gd name="connsiteY180" fmla="*/ 1967103 h 3233541"/>
              <a:gd name="connsiteX181" fmla="*/ 2192996 w 4489449"/>
              <a:gd name="connsiteY181" fmla="*/ 1956804 h 3233541"/>
              <a:gd name="connsiteX182" fmla="*/ 2213592 w 4489449"/>
              <a:gd name="connsiteY182" fmla="*/ 1936207 h 3233541"/>
              <a:gd name="connsiteX183" fmla="*/ 2295976 w 4489449"/>
              <a:gd name="connsiteY183" fmla="*/ 1925906 h 3233541"/>
              <a:gd name="connsiteX184" fmla="*/ 2337168 w 4489449"/>
              <a:gd name="connsiteY184" fmla="*/ 1936207 h 3233541"/>
              <a:gd name="connsiteX185" fmla="*/ 2357764 w 4489449"/>
              <a:gd name="connsiteY185" fmla="*/ 1853813 h 3233541"/>
              <a:gd name="connsiteX186" fmla="*/ 2378360 w 4489449"/>
              <a:gd name="connsiteY186" fmla="*/ 1853813 h 3233541"/>
              <a:gd name="connsiteX187" fmla="*/ 2419552 w 4489449"/>
              <a:gd name="connsiteY187" fmla="*/ 1864114 h 3233541"/>
              <a:gd name="connsiteX188" fmla="*/ 2460744 w 4489449"/>
              <a:gd name="connsiteY188" fmla="*/ 1864114 h 3233541"/>
              <a:gd name="connsiteX189" fmla="*/ 2491638 w 4489449"/>
              <a:gd name="connsiteY189" fmla="*/ 1915608 h 3233541"/>
              <a:gd name="connsiteX190" fmla="*/ 2512234 w 4489449"/>
              <a:gd name="connsiteY190" fmla="*/ 1915608 h 3233541"/>
              <a:gd name="connsiteX191" fmla="*/ 2553426 w 4489449"/>
              <a:gd name="connsiteY191" fmla="*/ 1915608 h 3233541"/>
              <a:gd name="connsiteX192" fmla="*/ 2697598 w 4489449"/>
              <a:gd name="connsiteY192" fmla="*/ 1915608 h 3233541"/>
              <a:gd name="connsiteX193" fmla="*/ 2707896 w 4489449"/>
              <a:gd name="connsiteY193" fmla="*/ 1895010 h 3233541"/>
              <a:gd name="connsiteX194" fmla="*/ 2604916 w 4489449"/>
              <a:gd name="connsiteY194" fmla="*/ 1884711 h 3233541"/>
              <a:gd name="connsiteX195" fmla="*/ 2543128 w 4489449"/>
              <a:gd name="connsiteY195" fmla="*/ 1833215 h 3233541"/>
              <a:gd name="connsiteX196" fmla="*/ 2501936 w 4489449"/>
              <a:gd name="connsiteY196" fmla="*/ 1812618 h 3233541"/>
              <a:gd name="connsiteX197" fmla="*/ 2522532 w 4489449"/>
              <a:gd name="connsiteY197" fmla="*/ 1792021 h 3233541"/>
              <a:gd name="connsiteX198" fmla="*/ 2594618 w 4489449"/>
              <a:gd name="connsiteY198" fmla="*/ 1781722 h 3233541"/>
              <a:gd name="connsiteX199" fmla="*/ 2656406 w 4489449"/>
              <a:gd name="connsiteY199" fmla="*/ 1802320 h 3233541"/>
              <a:gd name="connsiteX200" fmla="*/ 2718194 w 4489449"/>
              <a:gd name="connsiteY200" fmla="*/ 1771422 h 3233541"/>
              <a:gd name="connsiteX201" fmla="*/ 2862366 w 4489449"/>
              <a:gd name="connsiteY201" fmla="*/ 1792021 h 3233541"/>
              <a:gd name="connsiteX202" fmla="*/ 2913856 w 4489449"/>
              <a:gd name="connsiteY202" fmla="*/ 1781722 h 3233541"/>
              <a:gd name="connsiteX203" fmla="*/ 2975644 w 4489449"/>
              <a:gd name="connsiteY203" fmla="*/ 1761122 h 3233541"/>
              <a:gd name="connsiteX204" fmla="*/ 2903558 w 4489449"/>
              <a:gd name="connsiteY204" fmla="*/ 1750824 h 3233541"/>
              <a:gd name="connsiteX205" fmla="*/ 2821174 w 4489449"/>
              <a:gd name="connsiteY205" fmla="*/ 1750824 h 3233541"/>
              <a:gd name="connsiteX206" fmla="*/ 2852068 w 4489449"/>
              <a:gd name="connsiteY206" fmla="*/ 1719928 h 3233541"/>
              <a:gd name="connsiteX207" fmla="*/ 2955048 w 4489449"/>
              <a:gd name="connsiteY207" fmla="*/ 1699329 h 3233541"/>
              <a:gd name="connsiteX208" fmla="*/ 2975644 w 4489449"/>
              <a:gd name="connsiteY208" fmla="*/ 1668432 h 3233541"/>
              <a:gd name="connsiteX209" fmla="*/ 2985942 w 4489449"/>
              <a:gd name="connsiteY209" fmla="*/ 1647835 h 3233541"/>
              <a:gd name="connsiteX210" fmla="*/ 3047730 w 4489449"/>
              <a:gd name="connsiteY210" fmla="*/ 1647835 h 3233541"/>
              <a:gd name="connsiteX211" fmla="*/ 3058028 w 4489449"/>
              <a:gd name="connsiteY211" fmla="*/ 1627236 h 3233541"/>
              <a:gd name="connsiteX212" fmla="*/ 3047730 w 4489449"/>
              <a:gd name="connsiteY212" fmla="*/ 1596340 h 3233541"/>
              <a:gd name="connsiteX213" fmla="*/ 3068325 w 4489449"/>
              <a:gd name="connsiteY213" fmla="*/ 1586041 h 3233541"/>
              <a:gd name="connsiteX214" fmla="*/ 3130113 w 4489449"/>
              <a:gd name="connsiteY214" fmla="*/ 1575741 h 3233541"/>
              <a:gd name="connsiteX215" fmla="*/ 3119815 w 4489449"/>
              <a:gd name="connsiteY215" fmla="*/ 1534545 h 3233541"/>
              <a:gd name="connsiteX216" fmla="*/ 3202199 w 4489449"/>
              <a:gd name="connsiteY216" fmla="*/ 1503650 h 3233541"/>
              <a:gd name="connsiteX217" fmla="*/ 3263987 w 4489449"/>
              <a:gd name="connsiteY217" fmla="*/ 1493351 h 3233541"/>
              <a:gd name="connsiteX218" fmla="*/ 3202199 w 4489449"/>
              <a:gd name="connsiteY218" fmla="*/ 1462452 h 3233541"/>
              <a:gd name="connsiteX219" fmla="*/ 3212497 w 4489449"/>
              <a:gd name="connsiteY219" fmla="*/ 1441855 h 3233541"/>
              <a:gd name="connsiteX220" fmla="*/ 3305179 w 4489449"/>
              <a:gd name="connsiteY220" fmla="*/ 1441855 h 3233541"/>
              <a:gd name="connsiteX221" fmla="*/ 3315477 w 4489449"/>
              <a:gd name="connsiteY221" fmla="*/ 1441855 h 3233541"/>
              <a:gd name="connsiteX222" fmla="*/ 3315477 w 4489449"/>
              <a:gd name="connsiteY222" fmla="*/ 1410959 h 3233541"/>
              <a:gd name="connsiteX223" fmla="*/ 3284583 w 4489449"/>
              <a:gd name="connsiteY223" fmla="*/ 1410959 h 3233541"/>
              <a:gd name="connsiteX224" fmla="*/ 3263987 w 4489449"/>
              <a:gd name="connsiteY224" fmla="*/ 1380061 h 3233541"/>
              <a:gd name="connsiteX225" fmla="*/ 3284583 w 4489449"/>
              <a:gd name="connsiteY225" fmla="*/ 1369762 h 3233541"/>
              <a:gd name="connsiteX226" fmla="*/ 3346371 w 4489449"/>
              <a:gd name="connsiteY226" fmla="*/ 1359464 h 3233541"/>
              <a:gd name="connsiteX227" fmla="*/ 3346375 w 4489449"/>
              <a:gd name="connsiteY227" fmla="*/ 1359466 h 3233541"/>
              <a:gd name="connsiteX228" fmla="*/ 3356669 w 4489449"/>
              <a:gd name="connsiteY228" fmla="*/ 1359466 h 3233541"/>
              <a:gd name="connsiteX229" fmla="*/ 3366967 w 4489449"/>
              <a:gd name="connsiteY229" fmla="*/ 1359466 h 3233541"/>
              <a:gd name="connsiteX230" fmla="*/ 3372116 w 4489449"/>
              <a:gd name="connsiteY230" fmla="*/ 1359466 h 3233541"/>
              <a:gd name="connsiteX231" fmla="*/ 3377264 w 4489449"/>
              <a:gd name="connsiteY231" fmla="*/ 1359466 h 3233541"/>
              <a:gd name="connsiteX232" fmla="*/ 3377265 w 4489449"/>
              <a:gd name="connsiteY232" fmla="*/ 1359464 h 3233541"/>
              <a:gd name="connsiteX233" fmla="*/ 3366967 w 4489449"/>
              <a:gd name="connsiteY233" fmla="*/ 1359464 h 3233541"/>
              <a:gd name="connsiteX234" fmla="*/ 3346371 w 4489449"/>
              <a:gd name="connsiteY234" fmla="*/ 1359464 h 3233541"/>
              <a:gd name="connsiteX235" fmla="*/ 3377265 w 4489449"/>
              <a:gd name="connsiteY235" fmla="*/ 1307968 h 3233541"/>
              <a:gd name="connsiteX236" fmla="*/ 3428755 w 4489449"/>
              <a:gd name="connsiteY236" fmla="*/ 1318268 h 3233541"/>
              <a:gd name="connsiteX237" fmla="*/ 3449351 w 4489449"/>
              <a:gd name="connsiteY237" fmla="*/ 1297671 h 3233541"/>
              <a:gd name="connsiteX238" fmla="*/ 3459649 w 4489449"/>
              <a:gd name="connsiteY238" fmla="*/ 1246175 h 3233541"/>
              <a:gd name="connsiteX239" fmla="*/ 3500841 w 4489449"/>
              <a:gd name="connsiteY239" fmla="*/ 1235875 h 3233541"/>
              <a:gd name="connsiteX240" fmla="*/ 3531735 w 4489449"/>
              <a:gd name="connsiteY240" fmla="*/ 1174082 h 3233541"/>
              <a:gd name="connsiteX241" fmla="*/ 3572927 w 4489449"/>
              <a:gd name="connsiteY241" fmla="*/ 1174082 h 3233541"/>
              <a:gd name="connsiteX242" fmla="*/ 3603821 w 4489449"/>
              <a:gd name="connsiteY242" fmla="*/ 1112289 h 3233541"/>
              <a:gd name="connsiteX243" fmla="*/ 3645013 w 4489449"/>
              <a:gd name="connsiteY243" fmla="*/ 1112289 h 3233541"/>
              <a:gd name="connsiteX244" fmla="*/ 3655311 w 4489449"/>
              <a:gd name="connsiteY244" fmla="*/ 1071094 h 3233541"/>
              <a:gd name="connsiteX245" fmla="*/ 3665609 w 4489449"/>
              <a:gd name="connsiteY245" fmla="*/ 1050495 h 3233541"/>
              <a:gd name="connsiteX246" fmla="*/ 3737695 w 4489449"/>
              <a:gd name="connsiteY246" fmla="*/ 1029896 h 3233541"/>
              <a:gd name="connsiteX247" fmla="*/ 3737695 w 4489449"/>
              <a:gd name="connsiteY247" fmla="*/ 1050495 h 3233541"/>
              <a:gd name="connsiteX248" fmla="*/ 3624417 w 4489449"/>
              <a:gd name="connsiteY248" fmla="*/ 1204980 h 3233541"/>
              <a:gd name="connsiteX249" fmla="*/ 3593523 w 4489449"/>
              <a:gd name="connsiteY249" fmla="*/ 1235875 h 3233541"/>
              <a:gd name="connsiteX250" fmla="*/ 3542033 w 4489449"/>
              <a:gd name="connsiteY250" fmla="*/ 1328566 h 3233541"/>
              <a:gd name="connsiteX251" fmla="*/ 3511139 w 4489449"/>
              <a:gd name="connsiteY251" fmla="*/ 1349165 h 3233541"/>
              <a:gd name="connsiteX252" fmla="*/ 3408159 w 4489449"/>
              <a:gd name="connsiteY252" fmla="*/ 1503650 h 3233541"/>
              <a:gd name="connsiteX253" fmla="*/ 3408159 w 4489449"/>
              <a:gd name="connsiteY253" fmla="*/ 1555143 h 3233541"/>
              <a:gd name="connsiteX254" fmla="*/ 3377265 w 4489449"/>
              <a:gd name="connsiteY254" fmla="*/ 1544845 h 3233541"/>
              <a:gd name="connsiteX255" fmla="*/ 3365358 w 4489449"/>
              <a:gd name="connsiteY255" fmla="*/ 1557076 h 3233541"/>
              <a:gd name="connsiteX256" fmla="*/ 3363650 w 4489449"/>
              <a:gd name="connsiteY256" fmla="*/ 1559413 h 3233541"/>
              <a:gd name="connsiteX257" fmla="*/ 3361697 w 4489449"/>
              <a:gd name="connsiteY257" fmla="*/ 1561502 h 3233541"/>
              <a:gd name="connsiteX258" fmla="*/ 3361230 w 4489449"/>
              <a:gd name="connsiteY258" fmla="*/ 1562725 h 3233541"/>
              <a:gd name="connsiteX259" fmla="*/ 3359244 w 4489449"/>
              <a:gd name="connsiteY259" fmla="*/ 1565444 h 3233541"/>
              <a:gd name="connsiteX260" fmla="*/ 3356669 w 4489449"/>
              <a:gd name="connsiteY260" fmla="*/ 1586041 h 3233541"/>
              <a:gd name="connsiteX261" fmla="*/ 3356991 w 4489449"/>
              <a:gd name="connsiteY261" fmla="*/ 1573812 h 3233541"/>
              <a:gd name="connsiteX262" fmla="*/ 3361230 w 4489449"/>
              <a:gd name="connsiteY262" fmla="*/ 1562725 h 3233541"/>
              <a:gd name="connsiteX263" fmla="*/ 3363650 w 4489449"/>
              <a:gd name="connsiteY263" fmla="*/ 1559413 h 3233541"/>
              <a:gd name="connsiteX264" fmla="*/ 3377265 w 4489449"/>
              <a:gd name="connsiteY264" fmla="*/ 1544846 h 3233541"/>
              <a:gd name="connsiteX265" fmla="*/ 3392712 w 4489449"/>
              <a:gd name="connsiteY265" fmla="*/ 1546135 h 3233541"/>
              <a:gd name="connsiteX266" fmla="*/ 3408158 w 4489449"/>
              <a:gd name="connsiteY266" fmla="*/ 1555145 h 3233541"/>
              <a:gd name="connsiteX267" fmla="*/ 3408159 w 4489449"/>
              <a:gd name="connsiteY267" fmla="*/ 1555143 h 3233541"/>
              <a:gd name="connsiteX268" fmla="*/ 3428755 w 4489449"/>
              <a:gd name="connsiteY268" fmla="*/ 1575741 h 3233541"/>
              <a:gd name="connsiteX269" fmla="*/ 3480245 w 4489449"/>
              <a:gd name="connsiteY269" fmla="*/ 1555143 h 3233541"/>
              <a:gd name="connsiteX270" fmla="*/ 3500841 w 4489449"/>
              <a:gd name="connsiteY270" fmla="*/ 1534545 h 3233541"/>
              <a:gd name="connsiteX271" fmla="*/ 3531735 w 4489449"/>
              <a:gd name="connsiteY271" fmla="*/ 1534545 h 3233541"/>
              <a:gd name="connsiteX272" fmla="*/ 3562629 w 4489449"/>
              <a:gd name="connsiteY272" fmla="*/ 1513948 h 3233541"/>
              <a:gd name="connsiteX273" fmla="*/ 3562629 w 4489449"/>
              <a:gd name="connsiteY273" fmla="*/ 1493351 h 3233541"/>
              <a:gd name="connsiteX274" fmla="*/ 3583225 w 4489449"/>
              <a:gd name="connsiteY274" fmla="*/ 1452154 h 3233541"/>
              <a:gd name="connsiteX275" fmla="*/ 3624417 w 4489449"/>
              <a:gd name="connsiteY275" fmla="*/ 1441855 h 3233541"/>
              <a:gd name="connsiteX276" fmla="*/ 3665609 w 4489449"/>
              <a:gd name="connsiteY276" fmla="*/ 1390361 h 3233541"/>
              <a:gd name="connsiteX277" fmla="*/ 3727397 w 4489449"/>
              <a:gd name="connsiteY277" fmla="*/ 1369762 h 3233541"/>
              <a:gd name="connsiteX278" fmla="*/ 3747993 w 4489449"/>
              <a:gd name="connsiteY278" fmla="*/ 1338866 h 3233541"/>
              <a:gd name="connsiteX279" fmla="*/ 3799483 w 4489449"/>
              <a:gd name="connsiteY279" fmla="*/ 1307968 h 3233541"/>
              <a:gd name="connsiteX280" fmla="*/ 3881867 w 4489449"/>
              <a:gd name="connsiteY280" fmla="*/ 1235875 h 3233541"/>
              <a:gd name="connsiteX281" fmla="*/ 3892165 w 4489449"/>
              <a:gd name="connsiteY281" fmla="*/ 1266773 h 3233541"/>
              <a:gd name="connsiteX282" fmla="*/ 3840675 w 4489449"/>
              <a:gd name="connsiteY282" fmla="*/ 1338866 h 3233541"/>
              <a:gd name="connsiteX283" fmla="*/ 3778887 w 4489449"/>
              <a:gd name="connsiteY283" fmla="*/ 1431557 h 3233541"/>
              <a:gd name="connsiteX284" fmla="*/ 3727397 w 4489449"/>
              <a:gd name="connsiteY284" fmla="*/ 1493351 h 3233541"/>
              <a:gd name="connsiteX285" fmla="*/ 3675907 w 4489449"/>
              <a:gd name="connsiteY285" fmla="*/ 1565444 h 3233541"/>
              <a:gd name="connsiteX286" fmla="*/ 3624417 w 4489449"/>
              <a:gd name="connsiteY286" fmla="*/ 1637536 h 3233541"/>
              <a:gd name="connsiteX287" fmla="*/ 3614119 w 4489449"/>
              <a:gd name="connsiteY287" fmla="*/ 1647835 h 3233541"/>
              <a:gd name="connsiteX288" fmla="*/ 3521437 w 4489449"/>
              <a:gd name="connsiteY288" fmla="*/ 1802320 h 3233541"/>
              <a:gd name="connsiteX289" fmla="*/ 3459649 w 4489449"/>
              <a:gd name="connsiteY289" fmla="*/ 1874413 h 3233541"/>
              <a:gd name="connsiteX290" fmla="*/ 3418457 w 4489449"/>
              <a:gd name="connsiteY290" fmla="*/ 1905308 h 3233541"/>
              <a:gd name="connsiteX291" fmla="*/ 3397861 w 4489449"/>
              <a:gd name="connsiteY291" fmla="*/ 1967103 h 3233541"/>
              <a:gd name="connsiteX292" fmla="*/ 3336073 w 4489449"/>
              <a:gd name="connsiteY292" fmla="*/ 2018598 h 3233541"/>
              <a:gd name="connsiteX293" fmla="*/ 3325775 w 4489449"/>
              <a:gd name="connsiteY293" fmla="*/ 2028897 h 3233541"/>
              <a:gd name="connsiteX294" fmla="*/ 3171305 w 4489449"/>
              <a:gd name="connsiteY294" fmla="*/ 2255474 h 3233541"/>
              <a:gd name="connsiteX295" fmla="*/ 3058028 w 4489449"/>
              <a:gd name="connsiteY295" fmla="*/ 2389361 h 3233541"/>
              <a:gd name="connsiteX296" fmla="*/ 2924154 w 4489449"/>
              <a:gd name="connsiteY296" fmla="*/ 2554143 h 3233541"/>
              <a:gd name="connsiteX297" fmla="*/ 2852068 w 4489449"/>
              <a:gd name="connsiteY297" fmla="*/ 2657132 h 3233541"/>
              <a:gd name="connsiteX298" fmla="*/ 2707896 w 4489449"/>
              <a:gd name="connsiteY298" fmla="*/ 2873411 h 3233541"/>
              <a:gd name="connsiteX299" fmla="*/ 2697598 w 4489449"/>
              <a:gd name="connsiteY299" fmla="*/ 2945504 h 3233541"/>
              <a:gd name="connsiteX300" fmla="*/ 2728492 w 4489449"/>
              <a:gd name="connsiteY300" fmla="*/ 2955802 h 3233541"/>
              <a:gd name="connsiteX301" fmla="*/ 2759386 w 4489449"/>
              <a:gd name="connsiteY301" fmla="*/ 2935204 h 3233541"/>
              <a:gd name="connsiteX302" fmla="*/ 2852068 w 4489449"/>
              <a:gd name="connsiteY302" fmla="*/ 2883711 h 3233541"/>
              <a:gd name="connsiteX303" fmla="*/ 2872664 w 4489449"/>
              <a:gd name="connsiteY303" fmla="*/ 2842515 h 3233541"/>
              <a:gd name="connsiteX304" fmla="*/ 2965346 w 4489449"/>
              <a:gd name="connsiteY304" fmla="*/ 2801318 h 3233541"/>
              <a:gd name="connsiteX305" fmla="*/ 3027134 w 4489449"/>
              <a:gd name="connsiteY305" fmla="*/ 2708627 h 3233541"/>
              <a:gd name="connsiteX306" fmla="*/ 3099219 w 4489449"/>
              <a:gd name="connsiteY306" fmla="*/ 2688030 h 3233541"/>
              <a:gd name="connsiteX307" fmla="*/ 3150709 w 4489449"/>
              <a:gd name="connsiteY307" fmla="*/ 2667432 h 3233541"/>
              <a:gd name="connsiteX308" fmla="*/ 3222795 w 4489449"/>
              <a:gd name="connsiteY308" fmla="*/ 2708627 h 3233541"/>
              <a:gd name="connsiteX309" fmla="*/ 3253689 w 4489449"/>
              <a:gd name="connsiteY309" fmla="*/ 2708627 h 3233541"/>
              <a:gd name="connsiteX310" fmla="*/ 3325775 w 4489449"/>
              <a:gd name="connsiteY310" fmla="*/ 2698329 h 3233541"/>
              <a:gd name="connsiteX311" fmla="*/ 3387563 w 4489449"/>
              <a:gd name="connsiteY311" fmla="*/ 2677732 h 3233541"/>
              <a:gd name="connsiteX312" fmla="*/ 3428755 w 4489449"/>
              <a:gd name="connsiteY312" fmla="*/ 2729225 h 3233541"/>
              <a:gd name="connsiteX313" fmla="*/ 3377265 w 4489449"/>
              <a:gd name="connsiteY313" fmla="*/ 2832216 h 3233541"/>
              <a:gd name="connsiteX314" fmla="*/ 3346371 w 4489449"/>
              <a:gd name="connsiteY314" fmla="*/ 2883711 h 3233541"/>
              <a:gd name="connsiteX315" fmla="*/ 3253689 w 4489449"/>
              <a:gd name="connsiteY315" fmla="*/ 3038195 h 3233541"/>
              <a:gd name="connsiteX316" fmla="*/ 3233093 w 4489449"/>
              <a:gd name="connsiteY316" fmla="*/ 3069092 h 3233541"/>
              <a:gd name="connsiteX317" fmla="*/ 3150709 w 4489449"/>
              <a:gd name="connsiteY317" fmla="*/ 3213277 h 3233541"/>
              <a:gd name="connsiteX318" fmla="*/ 3138679 w 4489449"/>
              <a:gd name="connsiteY318" fmla="*/ 3233541 h 3233541"/>
              <a:gd name="connsiteX319" fmla="*/ 0 w 4489449"/>
              <a:gd name="connsiteY319" fmla="*/ 3233541 h 3233541"/>
              <a:gd name="connsiteX320" fmla="*/ 0 w 4489449"/>
              <a:gd name="connsiteY320" fmla="*/ 1684240 h 3233541"/>
              <a:gd name="connsiteX321" fmla="*/ 4670 w 4489449"/>
              <a:gd name="connsiteY321" fmla="*/ 1687743 h 3233541"/>
              <a:gd name="connsiteX322" fmla="*/ 30415 w 4489449"/>
              <a:gd name="connsiteY322" fmla="*/ 1699329 h 3233541"/>
              <a:gd name="connsiteX323" fmla="*/ 40713 w 4489449"/>
              <a:gd name="connsiteY323" fmla="*/ 1647835 h 3233541"/>
              <a:gd name="connsiteX324" fmla="*/ 112799 w 4489449"/>
              <a:gd name="connsiteY324" fmla="*/ 1596340 h 3233541"/>
              <a:gd name="connsiteX325" fmla="*/ 143693 w 4489449"/>
              <a:gd name="connsiteY325" fmla="*/ 1596340 h 3233541"/>
              <a:gd name="connsiteX326" fmla="*/ 164289 w 4489449"/>
              <a:gd name="connsiteY326" fmla="*/ 1637536 h 3233541"/>
              <a:gd name="connsiteX327" fmla="*/ 246673 w 4489449"/>
              <a:gd name="connsiteY327" fmla="*/ 1637536 h 3233541"/>
              <a:gd name="connsiteX328" fmla="*/ 246673 w 4489449"/>
              <a:gd name="connsiteY328" fmla="*/ 1586041 h 3233541"/>
              <a:gd name="connsiteX329" fmla="*/ 195183 w 4489449"/>
              <a:gd name="connsiteY329" fmla="*/ 1606638 h 3233541"/>
              <a:gd name="connsiteX330" fmla="*/ 174587 w 4489449"/>
              <a:gd name="connsiteY330" fmla="*/ 1586041 h 3233541"/>
              <a:gd name="connsiteX331" fmla="*/ 195183 w 4489449"/>
              <a:gd name="connsiteY331" fmla="*/ 1524247 h 3233541"/>
              <a:gd name="connsiteX332" fmla="*/ 174587 w 4489449"/>
              <a:gd name="connsiteY332" fmla="*/ 1472752 h 3233541"/>
              <a:gd name="connsiteX333" fmla="*/ 205481 w 4489449"/>
              <a:gd name="connsiteY333" fmla="*/ 1452154 h 3233541"/>
              <a:gd name="connsiteX334" fmla="*/ 215779 w 4489449"/>
              <a:gd name="connsiteY334" fmla="*/ 1493351 h 3233541"/>
              <a:gd name="connsiteX335" fmla="*/ 236375 w 4489449"/>
              <a:gd name="connsiteY335" fmla="*/ 1503650 h 3233541"/>
              <a:gd name="connsiteX336" fmla="*/ 298163 w 4489449"/>
              <a:gd name="connsiteY336" fmla="*/ 1503650 h 3233541"/>
              <a:gd name="connsiteX337" fmla="*/ 380547 w 4489449"/>
              <a:gd name="connsiteY337" fmla="*/ 1483052 h 3233541"/>
              <a:gd name="connsiteX338" fmla="*/ 390845 w 4489449"/>
              <a:gd name="connsiteY338" fmla="*/ 1431557 h 3233541"/>
              <a:gd name="connsiteX339" fmla="*/ 493825 w 4489449"/>
              <a:gd name="connsiteY339" fmla="*/ 1390361 h 3233541"/>
              <a:gd name="connsiteX340" fmla="*/ 493825 w 4489449"/>
              <a:gd name="connsiteY340" fmla="*/ 1400659 h 3233541"/>
              <a:gd name="connsiteX341" fmla="*/ 493825 w 4489449"/>
              <a:gd name="connsiteY341" fmla="*/ 1421258 h 3233541"/>
              <a:gd name="connsiteX342" fmla="*/ 514421 w 4489449"/>
              <a:gd name="connsiteY342" fmla="*/ 1421258 h 3233541"/>
              <a:gd name="connsiteX343" fmla="*/ 535017 w 4489449"/>
              <a:gd name="connsiteY343" fmla="*/ 1380061 h 3233541"/>
              <a:gd name="connsiteX344" fmla="*/ 504123 w 4489449"/>
              <a:gd name="connsiteY344" fmla="*/ 1338866 h 3233541"/>
              <a:gd name="connsiteX345" fmla="*/ 483527 w 4489449"/>
              <a:gd name="connsiteY345" fmla="*/ 1338866 h 3233541"/>
              <a:gd name="connsiteX346" fmla="*/ 462931 w 4489449"/>
              <a:gd name="connsiteY346" fmla="*/ 1328566 h 3233541"/>
              <a:gd name="connsiteX347" fmla="*/ 473229 w 4489449"/>
              <a:gd name="connsiteY347" fmla="*/ 1277073 h 3233541"/>
              <a:gd name="connsiteX348" fmla="*/ 493825 w 4489449"/>
              <a:gd name="connsiteY348" fmla="*/ 1297671 h 3233541"/>
              <a:gd name="connsiteX349" fmla="*/ 576209 w 4489449"/>
              <a:gd name="connsiteY349" fmla="*/ 1307968 h 3233541"/>
              <a:gd name="connsiteX350" fmla="*/ 637997 w 4489449"/>
              <a:gd name="connsiteY350" fmla="*/ 1297671 h 3233541"/>
              <a:gd name="connsiteX351" fmla="*/ 668891 w 4489449"/>
              <a:gd name="connsiteY351" fmla="*/ 1246175 h 3233541"/>
              <a:gd name="connsiteX352" fmla="*/ 720381 w 4489449"/>
              <a:gd name="connsiteY352" fmla="*/ 1215278 h 3233541"/>
              <a:gd name="connsiteX353" fmla="*/ 740977 w 4489449"/>
              <a:gd name="connsiteY353" fmla="*/ 1184382 h 3233541"/>
              <a:gd name="connsiteX354" fmla="*/ 802765 w 4489449"/>
              <a:gd name="connsiteY354" fmla="*/ 1132887 h 3233541"/>
              <a:gd name="connsiteX355" fmla="*/ 823361 w 4489449"/>
              <a:gd name="connsiteY355" fmla="*/ 1112289 h 3233541"/>
              <a:gd name="connsiteX356" fmla="*/ 926341 w 4489449"/>
              <a:gd name="connsiteY356" fmla="*/ 1019598 h 3233541"/>
              <a:gd name="connsiteX357" fmla="*/ 957235 w 4489449"/>
              <a:gd name="connsiteY357" fmla="*/ 978403 h 3233541"/>
              <a:gd name="connsiteX358" fmla="*/ 1029321 w 4489449"/>
              <a:gd name="connsiteY358" fmla="*/ 957803 h 3233541"/>
              <a:gd name="connsiteX359" fmla="*/ 1101407 w 4489449"/>
              <a:gd name="connsiteY359" fmla="*/ 968103 h 3233541"/>
              <a:gd name="connsiteX360" fmla="*/ 1163195 w 4489449"/>
              <a:gd name="connsiteY360" fmla="*/ 957803 h 3233541"/>
              <a:gd name="connsiteX361" fmla="*/ 1214685 w 4489449"/>
              <a:gd name="connsiteY361" fmla="*/ 957803 h 3233541"/>
              <a:gd name="connsiteX362" fmla="*/ 1369155 w 4489449"/>
              <a:gd name="connsiteY362" fmla="*/ 844515 h 3233541"/>
              <a:gd name="connsiteX363" fmla="*/ 1400050 w 4489449"/>
              <a:gd name="connsiteY363" fmla="*/ 834217 h 3233541"/>
              <a:gd name="connsiteX364" fmla="*/ 1441242 w 4489449"/>
              <a:gd name="connsiteY364" fmla="*/ 782721 h 3233541"/>
              <a:gd name="connsiteX365" fmla="*/ 1513328 w 4489449"/>
              <a:gd name="connsiteY365" fmla="*/ 741526 h 3233541"/>
              <a:gd name="connsiteX366" fmla="*/ 1533924 w 4489449"/>
              <a:gd name="connsiteY366" fmla="*/ 762124 h 3233541"/>
              <a:gd name="connsiteX367" fmla="*/ 1533924 w 4489449"/>
              <a:gd name="connsiteY367" fmla="*/ 854814 h 3233541"/>
              <a:gd name="connsiteX368" fmla="*/ 1564818 w 4489449"/>
              <a:gd name="connsiteY368" fmla="*/ 865112 h 3233541"/>
              <a:gd name="connsiteX369" fmla="*/ 1554520 w 4489449"/>
              <a:gd name="connsiteY369" fmla="*/ 916608 h 3233541"/>
              <a:gd name="connsiteX370" fmla="*/ 1554520 w 4489449"/>
              <a:gd name="connsiteY370" fmla="*/ 916609 h 3233541"/>
              <a:gd name="connsiteX371" fmla="*/ 1559669 w 4489449"/>
              <a:gd name="connsiteY371" fmla="*/ 894725 h 3233541"/>
              <a:gd name="connsiteX372" fmla="*/ 1564818 w 4489449"/>
              <a:gd name="connsiteY372" fmla="*/ 865114 h 3233541"/>
              <a:gd name="connsiteX373" fmla="*/ 1576403 w 4489449"/>
              <a:gd name="connsiteY373" fmla="*/ 889253 h 3233541"/>
              <a:gd name="connsiteX374" fmla="*/ 1580265 w 4489449"/>
              <a:gd name="connsiteY374" fmla="*/ 903736 h 3233541"/>
              <a:gd name="connsiteX375" fmla="*/ 1580265 w 4489449"/>
              <a:gd name="connsiteY375" fmla="*/ 903735 h 3233541"/>
              <a:gd name="connsiteX376" fmla="*/ 1564818 w 4489449"/>
              <a:gd name="connsiteY376" fmla="*/ 865112 h 3233541"/>
              <a:gd name="connsiteX377" fmla="*/ 1554520 w 4489449"/>
              <a:gd name="connsiteY377" fmla="*/ 690031 h 3233541"/>
              <a:gd name="connsiteX378" fmla="*/ 1606010 w 4489449"/>
              <a:gd name="connsiteY378" fmla="*/ 679732 h 3233541"/>
              <a:gd name="connsiteX379" fmla="*/ 1606010 w 4489449"/>
              <a:gd name="connsiteY379" fmla="*/ 793021 h 3233541"/>
              <a:gd name="connsiteX380" fmla="*/ 1626606 w 4489449"/>
              <a:gd name="connsiteY380" fmla="*/ 854814 h 3233541"/>
              <a:gd name="connsiteX381" fmla="*/ 1667798 w 4489449"/>
              <a:gd name="connsiteY381" fmla="*/ 834217 h 3233541"/>
              <a:gd name="connsiteX382" fmla="*/ 1698692 w 4489449"/>
              <a:gd name="connsiteY382" fmla="*/ 854814 h 3233541"/>
              <a:gd name="connsiteX383" fmla="*/ 1708990 w 4489449"/>
              <a:gd name="connsiteY383" fmla="*/ 844515 h 3233541"/>
              <a:gd name="connsiteX384" fmla="*/ 1698692 w 4489449"/>
              <a:gd name="connsiteY384" fmla="*/ 823918 h 3233541"/>
              <a:gd name="connsiteX385" fmla="*/ 1739884 w 4489449"/>
              <a:gd name="connsiteY385" fmla="*/ 720928 h 3233541"/>
              <a:gd name="connsiteX386" fmla="*/ 1750182 w 4489449"/>
              <a:gd name="connsiteY386" fmla="*/ 710628 h 3233541"/>
              <a:gd name="connsiteX387" fmla="*/ 1770778 w 4489449"/>
              <a:gd name="connsiteY387" fmla="*/ 741526 h 3233541"/>
              <a:gd name="connsiteX388" fmla="*/ 1801672 w 4489449"/>
              <a:gd name="connsiteY388" fmla="*/ 648835 h 3233541"/>
              <a:gd name="connsiteX389" fmla="*/ 1863460 w 4489449"/>
              <a:gd name="connsiteY389" fmla="*/ 628238 h 3233541"/>
              <a:gd name="connsiteX390" fmla="*/ 1914950 w 4489449"/>
              <a:gd name="connsiteY390" fmla="*/ 597340 h 3233541"/>
              <a:gd name="connsiteX391" fmla="*/ 1935546 w 4489449"/>
              <a:gd name="connsiteY391" fmla="*/ 659133 h 3233541"/>
              <a:gd name="connsiteX392" fmla="*/ 1945844 w 4489449"/>
              <a:gd name="connsiteY392" fmla="*/ 659133 h 3233541"/>
              <a:gd name="connsiteX393" fmla="*/ 1966440 w 4489449"/>
              <a:gd name="connsiteY393" fmla="*/ 617938 h 3233541"/>
              <a:gd name="connsiteX394" fmla="*/ 1987036 w 4489449"/>
              <a:gd name="connsiteY394" fmla="*/ 587042 h 3233541"/>
              <a:gd name="connsiteX395" fmla="*/ 1945844 w 4489449"/>
              <a:gd name="connsiteY395" fmla="*/ 566444 h 3233541"/>
              <a:gd name="connsiteX396" fmla="*/ 1956142 w 4489449"/>
              <a:gd name="connsiteY396" fmla="*/ 535547 h 3233541"/>
              <a:gd name="connsiteX397" fmla="*/ 2059122 w 4489449"/>
              <a:gd name="connsiteY397" fmla="*/ 525247 h 3233541"/>
              <a:gd name="connsiteX398" fmla="*/ 2059122 w 4489449"/>
              <a:gd name="connsiteY398" fmla="*/ 473753 h 3233541"/>
              <a:gd name="connsiteX399" fmla="*/ 2110612 w 4489449"/>
              <a:gd name="connsiteY399" fmla="*/ 442856 h 3233541"/>
              <a:gd name="connsiteX400" fmla="*/ 2141506 w 4489449"/>
              <a:gd name="connsiteY400" fmla="*/ 391361 h 3233541"/>
              <a:gd name="connsiteX401" fmla="*/ 2182698 w 4489449"/>
              <a:gd name="connsiteY401" fmla="*/ 422258 h 3233541"/>
              <a:gd name="connsiteX402" fmla="*/ 2192996 w 4489449"/>
              <a:gd name="connsiteY402" fmla="*/ 350165 h 3233541"/>
              <a:gd name="connsiteX403" fmla="*/ 2213592 w 4489449"/>
              <a:gd name="connsiteY403" fmla="*/ 329567 h 3233541"/>
              <a:gd name="connsiteX404" fmla="*/ 2265082 w 4489449"/>
              <a:gd name="connsiteY404" fmla="*/ 360463 h 3233541"/>
              <a:gd name="connsiteX405" fmla="*/ 2265082 w 4489449"/>
              <a:gd name="connsiteY405" fmla="*/ 288372 h 3233541"/>
              <a:gd name="connsiteX406" fmla="*/ 2285678 w 4489449"/>
              <a:gd name="connsiteY406" fmla="*/ 267774 h 3233541"/>
              <a:gd name="connsiteX407" fmla="*/ 2316572 w 4489449"/>
              <a:gd name="connsiteY407" fmla="*/ 267774 h 3233541"/>
              <a:gd name="connsiteX408" fmla="*/ 2337168 w 4489449"/>
              <a:gd name="connsiteY408" fmla="*/ 257474 h 3233541"/>
              <a:gd name="connsiteX409" fmla="*/ 2326870 w 4489449"/>
              <a:gd name="connsiteY409" fmla="*/ 185381 h 3233541"/>
              <a:gd name="connsiteX410" fmla="*/ 2378360 w 4489449"/>
              <a:gd name="connsiteY410" fmla="*/ 175083 h 3233541"/>
              <a:gd name="connsiteX411" fmla="*/ 2409254 w 4489449"/>
              <a:gd name="connsiteY411" fmla="*/ 102990 h 3233541"/>
              <a:gd name="connsiteX412" fmla="*/ 2440148 w 4489449"/>
              <a:gd name="connsiteY412" fmla="*/ 41196 h 3233541"/>
              <a:gd name="connsiteX413" fmla="*/ 2460744 w 4489449"/>
              <a:gd name="connsiteY413" fmla="*/ 61793 h 3233541"/>
              <a:gd name="connsiteX414" fmla="*/ 2450446 w 4489449"/>
              <a:gd name="connsiteY414" fmla="*/ 102990 h 3233541"/>
              <a:gd name="connsiteX415" fmla="*/ 2460744 w 4489449"/>
              <a:gd name="connsiteY415" fmla="*/ 113289 h 3233541"/>
              <a:gd name="connsiteX416" fmla="*/ 2471042 w 4489449"/>
              <a:gd name="connsiteY416" fmla="*/ 113289 h 3233541"/>
              <a:gd name="connsiteX417" fmla="*/ 2491638 w 4489449"/>
              <a:gd name="connsiteY417" fmla="*/ 72093 h 3233541"/>
              <a:gd name="connsiteX418" fmla="*/ 2512234 w 4489449"/>
              <a:gd name="connsiteY418" fmla="*/ 113289 h 3233541"/>
              <a:gd name="connsiteX419" fmla="*/ 2532830 w 4489449"/>
              <a:gd name="connsiteY419" fmla="*/ 92691 h 3233541"/>
              <a:gd name="connsiteX420" fmla="*/ 2532830 w 4489449"/>
              <a:gd name="connsiteY420" fmla="*/ 51495 h 3233541"/>
              <a:gd name="connsiteX421" fmla="*/ 2532830 w 4489449"/>
              <a:gd name="connsiteY421" fmla="*/ 0 h 32335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  <a:cxn ang="0">
                <a:pos x="connsiteX250" y="connsiteY250"/>
              </a:cxn>
              <a:cxn ang="0">
                <a:pos x="connsiteX251" y="connsiteY251"/>
              </a:cxn>
              <a:cxn ang="0">
                <a:pos x="connsiteX252" y="connsiteY252"/>
              </a:cxn>
              <a:cxn ang="0">
                <a:pos x="connsiteX253" y="connsiteY253"/>
              </a:cxn>
              <a:cxn ang="0">
                <a:pos x="connsiteX254" y="connsiteY254"/>
              </a:cxn>
              <a:cxn ang="0">
                <a:pos x="connsiteX255" y="connsiteY255"/>
              </a:cxn>
              <a:cxn ang="0">
                <a:pos x="connsiteX256" y="connsiteY256"/>
              </a:cxn>
              <a:cxn ang="0">
                <a:pos x="connsiteX257" y="connsiteY257"/>
              </a:cxn>
              <a:cxn ang="0">
                <a:pos x="connsiteX258" y="connsiteY258"/>
              </a:cxn>
              <a:cxn ang="0">
                <a:pos x="connsiteX259" y="connsiteY259"/>
              </a:cxn>
              <a:cxn ang="0">
                <a:pos x="connsiteX260" y="connsiteY260"/>
              </a:cxn>
              <a:cxn ang="0">
                <a:pos x="connsiteX261" y="connsiteY261"/>
              </a:cxn>
              <a:cxn ang="0">
                <a:pos x="connsiteX262" y="connsiteY262"/>
              </a:cxn>
              <a:cxn ang="0">
                <a:pos x="connsiteX263" y="connsiteY263"/>
              </a:cxn>
              <a:cxn ang="0">
                <a:pos x="connsiteX264" y="connsiteY264"/>
              </a:cxn>
              <a:cxn ang="0">
                <a:pos x="connsiteX265" y="connsiteY265"/>
              </a:cxn>
              <a:cxn ang="0">
                <a:pos x="connsiteX266" y="connsiteY266"/>
              </a:cxn>
              <a:cxn ang="0">
                <a:pos x="connsiteX267" y="connsiteY267"/>
              </a:cxn>
              <a:cxn ang="0">
                <a:pos x="connsiteX268" y="connsiteY268"/>
              </a:cxn>
              <a:cxn ang="0">
                <a:pos x="connsiteX269" y="connsiteY269"/>
              </a:cxn>
              <a:cxn ang="0">
                <a:pos x="connsiteX270" y="connsiteY270"/>
              </a:cxn>
              <a:cxn ang="0">
                <a:pos x="connsiteX271" y="connsiteY271"/>
              </a:cxn>
              <a:cxn ang="0">
                <a:pos x="connsiteX272" y="connsiteY272"/>
              </a:cxn>
              <a:cxn ang="0">
                <a:pos x="connsiteX273" y="connsiteY273"/>
              </a:cxn>
              <a:cxn ang="0">
                <a:pos x="connsiteX274" y="connsiteY274"/>
              </a:cxn>
              <a:cxn ang="0">
                <a:pos x="connsiteX275" y="connsiteY275"/>
              </a:cxn>
              <a:cxn ang="0">
                <a:pos x="connsiteX276" y="connsiteY276"/>
              </a:cxn>
              <a:cxn ang="0">
                <a:pos x="connsiteX277" y="connsiteY277"/>
              </a:cxn>
              <a:cxn ang="0">
                <a:pos x="connsiteX278" y="connsiteY278"/>
              </a:cxn>
              <a:cxn ang="0">
                <a:pos x="connsiteX279" y="connsiteY279"/>
              </a:cxn>
              <a:cxn ang="0">
                <a:pos x="connsiteX280" y="connsiteY280"/>
              </a:cxn>
              <a:cxn ang="0">
                <a:pos x="connsiteX281" y="connsiteY281"/>
              </a:cxn>
              <a:cxn ang="0">
                <a:pos x="connsiteX282" y="connsiteY282"/>
              </a:cxn>
              <a:cxn ang="0">
                <a:pos x="connsiteX283" y="connsiteY283"/>
              </a:cxn>
              <a:cxn ang="0">
                <a:pos x="connsiteX284" y="connsiteY284"/>
              </a:cxn>
              <a:cxn ang="0">
                <a:pos x="connsiteX285" y="connsiteY285"/>
              </a:cxn>
              <a:cxn ang="0">
                <a:pos x="connsiteX286" y="connsiteY286"/>
              </a:cxn>
              <a:cxn ang="0">
                <a:pos x="connsiteX287" y="connsiteY287"/>
              </a:cxn>
              <a:cxn ang="0">
                <a:pos x="connsiteX288" y="connsiteY288"/>
              </a:cxn>
              <a:cxn ang="0">
                <a:pos x="connsiteX289" y="connsiteY289"/>
              </a:cxn>
              <a:cxn ang="0">
                <a:pos x="connsiteX290" y="connsiteY290"/>
              </a:cxn>
              <a:cxn ang="0">
                <a:pos x="connsiteX291" y="connsiteY291"/>
              </a:cxn>
              <a:cxn ang="0">
                <a:pos x="connsiteX292" y="connsiteY292"/>
              </a:cxn>
              <a:cxn ang="0">
                <a:pos x="connsiteX293" y="connsiteY293"/>
              </a:cxn>
              <a:cxn ang="0">
                <a:pos x="connsiteX294" y="connsiteY294"/>
              </a:cxn>
              <a:cxn ang="0">
                <a:pos x="connsiteX295" y="connsiteY295"/>
              </a:cxn>
              <a:cxn ang="0">
                <a:pos x="connsiteX296" y="connsiteY296"/>
              </a:cxn>
              <a:cxn ang="0">
                <a:pos x="connsiteX297" y="connsiteY297"/>
              </a:cxn>
              <a:cxn ang="0">
                <a:pos x="connsiteX298" y="connsiteY298"/>
              </a:cxn>
              <a:cxn ang="0">
                <a:pos x="connsiteX299" y="connsiteY299"/>
              </a:cxn>
              <a:cxn ang="0">
                <a:pos x="connsiteX300" y="connsiteY300"/>
              </a:cxn>
              <a:cxn ang="0">
                <a:pos x="connsiteX301" y="connsiteY301"/>
              </a:cxn>
              <a:cxn ang="0">
                <a:pos x="connsiteX302" y="connsiteY302"/>
              </a:cxn>
              <a:cxn ang="0">
                <a:pos x="connsiteX303" y="connsiteY303"/>
              </a:cxn>
              <a:cxn ang="0">
                <a:pos x="connsiteX304" y="connsiteY304"/>
              </a:cxn>
              <a:cxn ang="0">
                <a:pos x="connsiteX305" y="connsiteY305"/>
              </a:cxn>
              <a:cxn ang="0">
                <a:pos x="connsiteX306" y="connsiteY306"/>
              </a:cxn>
              <a:cxn ang="0">
                <a:pos x="connsiteX307" y="connsiteY307"/>
              </a:cxn>
              <a:cxn ang="0">
                <a:pos x="connsiteX308" y="connsiteY308"/>
              </a:cxn>
              <a:cxn ang="0">
                <a:pos x="connsiteX309" y="connsiteY309"/>
              </a:cxn>
              <a:cxn ang="0">
                <a:pos x="connsiteX310" y="connsiteY310"/>
              </a:cxn>
              <a:cxn ang="0">
                <a:pos x="connsiteX311" y="connsiteY311"/>
              </a:cxn>
              <a:cxn ang="0">
                <a:pos x="connsiteX312" y="connsiteY312"/>
              </a:cxn>
              <a:cxn ang="0">
                <a:pos x="connsiteX313" y="connsiteY313"/>
              </a:cxn>
              <a:cxn ang="0">
                <a:pos x="connsiteX314" y="connsiteY314"/>
              </a:cxn>
              <a:cxn ang="0">
                <a:pos x="connsiteX315" y="connsiteY315"/>
              </a:cxn>
              <a:cxn ang="0">
                <a:pos x="connsiteX316" y="connsiteY316"/>
              </a:cxn>
              <a:cxn ang="0">
                <a:pos x="connsiteX317" y="connsiteY317"/>
              </a:cxn>
              <a:cxn ang="0">
                <a:pos x="connsiteX318" y="connsiteY318"/>
              </a:cxn>
              <a:cxn ang="0">
                <a:pos x="connsiteX319" y="connsiteY319"/>
              </a:cxn>
              <a:cxn ang="0">
                <a:pos x="connsiteX320" y="connsiteY320"/>
              </a:cxn>
              <a:cxn ang="0">
                <a:pos x="connsiteX321" y="connsiteY321"/>
              </a:cxn>
              <a:cxn ang="0">
                <a:pos x="connsiteX322" y="connsiteY322"/>
              </a:cxn>
              <a:cxn ang="0">
                <a:pos x="connsiteX323" y="connsiteY323"/>
              </a:cxn>
              <a:cxn ang="0">
                <a:pos x="connsiteX324" y="connsiteY324"/>
              </a:cxn>
              <a:cxn ang="0">
                <a:pos x="connsiteX325" y="connsiteY325"/>
              </a:cxn>
              <a:cxn ang="0">
                <a:pos x="connsiteX326" y="connsiteY326"/>
              </a:cxn>
              <a:cxn ang="0">
                <a:pos x="connsiteX327" y="connsiteY327"/>
              </a:cxn>
              <a:cxn ang="0">
                <a:pos x="connsiteX328" y="connsiteY328"/>
              </a:cxn>
              <a:cxn ang="0">
                <a:pos x="connsiteX329" y="connsiteY329"/>
              </a:cxn>
              <a:cxn ang="0">
                <a:pos x="connsiteX330" y="connsiteY330"/>
              </a:cxn>
              <a:cxn ang="0">
                <a:pos x="connsiteX331" y="connsiteY331"/>
              </a:cxn>
              <a:cxn ang="0">
                <a:pos x="connsiteX332" y="connsiteY332"/>
              </a:cxn>
              <a:cxn ang="0">
                <a:pos x="connsiteX333" y="connsiteY333"/>
              </a:cxn>
              <a:cxn ang="0">
                <a:pos x="connsiteX334" y="connsiteY334"/>
              </a:cxn>
              <a:cxn ang="0">
                <a:pos x="connsiteX335" y="connsiteY335"/>
              </a:cxn>
              <a:cxn ang="0">
                <a:pos x="connsiteX336" y="connsiteY336"/>
              </a:cxn>
              <a:cxn ang="0">
                <a:pos x="connsiteX337" y="connsiteY337"/>
              </a:cxn>
              <a:cxn ang="0">
                <a:pos x="connsiteX338" y="connsiteY338"/>
              </a:cxn>
              <a:cxn ang="0">
                <a:pos x="connsiteX339" y="connsiteY339"/>
              </a:cxn>
              <a:cxn ang="0">
                <a:pos x="connsiteX340" y="connsiteY340"/>
              </a:cxn>
              <a:cxn ang="0">
                <a:pos x="connsiteX341" y="connsiteY341"/>
              </a:cxn>
              <a:cxn ang="0">
                <a:pos x="connsiteX342" y="connsiteY342"/>
              </a:cxn>
              <a:cxn ang="0">
                <a:pos x="connsiteX343" y="connsiteY343"/>
              </a:cxn>
              <a:cxn ang="0">
                <a:pos x="connsiteX344" y="connsiteY344"/>
              </a:cxn>
              <a:cxn ang="0">
                <a:pos x="connsiteX345" y="connsiteY345"/>
              </a:cxn>
              <a:cxn ang="0">
                <a:pos x="connsiteX346" y="connsiteY346"/>
              </a:cxn>
              <a:cxn ang="0">
                <a:pos x="connsiteX347" y="connsiteY347"/>
              </a:cxn>
              <a:cxn ang="0">
                <a:pos x="connsiteX348" y="connsiteY348"/>
              </a:cxn>
              <a:cxn ang="0">
                <a:pos x="connsiteX349" y="connsiteY349"/>
              </a:cxn>
              <a:cxn ang="0">
                <a:pos x="connsiteX350" y="connsiteY350"/>
              </a:cxn>
              <a:cxn ang="0">
                <a:pos x="connsiteX351" y="connsiteY351"/>
              </a:cxn>
              <a:cxn ang="0">
                <a:pos x="connsiteX352" y="connsiteY352"/>
              </a:cxn>
              <a:cxn ang="0">
                <a:pos x="connsiteX353" y="connsiteY353"/>
              </a:cxn>
              <a:cxn ang="0">
                <a:pos x="connsiteX354" y="connsiteY354"/>
              </a:cxn>
              <a:cxn ang="0">
                <a:pos x="connsiteX355" y="connsiteY355"/>
              </a:cxn>
              <a:cxn ang="0">
                <a:pos x="connsiteX356" y="connsiteY356"/>
              </a:cxn>
              <a:cxn ang="0">
                <a:pos x="connsiteX357" y="connsiteY357"/>
              </a:cxn>
              <a:cxn ang="0">
                <a:pos x="connsiteX358" y="connsiteY358"/>
              </a:cxn>
              <a:cxn ang="0">
                <a:pos x="connsiteX359" y="connsiteY359"/>
              </a:cxn>
              <a:cxn ang="0">
                <a:pos x="connsiteX360" y="connsiteY360"/>
              </a:cxn>
              <a:cxn ang="0">
                <a:pos x="connsiteX361" y="connsiteY361"/>
              </a:cxn>
              <a:cxn ang="0">
                <a:pos x="connsiteX362" y="connsiteY362"/>
              </a:cxn>
              <a:cxn ang="0">
                <a:pos x="connsiteX363" y="connsiteY363"/>
              </a:cxn>
              <a:cxn ang="0">
                <a:pos x="connsiteX364" y="connsiteY364"/>
              </a:cxn>
              <a:cxn ang="0">
                <a:pos x="connsiteX365" y="connsiteY365"/>
              </a:cxn>
              <a:cxn ang="0">
                <a:pos x="connsiteX366" y="connsiteY366"/>
              </a:cxn>
              <a:cxn ang="0">
                <a:pos x="connsiteX367" y="connsiteY367"/>
              </a:cxn>
              <a:cxn ang="0">
                <a:pos x="connsiteX368" y="connsiteY368"/>
              </a:cxn>
              <a:cxn ang="0">
                <a:pos x="connsiteX369" y="connsiteY369"/>
              </a:cxn>
              <a:cxn ang="0">
                <a:pos x="connsiteX370" y="connsiteY370"/>
              </a:cxn>
              <a:cxn ang="0">
                <a:pos x="connsiteX371" y="connsiteY371"/>
              </a:cxn>
              <a:cxn ang="0">
                <a:pos x="connsiteX372" y="connsiteY372"/>
              </a:cxn>
              <a:cxn ang="0">
                <a:pos x="connsiteX373" y="connsiteY373"/>
              </a:cxn>
              <a:cxn ang="0">
                <a:pos x="connsiteX374" y="connsiteY374"/>
              </a:cxn>
              <a:cxn ang="0">
                <a:pos x="connsiteX375" y="connsiteY375"/>
              </a:cxn>
              <a:cxn ang="0">
                <a:pos x="connsiteX376" y="connsiteY376"/>
              </a:cxn>
              <a:cxn ang="0">
                <a:pos x="connsiteX377" y="connsiteY377"/>
              </a:cxn>
              <a:cxn ang="0">
                <a:pos x="connsiteX378" y="connsiteY378"/>
              </a:cxn>
              <a:cxn ang="0">
                <a:pos x="connsiteX379" y="connsiteY379"/>
              </a:cxn>
              <a:cxn ang="0">
                <a:pos x="connsiteX380" y="connsiteY380"/>
              </a:cxn>
              <a:cxn ang="0">
                <a:pos x="connsiteX381" y="connsiteY381"/>
              </a:cxn>
              <a:cxn ang="0">
                <a:pos x="connsiteX382" y="connsiteY382"/>
              </a:cxn>
              <a:cxn ang="0">
                <a:pos x="connsiteX383" y="connsiteY383"/>
              </a:cxn>
              <a:cxn ang="0">
                <a:pos x="connsiteX384" y="connsiteY384"/>
              </a:cxn>
              <a:cxn ang="0">
                <a:pos x="connsiteX385" y="connsiteY385"/>
              </a:cxn>
              <a:cxn ang="0">
                <a:pos x="connsiteX386" y="connsiteY386"/>
              </a:cxn>
              <a:cxn ang="0">
                <a:pos x="connsiteX387" y="connsiteY387"/>
              </a:cxn>
              <a:cxn ang="0">
                <a:pos x="connsiteX388" y="connsiteY388"/>
              </a:cxn>
              <a:cxn ang="0">
                <a:pos x="connsiteX389" y="connsiteY389"/>
              </a:cxn>
              <a:cxn ang="0">
                <a:pos x="connsiteX390" y="connsiteY390"/>
              </a:cxn>
              <a:cxn ang="0">
                <a:pos x="connsiteX391" y="connsiteY391"/>
              </a:cxn>
              <a:cxn ang="0">
                <a:pos x="connsiteX392" y="connsiteY392"/>
              </a:cxn>
              <a:cxn ang="0">
                <a:pos x="connsiteX393" y="connsiteY393"/>
              </a:cxn>
              <a:cxn ang="0">
                <a:pos x="connsiteX394" y="connsiteY394"/>
              </a:cxn>
              <a:cxn ang="0">
                <a:pos x="connsiteX395" y="connsiteY395"/>
              </a:cxn>
              <a:cxn ang="0">
                <a:pos x="connsiteX396" y="connsiteY396"/>
              </a:cxn>
              <a:cxn ang="0">
                <a:pos x="connsiteX397" y="connsiteY397"/>
              </a:cxn>
              <a:cxn ang="0">
                <a:pos x="connsiteX398" y="connsiteY398"/>
              </a:cxn>
              <a:cxn ang="0">
                <a:pos x="connsiteX399" y="connsiteY399"/>
              </a:cxn>
              <a:cxn ang="0">
                <a:pos x="connsiteX400" y="connsiteY400"/>
              </a:cxn>
              <a:cxn ang="0">
                <a:pos x="connsiteX401" y="connsiteY401"/>
              </a:cxn>
              <a:cxn ang="0">
                <a:pos x="connsiteX402" y="connsiteY402"/>
              </a:cxn>
              <a:cxn ang="0">
                <a:pos x="connsiteX403" y="connsiteY403"/>
              </a:cxn>
              <a:cxn ang="0">
                <a:pos x="connsiteX404" y="connsiteY404"/>
              </a:cxn>
              <a:cxn ang="0">
                <a:pos x="connsiteX405" y="connsiteY405"/>
              </a:cxn>
              <a:cxn ang="0">
                <a:pos x="connsiteX406" y="connsiteY406"/>
              </a:cxn>
              <a:cxn ang="0">
                <a:pos x="connsiteX407" y="connsiteY407"/>
              </a:cxn>
              <a:cxn ang="0">
                <a:pos x="connsiteX408" y="connsiteY408"/>
              </a:cxn>
              <a:cxn ang="0">
                <a:pos x="connsiteX409" y="connsiteY409"/>
              </a:cxn>
              <a:cxn ang="0">
                <a:pos x="connsiteX410" y="connsiteY410"/>
              </a:cxn>
              <a:cxn ang="0">
                <a:pos x="connsiteX411" y="connsiteY411"/>
              </a:cxn>
              <a:cxn ang="0">
                <a:pos x="connsiteX412" y="connsiteY412"/>
              </a:cxn>
              <a:cxn ang="0">
                <a:pos x="connsiteX413" y="connsiteY413"/>
              </a:cxn>
              <a:cxn ang="0">
                <a:pos x="connsiteX414" y="connsiteY414"/>
              </a:cxn>
              <a:cxn ang="0">
                <a:pos x="connsiteX415" y="connsiteY415"/>
              </a:cxn>
              <a:cxn ang="0">
                <a:pos x="connsiteX416" y="connsiteY416"/>
              </a:cxn>
              <a:cxn ang="0">
                <a:pos x="connsiteX417" y="connsiteY417"/>
              </a:cxn>
              <a:cxn ang="0">
                <a:pos x="connsiteX418" y="connsiteY418"/>
              </a:cxn>
              <a:cxn ang="0">
                <a:pos x="connsiteX419" y="connsiteY419"/>
              </a:cxn>
              <a:cxn ang="0">
                <a:pos x="connsiteX420" y="connsiteY420"/>
              </a:cxn>
              <a:cxn ang="0">
                <a:pos x="connsiteX421" y="connsiteY421"/>
              </a:cxn>
            </a:cxnLst>
            <a:rect l="l" t="t" r="r" b="b"/>
            <a:pathLst>
              <a:path w="4489449" h="3233541">
                <a:moveTo>
                  <a:pt x="4427661" y="2842515"/>
                </a:moveTo>
                <a:cubicBezTo>
                  <a:pt x="4437959" y="2842515"/>
                  <a:pt x="4437959" y="2852813"/>
                  <a:pt x="4437959" y="2852813"/>
                </a:cubicBezTo>
                <a:cubicBezTo>
                  <a:pt x="4417363" y="2883711"/>
                  <a:pt x="4396767" y="2904309"/>
                  <a:pt x="4396767" y="2935204"/>
                </a:cubicBezTo>
                <a:cubicBezTo>
                  <a:pt x="4396767" y="2945504"/>
                  <a:pt x="4396767" y="2966102"/>
                  <a:pt x="4396767" y="2976402"/>
                </a:cubicBezTo>
                <a:cubicBezTo>
                  <a:pt x="4417363" y="2986700"/>
                  <a:pt x="4427661" y="2986700"/>
                  <a:pt x="4437959" y="2976402"/>
                </a:cubicBezTo>
                <a:cubicBezTo>
                  <a:pt x="4458555" y="2976402"/>
                  <a:pt x="4468853" y="2976402"/>
                  <a:pt x="4489449" y="2986700"/>
                </a:cubicBezTo>
                <a:cubicBezTo>
                  <a:pt x="4479151" y="2986700"/>
                  <a:pt x="4479151" y="2986700"/>
                  <a:pt x="4479151" y="2986700"/>
                </a:cubicBezTo>
                <a:cubicBezTo>
                  <a:pt x="4479151" y="2996999"/>
                  <a:pt x="4479151" y="2996999"/>
                  <a:pt x="4468853" y="3007297"/>
                </a:cubicBezTo>
                <a:cubicBezTo>
                  <a:pt x="4458555" y="3017597"/>
                  <a:pt x="4437959" y="3017597"/>
                  <a:pt x="4417363" y="3027895"/>
                </a:cubicBezTo>
                <a:cubicBezTo>
                  <a:pt x="4407065" y="3027895"/>
                  <a:pt x="4386469" y="3048493"/>
                  <a:pt x="4376171" y="3038195"/>
                </a:cubicBezTo>
                <a:cubicBezTo>
                  <a:pt x="4355575" y="3038195"/>
                  <a:pt x="4345277" y="3027895"/>
                  <a:pt x="4334979" y="3017597"/>
                </a:cubicBezTo>
                <a:cubicBezTo>
                  <a:pt x="4324681" y="3017597"/>
                  <a:pt x="4314383" y="3027895"/>
                  <a:pt x="4293787" y="3027895"/>
                </a:cubicBezTo>
                <a:cubicBezTo>
                  <a:pt x="4283489" y="3027895"/>
                  <a:pt x="4273191" y="3027895"/>
                  <a:pt x="4262893" y="3027895"/>
                </a:cubicBezTo>
                <a:cubicBezTo>
                  <a:pt x="4257744" y="3027895"/>
                  <a:pt x="4252595" y="3030470"/>
                  <a:pt x="4247446" y="3034333"/>
                </a:cubicBezTo>
                <a:lnTo>
                  <a:pt x="4238178" y="3042830"/>
                </a:lnTo>
                <a:lnTo>
                  <a:pt x="4231999" y="3038195"/>
                </a:lnTo>
                <a:lnTo>
                  <a:pt x="4226685" y="3043511"/>
                </a:lnTo>
                <a:lnTo>
                  <a:pt x="4211403" y="3029182"/>
                </a:lnTo>
                <a:cubicBezTo>
                  <a:pt x="4206254" y="3022746"/>
                  <a:pt x="4201105" y="3017597"/>
                  <a:pt x="4190807" y="3017597"/>
                </a:cubicBezTo>
                <a:cubicBezTo>
                  <a:pt x="4180509" y="3017597"/>
                  <a:pt x="4180509" y="3027895"/>
                  <a:pt x="4180509" y="3027895"/>
                </a:cubicBezTo>
                <a:lnTo>
                  <a:pt x="4180509" y="3027896"/>
                </a:lnTo>
                <a:cubicBezTo>
                  <a:pt x="4180509" y="3027896"/>
                  <a:pt x="4180509" y="3017599"/>
                  <a:pt x="4190807" y="3017599"/>
                </a:cubicBezTo>
                <a:cubicBezTo>
                  <a:pt x="4201105" y="3017599"/>
                  <a:pt x="4206254" y="3022747"/>
                  <a:pt x="4211403" y="3029182"/>
                </a:cubicBezTo>
                <a:lnTo>
                  <a:pt x="4226684" y="3043511"/>
                </a:lnTo>
                <a:lnTo>
                  <a:pt x="4226685" y="3043511"/>
                </a:lnTo>
                <a:lnTo>
                  <a:pt x="4231999" y="3038196"/>
                </a:lnTo>
                <a:lnTo>
                  <a:pt x="4238177" y="3042831"/>
                </a:lnTo>
                <a:lnTo>
                  <a:pt x="4238178" y="3042830"/>
                </a:lnTo>
                <a:lnTo>
                  <a:pt x="4273191" y="3069092"/>
                </a:lnTo>
                <a:cubicBezTo>
                  <a:pt x="4314383" y="3069092"/>
                  <a:pt x="4355575" y="3048493"/>
                  <a:pt x="4396767" y="3079390"/>
                </a:cubicBezTo>
                <a:cubicBezTo>
                  <a:pt x="4386469" y="3110288"/>
                  <a:pt x="4386469" y="3130886"/>
                  <a:pt x="4386469" y="3151483"/>
                </a:cubicBezTo>
                <a:cubicBezTo>
                  <a:pt x="4386469" y="3161781"/>
                  <a:pt x="4376171" y="3172081"/>
                  <a:pt x="4376171" y="3172081"/>
                </a:cubicBezTo>
                <a:cubicBezTo>
                  <a:pt x="4365873" y="3172081"/>
                  <a:pt x="4355575" y="3172081"/>
                  <a:pt x="4345277" y="3161781"/>
                </a:cubicBezTo>
                <a:cubicBezTo>
                  <a:pt x="4345277" y="3151483"/>
                  <a:pt x="4345277" y="3141184"/>
                  <a:pt x="4334979" y="3130886"/>
                </a:cubicBezTo>
                <a:cubicBezTo>
                  <a:pt x="4324681" y="3130886"/>
                  <a:pt x="4324681" y="3130886"/>
                  <a:pt x="4324681" y="3141184"/>
                </a:cubicBezTo>
                <a:cubicBezTo>
                  <a:pt x="4324681" y="3141184"/>
                  <a:pt x="4324681" y="3151483"/>
                  <a:pt x="4324681" y="3151483"/>
                </a:cubicBezTo>
                <a:cubicBezTo>
                  <a:pt x="4334979" y="3182381"/>
                  <a:pt x="4304085" y="3202979"/>
                  <a:pt x="4304085" y="3223576"/>
                </a:cubicBezTo>
                <a:lnTo>
                  <a:pt x="4305331" y="3233541"/>
                </a:lnTo>
                <a:lnTo>
                  <a:pt x="3799455" y="3233541"/>
                </a:lnTo>
                <a:lnTo>
                  <a:pt x="3798196" y="3218427"/>
                </a:lnTo>
                <a:cubicBezTo>
                  <a:pt x="3796909" y="3213278"/>
                  <a:pt x="3794334" y="3208128"/>
                  <a:pt x="3789185" y="3202979"/>
                </a:cubicBezTo>
                <a:cubicBezTo>
                  <a:pt x="3799483" y="3192679"/>
                  <a:pt x="3820079" y="3202979"/>
                  <a:pt x="3820079" y="3182381"/>
                </a:cubicBezTo>
                <a:cubicBezTo>
                  <a:pt x="3809781" y="3172081"/>
                  <a:pt x="3799483" y="3161781"/>
                  <a:pt x="3789185" y="3151483"/>
                </a:cubicBezTo>
                <a:cubicBezTo>
                  <a:pt x="3809781" y="3130886"/>
                  <a:pt x="3830377" y="3141184"/>
                  <a:pt x="3840675" y="3130886"/>
                </a:cubicBezTo>
                <a:cubicBezTo>
                  <a:pt x="3871569" y="3130886"/>
                  <a:pt x="3892165" y="3151483"/>
                  <a:pt x="3902463" y="3172081"/>
                </a:cubicBezTo>
                <a:cubicBezTo>
                  <a:pt x="3923059" y="3141184"/>
                  <a:pt x="3923059" y="3110288"/>
                  <a:pt x="3923059" y="3079390"/>
                </a:cubicBezTo>
                <a:cubicBezTo>
                  <a:pt x="3933357" y="3079390"/>
                  <a:pt x="3933357" y="3069092"/>
                  <a:pt x="3943655" y="3069092"/>
                </a:cubicBezTo>
                <a:cubicBezTo>
                  <a:pt x="3943655" y="3079390"/>
                  <a:pt x="3953953" y="3079390"/>
                  <a:pt x="3953953" y="3089690"/>
                </a:cubicBezTo>
                <a:cubicBezTo>
                  <a:pt x="3953953" y="3099988"/>
                  <a:pt x="3953953" y="3110288"/>
                  <a:pt x="3964251" y="3120586"/>
                </a:cubicBezTo>
                <a:cubicBezTo>
                  <a:pt x="3974549" y="3130886"/>
                  <a:pt x="3984847" y="3120586"/>
                  <a:pt x="3984847" y="3110288"/>
                </a:cubicBezTo>
                <a:cubicBezTo>
                  <a:pt x="3974549" y="3089690"/>
                  <a:pt x="3984847" y="3058793"/>
                  <a:pt x="3995145" y="3038195"/>
                </a:cubicBezTo>
                <a:cubicBezTo>
                  <a:pt x="3995145" y="3027895"/>
                  <a:pt x="3995145" y="3017597"/>
                  <a:pt x="3984847" y="3007297"/>
                </a:cubicBezTo>
                <a:cubicBezTo>
                  <a:pt x="3984847" y="2996999"/>
                  <a:pt x="3984847" y="2986700"/>
                  <a:pt x="3984847" y="2986700"/>
                </a:cubicBezTo>
                <a:cubicBezTo>
                  <a:pt x="3995145" y="2976402"/>
                  <a:pt x="4005443" y="2976402"/>
                  <a:pt x="4005443" y="2986700"/>
                </a:cubicBezTo>
                <a:cubicBezTo>
                  <a:pt x="4015741" y="2996999"/>
                  <a:pt x="4026039" y="3007297"/>
                  <a:pt x="4026039" y="3017597"/>
                </a:cubicBezTo>
                <a:cubicBezTo>
                  <a:pt x="4026039" y="3027895"/>
                  <a:pt x="4026039" y="3038195"/>
                  <a:pt x="4026039" y="3048493"/>
                </a:cubicBezTo>
                <a:cubicBezTo>
                  <a:pt x="4056933" y="3069092"/>
                  <a:pt x="4087827" y="3069092"/>
                  <a:pt x="4108423" y="3069092"/>
                </a:cubicBezTo>
                <a:cubicBezTo>
                  <a:pt x="4129019" y="3038195"/>
                  <a:pt x="4129019" y="3038195"/>
                  <a:pt x="4108423" y="3017597"/>
                </a:cubicBezTo>
                <a:cubicBezTo>
                  <a:pt x="4098125" y="3017597"/>
                  <a:pt x="4087827" y="3027895"/>
                  <a:pt x="4077529" y="3027895"/>
                </a:cubicBezTo>
                <a:cubicBezTo>
                  <a:pt x="4067231" y="3027895"/>
                  <a:pt x="4056933" y="3017597"/>
                  <a:pt x="4056933" y="3007297"/>
                </a:cubicBezTo>
                <a:cubicBezTo>
                  <a:pt x="4056933" y="2986700"/>
                  <a:pt x="4056933" y="2966102"/>
                  <a:pt x="4087827" y="2935204"/>
                </a:cubicBezTo>
                <a:cubicBezTo>
                  <a:pt x="4098125" y="2935204"/>
                  <a:pt x="4118721" y="2945504"/>
                  <a:pt x="4129019" y="2945504"/>
                </a:cubicBezTo>
                <a:cubicBezTo>
                  <a:pt x="4139317" y="2955802"/>
                  <a:pt x="4149615" y="2955802"/>
                  <a:pt x="4159913" y="2955802"/>
                </a:cubicBezTo>
                <a:cubicBezTo>
                  <a:pt x="4170211" y="2955802"/>
                  <a:pt x="4180509" y="2945504"/>
                  <a:pt x="4190807" y="2945504"/>
                </a:cubicBezTo>
                <a:lnTo>
                  <a:pt x="4190807" y="2945505"/>
                </a:lnTo>
                <a:cubicBezTo>
                  <a:pt x="4190807" y="2945505"/>
                  <a:pt x="4201105" y="2955803"/>
                  <a:pt x="4201105" y="2955803"/>
                </a:cubicBezTo>
                <a:lnTo>
                  <a:pt x="4204967" y="2964815"/>
                </a:lnTo>
                <a:cubicBezTo>
                  <a:pt x="4206254" y="2963527"/>
                  <a:pt x="4206254" y="2960952"/>
                  <a:pt x="4201105" y="2955802"/>
                </a:cubicBezTo>
                <a:cubicBezTo>
                  <a:pt x="4201105" y="2955802"/>
                  <a:pt x="4190807" y="2945504"/>
                  <a:pt x="4190807" y="2945504"/>
                </a:cubicBezTo>
                <a:cubicBezTo>
                  <a:pt x="4211403" y="2914607"/>
                  <a:pt x="4231999" y="2924906"/>
                  <a:pt x="4262893" y="2935204"/>
                </a:cubicBezTo>
                <a:cubicBezTo>
                  <a:pt x="4262893" y="2945504"/>
                  <a:pt x="4262893" y="2955802"/>
                  <a:pt x="4273191" y="2966102"/>
                </a:cubicBezTo>
                <a:lnTo>
                  <a:pt x="4265537" y="2967197"/>
                </a:lnTo>
                <a:lnTo>
                  <a:pt x="4264180" y="2967390"/>
                </a:lnTo>
                <a:lnTo>
                  <a:pt x="4264181" y="2967390"/>
                </a:lnTo>
                <a:lnTo>
                  <a:pt x="4265537" y="2967197"/>
                </a:lnTo>
                <a:lnTo>
                  <a:pt x="4273190" y="2966103"/>
                </a:lnTo>
                <a:lnTo>
                  <a:pt x="4273191" y="2966102"/>
                </a:lnTo>
                <a:cubicBezTo>
                  <a:pt x="4273191" y="2955802"/>
                  <a:pt x="4283489" y="2945504"/>
                  <a:pt x="4304085" y="2935204"/>
                </a:cubicBezTo>
                <a:cubicBezTo>
                  <a:pt x="4314383" y="2924906"/>
                  <a:pt x="4334979" y="2924906"/>
                  <a:pt x="4345277" y="2914607"/>
                </a:cubicBezTo>
                <a:cubicBezTo>
                  <a:pt x="4365873" y="2904309"/>
                  <a:pt x="4345277" y="2883711"/>
                  <a:pt x="4355575" y="2863111"/>
                </a:cubicBezTo>
                <a:cubicBezTo>
                  <a:pt x="4365873" y="2852813"/>
                  <a:pt x="4376171" y="2863111"/>
                  <a:pt x="4396767" y="2863111"/>
                </a:cubicBezTo>
                <a:cubicBezTo>
                  <a:pt x="4407065" y="2852813"/>
                  <a:pt x="4417363" y="2842515"/>
                  <a:pt x="4427661" y="2842515"/>
                </a:cubicBezTo>
                <a:close/>
                <a:moveTo>
                  <a:pt x="2532830" y="0"/>
                </a:moveTo>
                <a:cubicBezTo>
                  <a:pt x="2532830" y="0"/>
                  <a:pt x="2543128" y="0"/>
                  <a:pt x="2543128" y="0"/>
                </a:cubicBezTo>
                <a:cubicBezTo>
                  <a:pt x="2563724" y="0"/>
                  <a:pt x="2563724" y="30898"/>
                  <a:pt x="2584320" y="41196"/>
                </a:cubicBezTo>
                <a:cubicBezTo>
                  <a:pt x="2594618" y="41196"/>
                  <a:pt x="2604916" y="41196"/>
                  <a:pt x="2615214" y="30898"/>
                </a:cubicBezTo>
                <a:cubicBezTo>
                  <a:pt x="2635810" y="41196"/>
                  <a:pt x="2646108" y="51495"/>
                  <a:pt x="2656406" y="61793"/>
                </a:cubicBezTo>
                <a:cubicBezTo>
                  <a:pt x="2666704" y="72093"/>
                  <a:pt x="2656406" y="92691"/>
                  <a:pt x="2656406" y="102990"/>
                </a:cubicBezTo>
                <a:cubicBezTo>
                  <a:pt x="2656406" y="113289"/>
                  <a:pt x="2666704" y="113289"/>
                  <a:pt x="2666704" y="113289"/>
                </a:cubicBezTo>
                <a:cubicBezTo>
                  <a:pt x="2677002" y="113289"/>
                  <a:pt x="2677002" y="102990"/>
                  <a:pt x="2677002" y="92691"/>
                </a:cubicBezTo>
                <a:cubicBezTo>
                  <a:pt x="2687300" y="82393"/>
                  <a:pt x="2687300" y="72093"/>
                  <a:pt x="2697598" y="61793"/>
                </a:cubicBezTo>
                <a:cubicBezTo>
                  <a:pt x="2697598" y="51495"/>
                  <a:pt x="2707896" y="41196"/>
                  <a:pt x="2707896" y="20598"/>
                </a:cubicBezTo>
                <a:cubicBezTo>
                  <a:pt x="2718194" y="20598"/>
                  <a:pt x="2728492" y="30898"/>
                  <a:pt x="2749088" y="30898"/>
                </a:cubicBezTo>
                <a:cubicBezTo>
                  <a:pt x="2759386" y="30898"/>
                  <a:pt x="2769684" y="30898"/>
                  <a:pt x="2779982" y="30898"/>
                </a:cubicBezTo>
                <a:cubicBezTo>
                  <a:pt x="2800578" y="30898"/>
                  <a:pt x="2810876" y="41196"/>
                  <a:pt x="2821174" y="51495"/>
                </a:cubicBezTo>
                <a:cubicBezTo>
                  <a:pt x="2831472" y="61793"/>
                  <a:pt x="2831472" y="72093"/>
                  <a:pt x="2831472" y="92691"/>
                </a:cubicBezTo>
                <a:cubicBezTo>
                  <a:pt x="2841770" y="102990"/>
                  <a:pt x="2852068" y="113289"/>
                  <a:pt x="2872664" y="113289"/>
                </a:cubicBezTo>
                <a:cubicBezTo>
                  <a:pt x="2872664" y="133886"/>
                  <a:pt x="2862366" y="144186"/>
                  <a:pt x="2852068" y="154484"/>
                </a:cubicBezTo>
                <a:cubicBezTo>
                  <a:pt x="2841770" y="154484"/>
                  <a:pt x="2821174" y="154484"/>
                  <a:pt x="2810876" y="154484"/>
                </a:cubicBezTo>
                <a:cubicBezTo>
                  <a:pt x="2810876" y="154484"/>
                  <a:pt x="2810876" y="154484"/>
                  <a:pt x="2810876" y="164784"/>
                </a:cubicBezTo>
                <a:cubicBezTo>
                  <a:pt x="2810876" y="185381"/>
                  <a:pt x="2821174" y="205979"/>
                  <a:pt x="2821174" y="216279"/>
                </a:cubicBezTo>
                <a:cubicBezTo>
                  <a:pt x="2810876" y="267774"/>
                  <a:pt x="2779982" y="288372"/>
                  <a:pt x="2749088" y="308970"/>
                </a:cubicBezTo>
                <a:cubicBezTo>
                  <a:pt x="2738790" y="339865"/>
                  <a:pt x="2728492" y="370763"/>
                  <a:pt x="2718194" y="401660"/>
                </a:cubicBezTo>
                <a:cubicBezTo>
                  <a:pt x="2718194" y="401660"/>
                  <a:pt x="2707896" y="411958"/>
                  <a:pt x="2697598" y="422258"/>
                </a:cubicBezTo>
                <a:cubicBezTo>
                  <a:pt x="2687300" y="422258"/>
                  <a:pt x="2687300" y="422258"/>
                  <a:pt x="2666704" y="432556"/>
                </a:cubicBezTo>
                <a:cubicBezTo>
                  <a:pt x="2656406" y="442856"/>
                  <a:pt x="2646108" y="463454"/>
                  <a:pt x="2635810" y="484051"/>
                </a:cubicBezTo>
                <a:cubicBezTo>
                  <a:pt x="2625512" y="494351"/>
                  <a:pt x="2604916" y="494351"/>
                  <a:pt x="2594618" y="504649"/>
                </a:cubicBezTo>
                <a:cubicBezTo>
                  <a:pt x="2584320" y="514949"/>
                  <a:pt x="2584320" y="535547"/>
                  <a:pt x="2574022" y="545845"/>
                </a:cubicBezTo>
                <a:cubicBezTo>
                  <a:pt x="2563724" y="566444"/>
                  <a:pt x="2553426" y="576742"/>
                  <a:pt x="2543128" y="576742"/>
                </a:cubicBezTo>
                <a:cubicBezTo>
                  <a:pt x="2543128" y="576742"/>
                  <a:pt x="2532830" y="587042"/>
                  <a:pt x="2532830" y="587042"/>
                </a:cubicBezTo>
                <a:cubicBezTo>
                  <a:pt x="2522532" y="617938"/>
                  <a:pt x="2491638" y="628238"/>
                  <a:pt x="2471042" y="659133"/>
                </a:cubicBezTo>
                <a:cubicBezTo>
                  <a:pt x="2481340" y="679732"/>
                  <a:pt x="2491638" y="679732"/>
                  <a:pt x="2501936" y="690031"/>
                </a:cubicBezTo>
                <a:cubicBezTo>
                  <a:pt x="2491638" y="700331"/>
                  <a:pt x="2491638" y="710628"/>
                  <a:pt x="2471042" y="720928"/>
                </a:cubicBezTo>
                <a:cubicBezTo>
                  <a:pt x="2460744" y="751825"/>
                  <a:pt x="2450446" y="793021"/>
                  <a:pt x="2450446" y="834217"/>
                </a:cubicBezTo>
                <a:cubicBezTo>
                  <a:pt x="2429850" y="844515"/>
                  <a:pt x="2419552" y="854814"/>
                  <a:pt x="2398956" y="865112"/>
                </a:cubicBezTo>
                <a:cubicBezTo>
                  <a:pt x="2398956" y="875412"/>
                  <a:pt x="2398956" y="885712"/>
                  <a:pt x="2409254" y="906310"/>
                </a:cubicBezTo>
                <a:cubicBezTo>
                  <a:pt x="2398956" y="926908"/>
                  <a:pt x="2378360" y="947505"/>
                  <a:pt x="2368062" y="968103"/>
                </a:cubicBezTo>
                <a:cubicBezTo>
                  <a:pt x="2357764" y="968103"/>
                  <a:pt x="2357764" y="978403"/>
                  <a:pt x="2347466" y="988701"/>
                </a:cubicBezTo>
                <a:cubicBezTo>
                  <a:pt x="2326870" y="999001"/>
                  <a:pt x="2306274" y="1009298"/>
                  <a:pt x="2285678" y="1019598"/>
                </a:cubicBezTo>
                <a:cubicBezTo>
                  <a:pt x="2265082" y="1050495"/>
                  <a:pt x="2254784" y="1081391"/>
                  <a:pt x="2223890" y="1112289"/>
                </a:cubicBezTo>
                <a:cubicBezTo>
                  <a:pt x="2213592" y="1122588"/>
                  <a:pt x="2203294" y="1122588"/>
                  <a:pt x="2182698" y="1132887"/>
                </a:cubicBezTo>
                <a:cubicBezTo>
                  <a:pt x="2172400" y="1153484"/>
                  <a:pt x="2162102" y="1184382"/>
                  <a:pt x="2162102" y="1204980"/>
                </a:cubicBezTo>
                <a:cubicBezTo>
                  <a:pt x="2172400" y="1225577"/>
                  <a:pt x="2182698" y="1225577"/>
                  <a:pt x="2192996" y="1225577"/>
                </a:cubicBezTo>
                <a:cubicBezTo>
                  <a:pt x="2192996" y="1225577"/>
                  <a:pt x="2203294" y="1215278"/>
                  <a:pt x="2203294" y="1215278"/>
                </a:cubicBezTo>
                <a:cubicBezTo>
                  <a:pt x="2203294" y="1194681"/>
                  <a:pt x="2203294" y="1184382"/>
                  <a:pt x="2203294" y="1174082"/>
                </a:cubicBezTo>
                <a:cubicBezTo>
                  <a:pt x="2213592" y="1153484"/>
                  <a:pt x="2244486" y="1163782"/>
                  <a:pt x="2265082" y="1153484"/>
                </a:cubicBezTo>
                <a:cubicBezTo>
                  <a:pt x="2275380" y="1143185"/>
                  <a:pt x="2275380" y="1132887"/>
                  <a:pt x="2275380" y="1112289"/>
                </a:cubicBezTo>
                <a:cubicBezTo>
                  <a:pt x="2275380" y="1101989"/>
                  <a:pt x="2285678" y="1101989"/>
                  <a:pt x="2306274" y="1091691"/>
                </a:cubicBezTo>
                <a:cubicBezTo>
                  <a:pt x="2326870" y="1122588"/>
                  <a:pt x="2316572" y="1153484"/>
                  <a:pt x="2306274" y="1174082"/>
                </a:cubicBezTo>
                <a:cubicBezTo>
                  <a:pt x="2295976" y="1194681"/>
                  <a:pt x="2275380" y="1194681"/>
                  <a:pt x="2265082" y="1194681"/>
                </a:cubicBezTo>
                <a:cubicBezTo>
                  <a:pt x="2254784" y="1194681"/>
                  <a:pt x="2254784" y="1204980"/>
                  <a:pt x="2254784" y="1204980"/>
                </a:cubicBezTo>
                <a:cubicBezTo>
                  <a:pt x="2244486" y="1225577"/>
                  <a:pt x="2244486" y="1246175"/>
                  <a:pt x="2244486" y="1256473"/>
                </a:cubicBezTo>
                <a:cubicBezTo>
                  <a:pt x="2234188" y="1266773"/>
                  <a:pt x="2223890" y="1277073"/>
                  <a:pt x="2213592" y="1277073"/>
                </a:cubicBezTo>
                <a:cubicBezTo>
                  <a:pt x="2203294" y="1277073"/>
                  <a:pt x="2192996" y="1266773"/>
                  <a:pt x="2182698" y="1266773"/>
                </a:cubicBezTo>
                <a:cubicBezTo>
                  <a:pt x="2182698" y="1266773"/>
                  <a:pt x="2172400" y="1277073"/>
                  <a:pt x="2162102" y="1277073"/>
                </a:cubicBezTo>
                <a:cubicBezTo>
                  <a:pt x="2151804" y="1277073"/>
                  <a:pt x="2141506" y="1277073"/>
                  <a:pt x="2141506" y="1277073"/>
                </a:cubicBezTo>
                <a:cubicBezTo>
                  <a:pt x="2131208" y="1277073"/>
                  <a:pt x="2120910" y="1266773"/>
                  <a:pt x="2110612" y="1266773"/>
                </a:cubicBezTo>
                <a:cubicBezTo>
                  <a:pt x="2100314" y="1287371"/>
                  <a:pt x="2120910" y="1307968"/>
                  <a:pt x="2100314" y="1328566"/>
                </a:cubicBezTo>
                <a:cubicBezTo>
                  <a:pt x="2090016" y="1349165"/>
                  <a:pt x="2059122" y="1328566"/>
                  <a:pt x="2038526" y="1349165"/>
                </a:cubicBezTo>
                <a:cubicBezTo>
                  <a:pt x="2028228" y="1380061"/>
                  <a:pt x="2069420" y="1390361"/>
                  <a:pt x="2069420" y="1421258"/>
                </a:cubicBezTo>
                <a:cubicBezTo>
                  <a:pt x="2048824" y="1431557"/>
                  <a:pt x="2038526" y="1410959"/>
                  <a:pt x="2028228" y="1410959"/>
                </a:cubicBezTo>
                <a:cubicBezTo>
                  <a:pt x="2007632" y="1410959"/>
                  <a:pt x="1987036" y="1400659"/>
                  <a:pt x="1976738" y="1400659"/>
                </a:cubicBezTo>
                <a:cubicBezTo>
                  <a:pt x="1966440" y="1410959"/>
                  <a:pt x="1956142" y="1421258"/>
                  <a:pt x="1956142" y="1441855"/>
                </a:cubicBezTo>
                <a:cubicBezTo>
                  <a:pt x="1956142" y="1431557"/>
                  <a:pt x="1956142" y="1431557"/>
                  <a:pt x="1956142" y="1431557"/>
                </a:cubicBezTo>
                <a:cubicBezTo>
                  <a:pt x="1945844" y="1441855"/>
                  <a:pt x="1935546" y="1452154"/>
                  <a:pt x="1925248" y="1462452"/>
                </a:cubicBezTo>
                <a:cubicBezTo>
                  <a:pt x="1914950" y="1483052"/>
                  <a:pt x="1914950" y="1503650"/>
                  <a:pt x="1925248" y="1524247"/>
                </a:cubicBezTo>
                <a:cubicBezTo>
                  <a:pt x="1935546" y="1544845"/>
                  <a:pt x="1935546" y="1565444"/>
                  <a:pt x="1935546" y="1596340"/>
                </a:cubicBezTo>
                <a:cubicBezTo>
                  <a:pt x="1925248" y="1596340"/>
                  <a:pt x="1914950" y="1586041"/>
                  <a:pt x="1904652" y="1586041"/>
                </a:cubicBezTo>
                <a:cubicBezTo>
                  <a:pt x="1904652" y="1596340"/>
                  <a:pt x="1894354" y="1606638"/>
                  <a:pt x="1894354" y="1616938"/>
                </a:cubicBezTo>
                <a:cubicBezTo>
                  <a:pt x="1884056" y="1616938"/>
                  <a:pt x="1873758" y="1616938"/>
                  <a:pt x="1863460" y="1627236"/>
                </a:cubicBezTo>
                <a:cubicBezTo>
                  <a:pt x="1842864" y="1637536"/>
                  <a:pt x="1811970" y="1658134"/>
                  <a:pt x="1791374" y="1678731"/>
                </a:cubicBezTo>
                <a:cubicBezTo>
                  <a:pt x="1781076" y="1689031"/>
                  <a:pt x="1791374" y="1689031"/>
                  <a:pt x="1791374" y="1699329"/>
                </a:cubicBezTo>
                <a:cubicBezTo>
                  <a:pt x="1811970" y="1699329"/>
                  <a:pt x="1842864" y="1699329"/>
                  <a:pt x="1853162" y="1678731"/>
                </a:cubicBezTo>
                <a:cubicBezTo>
                  <a:pt x="1884056" y="1658134"/>
                  <a:pt x="1914950" y="1647835"/>
                  <a:pt x="1956142" y="1637536"/>
                </a:cubicBezTo>
                <a:cubicBezTo>
                  <a:pt x="1976738" y="1647835"/>
                  <a:pt x="2007632" y="1647835"/>
                  <a:pt x="2038526" y="1658134"/>
                </a:cubicBezTo>
                <a:cubicBezTo>
                  <a:pt x="2048824" y="1668432"/>
                  <a:pt x="2059122" y="1689031"/>
                  <a:pt x="2059122" y="1699329"/>
                </a:cubicBezTo>
                <a:cubicBezTo>
                  <a:pt x="2069420" y="1709629"/>
                  <a:pt x="2100314" y="1709629"/>
                  <a:pt x="2100314" y="1730227"/>
                </a:cubicBezTo>
                <a:cubicBezTo>
                  <a:pt x="2100314" y="1730227"/>
                  <a:pt x="2100314" y="1740525"/>
                  <a:pt x="2100314" y="1740525"/>
                </a:cubicBezTo>
                <a:cubicBezTo>
                  <a:pt x="2059122" y="1761122"/>
                  <a:pt x="2038526" y="1792021"/>
                  <a:pt x="2038526" y="1833215"/>
                </a:cubicBezTo>
                <a:cubicBezTo>
                  <a:pt x="2038526" y="1843515"/>
                  <a:pt x="2028228" y="1843515"/>
                  <a:pt x="2028228" y="1853813"/>
                </a:cubicBezTo>
                <a:cubicBezTo>
                  <a:pt x="1997334" y="1843515"/>
                  <a:pt x="1976738" y="1833215"/>
                  <a:pt x="1945844" y="1833215"/>
                </a:cubicBezTo>
                <a:cubicBezTo>
                  <a:pt x="1935546" y="1864114"/>
                  <a:pt x="1925248" y="1895010"/>
                  <a:pt x="1914950" y="1915608"/>
                </a:cubicBezTo>
                <a:cubicBezTo>
                  <a:pt x="1914950" y="1956804"/>
                  <a:pt x="1914950" y="1987701"/>
                  <a:pt x="1914950" y="2028897"/>
                </a:cubicBezTo>
                <a:cubicBezTo>
                  <a:pt x="1914950" y="2059792"/>
                  <a:pt x="1914950" y="2090691"/>
                  <a:pt x="1914950" y="2121587"/>
                </a:cubicBezTo>
                <a:cubicBezTo>
                  <a:pt x="1935546" y="2121587"/>
                  <a:pt x="1945844" y="2121587"/>
                  <a:pt x="1945844" y="2121587"/>
                </a:cubicBezTo>
                <a:cubicBezTo>
                  <a:pt x="1956142" y="2121587"/>
                  <a:pt x="1966440" y="2111288"/>
                  <a:pt x="1966440" y="2111288"/>
                </a:cubicBezTo>
                <a:cubicBezTo>
                  <a:pt x="1976738" y="2121587"/>
                  <a:pt x="1987036" y="2121587"/>
                  <a:pt x="2007632" y="2131885"/>
                </a:cubicBezTo>
                <a:cubicBezTo>
                  <a:pt x="2007632" y="2121587"/>
                  <a:pt x="2017930" y="2121587"/>
                  <a:pt x="2017930" y="2111288"/>
                </a:cubicBezTo>
                <a:cubicBezTo>
                  <a:pt x="2007632" y="2100990"/>
                  <a:pt x="2007632" y="2090691"/>
                  <a:pt x="2007632" y="2070092"/>
                </a:cubicBezTo>
                <a:cubicBezTo>
                  <a:pt x="2007632" y="2059792"/>
                  <a:pt x="2017930" y="2059792"/>
                  <a:pt x="2028228" y="2049494"/>
                </a:cubicBezTo>
                <a:cubicBezTo>
                  <a:pt x="2038526" y="2059792"/>
                  <a:pt x="2059122" y="2070092"/>
                  <a:pt x="2069420" y="2080392"/>
                </a:cubicBezTo>
                <a:cubicBezTo>
                  <a:pt x="2090016" y="2070092"/>
                  <a:pt x="2120910" y="2059792"/>
                  <a:pt x="2141506" y="2039195"/>
                </a:cubicBezTo>
                <a:cubicBezTo>
                  <a:pt x="2141506" y="2028897"/>
                  <a:pt x="2141506" y="2018598"/>
                  <a:pt x="2141506" y="2008299"/>
                </a:cubicBezTo>
                <a:cubicBezTo>
                  <a:pt x="2151804" y="1997999"/>
                  <a:pt x="2162102" y="1997999"/>
                  <a:pt x="2172400" y="2008299"/>
                </a:cubicBezTo>
                <a:cubicBezTo>
                  <a:pt x="2172400" y="2018598"/>
                  <a:pt x="2172400" y="2039195"/>
                  <a:pt x="2182698" y="2059792"/>
                </a:cubicBezTo>
                <a:cubicBezTo>
                  <a:pt x="2182698" y="2059792"/>
                  <a:pt x="2192996" y="2070092"/>
                  <a:pt x="2192996" y="2070092"/>
                </a:cubicBezTo>
                <a:cubicBezTo>
                  <a:pt x="2223890" y="2070092"/>
                  <a:pt x="2244486" y="2059792"/>
                  <a:pt x="2275380" y="2059792"/>
                </a:cubicBezTo>
                <a:cubicBezTo>
                  <a:pt x="2295976" y="2059792"/>
                  <a:pt x="2316572" y="2070092"/>
                  <a:pt x="2337168" y="2070092"/>
                </a:cubicBezTo>
                <a:cubicBezTo>
                  <a:pt x="2347466" y="2070092"/>
                  <a:pt x="2357764" y="2059792"/>
                  <a:pt x="2357764" y="2049494"/>
                </a:cubicBezTo>
                <a:cubicBezTo>
                  <a:pt x="2357764" y="2039195"/>
                  <a:pt x="2347466" y="2028897"/>
                  <a:pt x="2347466" y="2018598"/>
                </a:cubicBezTo>
                <a:cubicBezTo>
                  <a:pt x="2316572" y="1997999"/>
                  <a:pt x="2295976" y="1987701"/>
                  <a:pt x="2275380" y="1967103"/>
                </a:cubicBezTo>
                <a:cubicBezTo>
                  <a:pt x="2244486" y="1967103"/>
                  <a:pt x="2223890" y="1967103"/>
                  <a:pt x="2192996" y="1956804"/>
                </a:cubicBezTo>
                <a:cubicBezTo>
                  <a:pt x="2192996" y="1946504"/>
                  <a:pt x="2213592" y="1936207"/>
                  <a:pt x="2213592" y="1936207"/>
                </a:cubicBezTo>
                <a:cubicBezTo>
                  <a:pt x="2244486" y="1936207"/>
                  <a:pt x="2265082" y="1936207"/>
                  <a:pt x="2295976" y="1925906"/>
                </a:cubicBezTo>
                <a:cubicBezTo>
                  <a:pt x="2306274" y="1925906"/>
                  <a:pt x="2326870" y="1925906"/>
                  <a:pt x="2337168" y="1936207"/>
                </a:cubicBezTo>
                <a:cubicBezTo>
                  <a:pt x="2368062" y="1915608"/>
                  <a:pt x="2357764" y="1884711"/>
                  <a:pt x="2357764" y="1853813"/>
                </a:cubicBezTo>
                <a:cubicBezTo>
                  <a:pt x="2368062" y="1853813"/>
                  <a:pt x="2378360" y="1853813"/>
                  <a:pt x="2378360" y="1853813"/>
                </a:cubicBezTo>
                <a:cubicBezTo>
                  <a:pt x="2398956" y="1853813"/>
                  <a:pt x="2409254" y="1864114"/>
                  <a:pt x="2419552" y="1864114"/>
                </a:cubicBezTo>
                <a:cubicBezTo>
                  <a:pt x="2429850" y="1864114"/>
                  <a:pt x="2450446" y="1864114"/>
                  <a:pt x="2460744" y="1864114"/>
                </a:cubicBezTo>
                <a:cubicBezTo>
                  <a:pt x="2471042" y="1884711"/>
                  <a:pt x="2481340" y="1895010"/>
                  <a:pt x="2491638" y="1915608"/>
                </a:cubicBezTo>
                <a:cubicBezTo>
                  <a:pt x="2501936" y="1915608"/>
                  <a:pt x="2501936" y="1915608"/>
                  <a:pt x="2512234" y="1915608"/>
                </a:cubicBezTo>
                <a:cubicBezTo>
                  <a:pt x="2522532" y="1915608"/>
                  <a:pt x="2543128" y="1915608"/>
                  <a:pt x="2553426" y="1915608"/>
                </a:cubicBezTo>
                <a:cubicBezTo>
                  <a:pt x="2604916" y="1925906"/>
                  <a:pt x="2646108" y="1925906"/>
                  <a:pt x="2697598" y="1915608"/>
                </a:cubicBezTo>
                <a:cubicBezTo>
                  <a:pt x="2697598" y="1915608"/>
                  <a:pt x="2707896" y="1905308"/>
                  <a:pt x="2707896" y="1895010"/>
                </a:cubicBezTo>
                <a:cubicBezTo>
                  <a:pt x="2677002" y="1864114"/>
                  <a:pt x="2635810" y="1864114"/>
                  <a:pt x="2604916" y="1884711"/>
                </a:cubicBezTo>
                <a:cubicBezTo>
                  <a:pt x="2574022" y="1884711"/>
                  <a:pt x="2584320" y="1853813"/>
                  <a:pt x="2543128" y="1833215"/>
                </a:cubicBezTo>
                <a:cubicBezTo>
                  <a:pt x="2543128" y="1833215"/>
                  <a:pt x="2522532" y="1822917"/>
                  <a:pt x="2501936" y="1812618"/>
                </a:cubicBezTo>
                <a:cubicBezTo>
                  <a:pt x="2512234" y="1802320"/>
                  <a:pt x="2512234" y="1802320"/>
                  <a:pt x="2522532" y="1792021"/>
                </a:cubicBezTo>
                <a:cubicBezTo>
                  <a:pt x="2543128" y="1792021"/>
                  <a:pt x="2563724" y="1781722"/>
                  <a:pt x="2594618" y="1781722"/>
                </a:cubicBezTo>
                <a:cubicBezTo>
                  <a:pt x="2615214" y="1781722"/>
                  <a:pt x="2635810" y="1792021"/>
                  <a:pt x="2656406" y="1802320"/>
                </a:cubicBezTo>
                <a:cubicBezTo>
                  <a:pt x="2666704" y="1792021"/>
                  <a:pt x="2687300" y="1781722"/>
                  <a:pt x="2718194" y="1771422"/>
                </a:cubicBezTo>
                <a:cubicBezTo>
                  <a:pt x="2759386" y="1792021"/>
                  <a:pt x="2810876" y="1792021"/>
                  <a:pt x="2862366" y="1792021"/>
                </a:cubicBezTo>
                <a:cubicBezTo>
                  <a:pt x="2882962" y="1792021"/>
                  <a:pt x="2903558" y="1792021"/>
                  <a:pt x="2913856" y="1781722"/>
                </a:cubicBezTo>
                <a:cubicBezTo>
                  <a:pt x="2934452" y="1771422"/>
                  <a:pt x="2955048" y="1781722"/>
                  <a:pt x="2975644" y="1761122"/>
                </a:cubicBezTo>
                <a:cubicBezTo>
                  <a:pt x="2955048" y="1740525"/>
                  <a:pt x="2924154" y="1750824"/>
                  <a:pt x="2903558" y="1750824"/>
                </a:cubicBezTo>
                <a:cubicBezTo>
                  <a:pt x="2872664" y="1750824"/>
                  <a:pt x="2852068" y="1750824"/>
                  <a:pt x="2821174" y="1750824"/>
                </a:cubicBezTo>
                <a:cubicBezTo>
                  <a:pt x="2821174" y="1719928"/>
                  <a:pt x="2841770" y="1719928"/>
                  <a:pt x="2852068" y="1719928"/>
                </a:cubicBezTo>
                <a:cubicBezTo>
                  <a:pt x="2893260" y="1699329"/>
                  <a:pt x="2924154" y="1719928"/>
                  <a:pt x="2955048" y="1699329"/>
                </a:cubicBezTo>
                <a:cubicBezTo>
                  <a:pt x="2975644" y="1699329"/>
                  <a:pt x="2965346" y="1678731"/>
                  <a:pt x="2975644" y="1668432"/>
                </a:cubicBezTo>
                <a:cubicBezTo>
                  <a:pt x="2975644" y="1658134"/>
                  <a:pt x="2985942" y="1658134"/>
                  <a:pt x="2985942" y="1647835"/>
                </a:cubicBezTo>
                <a:cubicBezTo>
                  <a:pt x="3006538" y="1637536"/>
                  <a:pt x="3027134" y="1647835"/>
                  <a:pt x="3047730" y="1647835"/>
                </a:cubicBezTo>
                <a:cubicBezTo>
                  <a:pt x="3047730" y="1637536"/>
                  <a:pt x="3058028" y="1637536"/>
                  <a:pt x="3058028" y="1627236"/>
                </a:cubicBezTo>
                <a:cubicBezTo>
                  <a:pt x="3058028" y="1616938"/>
                  <a:pt x="3047730" y="1606638"/>
                  <a:pt x="3047730" y="1596340"/>
                </a:cubicBezTo>
                <a:cubicBezTo>
                  <a:pt x="3058028" y="1596340"/>
                  <a:pt x="3058028" y="1586041"/>
                  <a:pt x="3068325" y="1586041"/>
                </a:cubicBezTo>
                <a:cubicBezTo>
                  <a:pt x="3088921" y="1575741"/>
                  <a:pt x="3109517" y="1575741"/>
                  <a:pt x="3130113" y="1575741"/>
                </a:cubicBezTo>
                <a:cubicBezTo>
                  <a:pt x="3140411" y="1555143"/>
                  <a:pt x="3119815" y="1544845"/>
                  <a:pt x="3119815" y="1534545"/>
                </a:cubicBezTo>
                <a:cubicBezTo>
                  <a:pt x="3150709" y="1503650"/>
                  <a:pt x="3181603" y="1524247"/>
                  <a:pt x="3202199" y="1503650"/>
                </a:cubicBezTo>
                <a:cubicBezTo>
                  <a:pt x="3222795" y="1493351"/>
                  <a:pt x="3243391" y="1513948"/>
                  <a:pt x="3263987" y="1493351"/>
                </a:cubicBezTo>
                <a:cubicBezTo>
                  <a:pt x="3253689" y="1462452"/>
                  <a:pt x="3222795" y="1483052"/>
                  <a:pt x="3202199" y="1462452"/>
                </a:cubicBezTo>
                <a:cubicBezTo>
                  <a:pt x="3202199" y="1452154"/>
                  <a:pt x="3202199" y="1441855"/>
                  <a:pt x="3212497" y="1441855"/>
                </a:cubicBezTo>
                <a:cubicBezTo>
                  <a:pt x="3243391" y="1431557"/>
                  <a:pt x="3274285" y="1431557"/>
                  <a:pt x="3305179" y="1441855"/>
                </a:cubicBezTo>
                <a:cubicBezTo>
                  <a:pt x="3305179" y="1441855"/>
                  <a:pt x="3315477" y="1441855"/>
                  <a:pt x="3315477" y="1441855"/>
                </a:cubicBezTo>
                <a:cubicBezTo>
                  <a:pt x="3325775" y="1431557"/>
                  <a:pt x="3325775" y="1421258"/>
                  <a:pt x="3315477" y="1410959"/>
                </a:cubicBezTo>
                <a:cubicBezTo>
                  <a:pt x="3305179" y="1410959"/>
                  <a:pt x="3294881" y="1410959"/>
                  <a:pt x="3284583" y="1410959"/>
                </a:cubicBezTo>
                <a:cubicBezTo>
                  <a:pt x="3274285" y="1410959"/>
                  <a:pt x="3263987" y="1400659"/>
                  <a:pt x="3263987" y="1380061"/>
                </a:cubicBezTo>
                <a:cubicBezTo>
                  <a:pt x="3263987" y="1380061"/>
                  <a:pt x="3274285" y="1369762"/>
                  <a:pt x="3284583" y="1369762"/>
                </a:cubicBezTo>
                <a:cubicBezTo>
                  <a:pt x="3305179" y="1359464"/>
                  <a:pt x="3325775" y="1369762"/>
                  <a:pt x="3346371" y="1359464"/>
                </a:cubicBezTo>
                <a:lnTo>
                  <a:pt x="3346375" y="1359466"/>
                </a:lnTo>
                <a:lnTo>
                  <a:pt x="3356669" y="1359466"/>
                </a:lnTo>
                <a:cubicBezTo>
                  <a:pt x="3359244" y="1359466"/>
                  <a:pt x="3361818" y="1359466"/>
                  <a:pt x="3366967" y="1359466"/>
                </a:cubicBezTo>
                <a:cubicBezTo>
                  <a:pt x="3366967" y="1359466"/>
                  <a:pt x="3369542" y="1359466"/>
                  <a:pt x="3372116" y="1359466"/>
                </a:cubicBezTo>
                <a:lnTo>
                  <a:pt x="3377264" y="1359466"/>
                </a:lnTo>
                <a:lnTo>
                  <a:pt x="3377265" y="1359464"/>
                </a:lnTo>
                <a:cubicBezTo>
                  <a:pt x="3377265" y="1359464"/>
                  <a:pt x="3366967" y="1359464"/>
                  <a:pt x="3366967" y="1359464"/>
                </a:cubicBezTo>
                <a:cubicBezTo>
                  <a:pt x="3356669" y="1359464"/>
                  <a:pt x="3356669" y="1359464"/>
                  <a:pt x="3346371" y="1359464"/>
                </a:cubicBezTo>
                <a:cubicBezTo>
                  <a:pt x="3356669" y="1318268"/>
                  <a:pt x="3356669" y="1318268"/>
                  <a:pt x="3377265" y="1307968"/>
                </a:cubicBezTo>
                <a:cubicBezTo>
                  <a:pt x="3397861" y="1307968"/>
                  <a:pt x="3408159" y="1307968"/>
                  <a:pt x="3428755" y="1318268"/>
                </a:cubicBezTo>
                <a:cubicBezTo>
                  <a:pt x="3439053" y="1307968"/>
                  <a:pt x="3439053" y="1297671"/>
                  <a:pt x="3449351" y="1297671"/>
                </a:cubicBezTo>
                <a:cubicBezTo>
                  <a:pt x="3459649" y="1277073"/>
                  <a:pt x="3439053" y="1266773"/>
                  <a:pt x="3459649" y="1246175"/>
                </a:cubicBezTo>
                <a:cubicBezTo>
                  <a:pt x="3469947" y="1246175"/>
                  <a:pt x="3490543" y="1235875"/>
                  <a:pt x="3500841" y="1235875"/>
                </a:cubicBezTo>
                <a:cubicBezTo>
                  <a:pt x="3531735" y="1215278"/>
                  <a:pt x="3521437" y="1194681"/>
                  <a:pt x="3531735" y="1174082"/>
                </a:cubicBezTo>
                <a:cubicBezTo>
                  <a:pt x="3542033" y="1174082"/>
                  <a:pt x="3552331" y="1174082"/>
                  <a:pt x="3572927" y="1174082"/>
                </a:cubicBezTo>
                <a:cubicBezTo>
                  <a:pt x="3583225" y="1153484"/>
                  <a:pt x="3593523" y="1132887"/>
                  <a:pt x="3603821" y="1112289"/>
                </a:cubicBezTo>
                <a:cubicBezTo>
                  <a:pt x="3614119" y="1112289"/>
                  <a:pt x="3624417" y="1112289"/>
                  <a:pt x="3645013" y="1112289"/>
                </a:cubicBezTo>
                <a:cubicBezTo>
                  <a:pt x="3655311" y="1101989"/>
                  <a:pt x="3645013" y="1081391"/>
                  <a:pt x="3655311" y="1071094"/>
                </a:cubicBezTo>
                <a:cubicBezTo>
                  <a:pt x="3655311" y="1060794"/>
                  <a:pt x="3665609" y="1060794"/>
                  <a:pt x="3665609" y="1050495"/>
                </a:cubicBezTo>
                <a:cubicBezTo>
                  <a:pt x="3696503" y="1040196"/>
                  <a:pt x="3717099" y="1029896"/>
                  <a:pt x="3737695" y="1029896"/>
                </a:cubicBezTo>
                <a:lnTo>
                  <a:pt x="3737695" y="1050495"/>
                </a:lnTo>
                <a:cubicBezTo>
                  <a:pt x="3696503" y="1101989"/>
                  <a:pt x="3655311" y="1153484"/>
                  <a:pt x="3624417" y="1204980"/>
                </a:cubicBezTo>
                <a:cubicBezTo>
                  <a:pt x="3614119" y="1215278"/>
                  <a:pt x="3603821" y="1225577"/>
                  <a:pt x="3593523" y="1235875"/>
                </a:cubicBezTo>
                <a:cubicBezTo>
                  <a:pt x="3572927" y="1266773"/>
                  <a:pt x="3552331" y="1297671"/>
                  <a:pt x="3542033" y="1328566"/>
                </a:cubicBezTo>
                <a:cubicBezTo>
                  <a:pt x="3531735" y="1338866"/>
                  <a:pt x="3511139" y="1338866"/>
                  <a:pt x="3511139" y="1349165"/>
                </a:cubicBezTo>
                <a:cubicBezTo>
                  <a:pt x="3469947" y="1400659"/>
                  <a:pt x="3428755" y="1441855"/>
                  <a:pt x="3408159" y="1503650"/>
                </a:cubicBezTo>
                <a:cubicBezTo>
                  <a:pt x="3408159" y="1513948"/>
                  <a:pt x="3408159" y="1534545"/>
                  <a:pt x="3408159" y="1555143"/>
                </a:cubicBezTo>
                <a:cubicBezTo>
                  <a:pt x="3397861" y="1544845"/>
                  <a:pt x="3387563" y="1544845"/>
                  <a:pt x="3377265" y="1544845"/>
                </a:cubicBezTo>
                <a:cubicBezTo>
                  <a:pt x="3372116" y="1549995"/>
                  <a:pt x="3368254" y="1553857"/>
                  <a:pt x="3365358" y="1557076"/>
                </a:cubicBezTo>
                <a:lnTo>
                  <a:pt x="3363650" y="1559413"/>
                </a:lnTo>
                <a:lnTo>
                  <a:pt x="3361697" y="1561502"/>
                </a:lnTo>
                <a:lnTo>
                  <a:pt x="3361230" y="1562725"/>
                </a:lnTo>
                <a:lnTo>
                  <a:pt x="3359244" y="1565444"/>
                </a:lnTo>
                <a:cubicBezTo>
                  <a:pt x="3356669" y="1570593"/>
                  <a:pt x="3356669" y="1575742"/>
                  <a:pt x="3356669" y="1586041"/>
                </a:cubicBezTo>
                <a:lnTo>
                  <a:pt x="3356991" y="1573812"/>
                </a:lnTo>
                <a:lnTo>
                  <a:pt x="3361230" y="1562725"/>
                </a:lnTo>
                <a:lnTo>
                  <a:pt x="3363650" y="1559413"/>
                </a:lnTo>
                <a:lnTo>
                  <a:pt x="3377265" y="1544846"/>
                </a:lnTo>
                <a:cubicBezTo>
                  <a:pt x="3382414" y="1544846"/>
                  <a:pt x="3387563" y="1544846"/>
                  <a:pt x="3392712" y="1546135"/>
                </a:cubicBezTo>
                <a:lnTo>
                  <a:pt x="3408158" y="1555145"/>
                </a:lnTo>
                <a:lnTo>
                  <a:pt x="3408159" y="1555143"/>
                </a:lnTo>
                <a:cubicBezTo>
                  <a:pt x="3418457" y="1565444"/>
                  <a:pt x="3428755" y="1565444"/>
                  <a:pt x="3428755" y="1575741"/>
                </a:cubicBezTo>
                <a:cubicBezTo>
                  <a:pt x="3449351" y="1565444"/>
                  <a:pt x="3469947" y="1555143"/>
                  <a:pt x="3480245" y="1555143"/>
                </a:cubicBezTo>
                <a:cubicBezTo>
                  <a:pt x="3490543" y="1544845"/>
                  <a:pt x="3500841" y="1534545"/>
                  <a:pt x="3500841" y="1534545"/>
                </a:cubicBezTo>
                <a:cubicBezTo>
                  <a:pt x="3511139" y="1534545"/>
                  <a:pt x="3521437" y="1534545"/>
                  <a:pt x="3531735" y="1534545"/>
                </a:cubicBezTo>
                <a:cubicBezTo>
                  <a:pt x="3542033" y="1534545"/>
                  <a:pt x="3552331" y="1524247"/>
                  <a:pt x="3562629" y="1513948"/>
                </a:cubicBezTo>
                <a:cubicBezTo>
                  <a:pt x="3572927" y="1503650"/>
                  <a:pt x="3572927" y="1503650"/>
                  <a:pt x="3562629" y="1493351"/>
                </a:cubicBezTo>
                <a:cubicBezTo>
                  <a:pt x="3562629" y="1483052"/>
                  <a:pt x="3572927" y="1462452"/>
                  <a:pt x="3583225" y="1452154"/>
                </a:cubicBezTo>
                <a:cubicBezTo>
                  <a:pt x="3593523" y="1441855"/>
                  <a:pt x="3603821" y="1441855"/>
                  <a:pt x="3624417" y="1441855"/>
                </a:cubicBezTo>
                <a:cubicBezTo>
                  <a:pt x="3634715" y="1421258"/>
                  <a:pt x="3645013" y="1410959"/>
                  <a:pt x="3665609" y="1390361"/>
                </a:cubicBezTo>
                <a:cubicBezTo>
                  <a:pt x="3686205" y="1380061"/>
                  <a:pt x="3706801" y="1380061"/>
                  <a:pt x="3727397" y="1369762"/>
                </a:cubicBezTo>
                <a:cubicBezTo>
                  <a:pt x="3737695" y="1359464"/>
                  <a:pt x="3737695" y="1349165"/>
                  <a:pt x="3747993" y="1338866"/>
                </a:cubicBezTo>
                <a:cubicBezTo>
                  <a:pt x="3768589" y="1328566"/>
                  <a:pt x="3789185" y="1328566"/>
                  <a:pt x="3799483" y="1307968"/>
                </a:cubicBezTo>
                <a:cubicBezTo>
                  <a:pt x="3820079" y="1277073"/>
                  <a:pt x="3850973" y="1256473"/>
                  <a:pt x="3881867" y="1235875"/>
                </a:cubicBezTo>
                <a:cubicBezTo>
                  <a:pt x="3902463" y="1246175"/>
                  <a:pt x="3892165" y="1256473"/>
                  <a:pt x="3892165" y="1266773"/>
                </a:cubicBezTo>
                <a:cubicBezTo>
                  <a:pt x="3871569" y="1297671"/>
                  <a:pt x="3861271" y="1318268"/>
                  <a:pt x="3840675" y="1338866"/>
                </a:cubicBezTo>
                <a:cubicBezTo>
                  <a:pt x="3809781" y="1369762"/>
                  <a:pt x="3799483" y="1400659"/>
                  <a:pt x="3778887" y="1431557"/>
                </a:cubicBezTo>
                <a:cubicBezTo>
                  <a:pt x="3758291" y="1452154"/>
                  <a:pt x="3747993" y="1483052"/>
                  <a:pt x="3727397" y="1493351"/>
                </a:cubicBezTo>
                <a:cubicBezTo>
                  <a:pt x="3696503" y="1513948"/>
                  <a:pt x="3696503" y="1544845"/>
                  <a:pt x="3675907" y="1565444"/>
                </a:cubicBezTo>
                <a:cubicBezTo>
                  <a:pt x="3655311" y="1586041"/>
                  <a:pt x="3645013" y="1606638"/>
                  <a:pt x="3624417" y="1637536"/>
                </a:cubicBezTo>
                <a:cubicBezTo>
                  <a:pt x="3624417" y="1637536"/>
                  <a:pt x="3624417" y="1647835"/>
                  <a:pt x="3614119" y="1647835"/>
                </a:cubicBezTo>
                <a:cubicBezTo>
                  <a:pt x="3572927" y="1689031"/>
                  <a:pt x="3542033" y="1740525"/>
                  <a:pt x="3521437" y="1802320"/>
                </a:cubicBezTo>
                <a:cubicBezTo>
                  <a:pt x="3490543" y="1812618"/>
                  <a:pt x="3469947" y="1843515"/>
                  <a:pt x="3459649" y="1874413"/>
                </a:cubicBezTo>
                <a:cubicBezTo>
                  <a:pt x="3439053" y="1884711"/>
                  <a:pt x="3428755" y="1895010"/>
                  <a:pt x="3418457" y="1905308"/>
                </a:cubicBezTo>
                <a:cubicBezTo>
                  <a:pt x="3408159" y="1925906"/>
                  <a:pt x="3397861" y="1946504"/>
                  <a:pt x="3397861" y="1967103"/>
                </a:cubicBezTo>
                <a:cubicBezTo>
                  <a:pt x="3377265" y="1977401"/>
                  <a:pt x="3356669" y="1997999"/>
                  <a:pt x="3336073" y="2018598"/>
                </a:cubicBezTo>
                <a:cubicBezTo>
                  <a:pt x="3336073" y="2018598"/>
                  <a:pt x="3325775" y="2028897"/>
                  <a:pt x="3325775" y="2028897"/>
                </a:cubicBezTo>
                <a:cubicBezTo>
                  <a:pt x="3284583" y="2111288"/>
                  <a:pt x="3233093" y="2183381"/>
                  <a:pt x="3171305" y="2255474"/>
                </a:cubicBezTo>
                <a:cubicBezTo>
                  <a:pt x="3130113" y="2296669"/>
                  <a:pt x="3099219" y="2337865"/>
                  <a:pt x="3058028" y="2389361"/>
                </a:cubicBezTo>
                <a:cubicBezTo>
                  <a:pt x="3016836" y="2440855"/>
                  <a:pt x="2975644" y="2502648"/>
                  <a:pt x="2924154" y="2554143"/>
                </a:cubicBezTo>
                <a:cubicBezTo>
                  <a:pt x="2893260" y="2585041"/>
                  <a:pt x="2872664" y="2626236"/>
                  <a:pt x="2852068" y="2657132"/>
                </a:cubicBezTo>
                <a:cubicBezTo>
                  <a:pt x="2821174" y="2739525"/>
                  <a:pt x="2769684" y="2811618"/>
                  <a:pt x="2707896" y="2873411"/>
                </a:cubicBezTo>
                <a:cubicBezTo>
                  <a:pt x="2707896" y="2904309"/>
                  <a:pt x="2697598" y="2924906"/>
                  <a:pt x="2697598" y="2945504"/>
                </a:cubicBezTo>
                <a:cubicBezTo>
                  <a:pt x="2707896" y="2955802"/>
                  <a:pt x="2718194" y="2966102"/>
                  <a:pt x="2728492" y="2955802"/>
                </a:cubicBezTo>
                <a:cubicBezTo>
                  <a:pt x="2738790" y="2955802"/>
                  <a:pt x="2749088" y="2945504"/>
                  <a:pt x="2759386" y="2935204"/>
                </a:cubicBezTo>
                <a:cubicBezTo>
                  <a:pt x="2779982" y="2914607"/>
                  <a:pt x="2810876" y="2883711"/>
                  <a:pt x="2852068" y="2883711"/>
                </a:cubicBezTo>
                <a:cubicBezTo>
                  <a:pt x="2862366" y="2863111"/>
                  <a:pt x="2872664" y="2852813"/>
                  <a:pt x="2872664" y="2842515"/>
                </a:cubicBezTo>
                <a:cubicBezTo>
                  <a:pt x="2903558" y="2832216"/>
                  <a:pt x="2934452" y="2821916"/>
                  <a:pt x="2965346" y="2801318"/>
                </a:cubicBezTo>
                <a:cubicBezTo>
                  <a:pt x="2985942" y="2770422"/>
                  <a:pt x="3006538" y="2739525"/>
                  <a:pt x="3027134" y="2708627"/>
                </a:cubicBezTo>
                <a:cubicBezTo>
                  <a:pt x="3047730" y="2688030"/>
                  <a:pt x="3078623" y="2688030"/>
                  <a:pt x="3099219" y="2688030"/>
                </a:cubicBezTo>
                <a:cubicBezTo>
                  <a:pt x="3109517" y="2677732"/>
                  <a:pt x="3130113" y="2677732"/>
                  <a:pt x="3150709" y="2667432"/>
                </a:cubicBezTo>
                <a:cubicBezTo>
                  <a:pt x="3171305" y="2677732"/>
                  <a:pt x="3202199" y="2698329"/>
                  <a:pt x="3222795" y="2708627"/>
                </a:cubicBezTo>
                <a:cubicBezTo>
                  <a:pt x="3233093" y="2708627"/>
                  <a:pt x="3243391" y="2708627"/>
                  <a:pt x="3253689" y="2708627"/>
                </a:cubicBezTo>
                <a:cubicBezTo>
                  <a:pt x="3274285" y="2708627"/>
                  <a:pt x="3305179" y="2708627"/>
                  <a:pt x="3325775" y="2698329"/>
                </a:cubicBezTo>
                <a:cubicBezTo>
                  <a:pt x="3346371" y="2688030"/>
                  <a:pt x="3366967" y="2688030"/>
                  <a:pt x="3387563" y="2677732"/>
                </a:cubicBezTo>
                <a:cubicBezTo>
                  <a:pt x="3418457" y="2688030"/>
                  <a:pt x="3428755" y="2708627"/>
                  <a:pt x="3428755" y="2729225"/>
                </a:cubicBezTo>
                <a:cubicBezTo>
                  <a:pt x="3408159" y="2760123"/>
                  <a:pt x="3387563" y="2801318"/>
                  <a:pt x="3377265" y="2832216"/>
                </a:cubicBezTo>
                <a:cubicBezTo>
                  <a:pt x="3366967" y="2852813"/>
                  <a:pt x="3356669" y="2863111"/>
                  <a:pt x="3346371" y="2883711"/>
                </a:cubicBezTo>
                <a:cubicBezTo>
                  <a:pt x="3315477" y="2924906"/>
                  <a:pt x="3274285" y="2996999"/>
                  <a:pt x="3253689" y="3038195"/>
                </a:cubicBezTo>
                <a:cubicBezTo>
                  <a:pt x="3243391" y="3048493"/>
                  <a:pt x="3243391" y="3058793"/>
                  <a:pt x="3233093" y="3069092"/>
                </a:cubicBezTo>
                <a:cubicBezTo>
                  <a:pt x="3202199" y="3110288"/>
                  <a:pt x="3181603" y="3172081"/>
                  <a:pt x="3150709" y="3213277"/>
                </a:cubicBezTo>
                <a:lnTo>
                  <a:pt x="3138679" y="3233541"/>
                </a:lnTo>
                <a:lnTo>
                  <a:pt x="0" y="3233541"/>
                </a:lnTo>
                <a:lnTo>
                  <a:pt x="0" y="1684240"/>
                </a:lnTo>
                <a:lnTo>
                  <a:pt x="4670" y="1687743"/>
                </a:lnTo>
                <a:cubicBezTo>
                  <a:pt x="12394" y="1694180"/>
                  <a:pt x="20117" y="1699329"/>
                  <a:pt x="30415" y="1699329"/>
                </a:cubicBezTo>
                <a:cubicBezTo>
                  <a:pt x="30415" y="1678731"/>
                  <a:pt x="40713" y="1668432"/>
                  <a:pt x="40713" y="1647835"/>
                </a:cubicBezTo>
                <a:cubicBezTo>
                  <a:pt x="61309" y="1627236"/>
                  <a:pt x="92203" y="1616938"/>
                  <a:pt x="112799" y="1596340"/>
                </a:cubicBezTo>
                <a:cubicBezTo>
                  <a:pt x="123097" y="1596340"/>
                  <a:pt x="133395" y="1596340"/>
                  <a:pt x="143693" y="1596340"/>
                </a:cubicBezTo>
                <a:cubicBezTo>
                  <a:pt x="153991" y="1606638"/>
                  <a:pt x="153991" y="1616938"/>
                  <a:pt x="164289" y="1637536"/>
                </a:cubicBezTo>
                <a:cubicBezTo>
                  <a:pt x="184885" y="1637536"/>
                  <a:pt x="215779" y="1627236"/>
                  <a:pt x="246673" y="1637536"/>
                </a:cubicBezTo>
                <a:cubicBezTo>
                  <a:pt x="256971" y="1616938"/>
                  <a:pt x="256971" y="1606638"/>
                  <a:pt x="246673" y="1586041"/>
                </a:cubicBezTo>
                <a:cubicBezTo>
                  <a:pt x="226077" y="1596340"/>
                  <a:pt x="205481" y="1606638"/>
                  <a:pt x="195183" y="1606638"/>
                </a:cubicBezTo>
                <a:cubicBezTo>
                  <a:pt x="184885" y="1606638"/>
                  <a:pt x="174587" y="1596340"/>
                  <a:pt x="174587" y="1586041"/>
                </a:cubicBezTo>
                <a:cubicBezTo>
                  <a:pt x="184885" y="1565444"/>
                  <a:pt x="184885" y="1544845"/>
                  <a:pt x="195183" y="1524247"/>
                </a:cubicBezTo>
                <a:cubicBezTo>
                  <a:pt x="184885" y="1503650"/>
                  <a:pt x="184885" y="1493351"/>
                  <a:pt x="174587" y="1472752"/>
                </a:cubicBezTo>
                <a:cubicBezTo>
                  <a:pt x="184885" y="1462452"/>
                  <a:pt x="184885" y="1452154"/>
                  <a:pt x="205481" y="1452154"/>
                </a:cubicBezTo>
                <a:cubicBezTo>
                  <a:pt x="205481" y="1462452"/>
                  <a:pt x="215779" y="1483052"/>
                  <a:pt x="215779" y="1493351"/>
                </a:cubicBezTo>
                <a:cubicBezTo>
                  <a:pt x="226077" y="1503650"/>
                  <a:pt x="226077" y="1503650"/>
                  <a:pt x="236375" y="1503650"/>
                </a:cubicBezTo>
                <a:cubicBezTo>
                  <a:pt x="256971" y="1513948"/>
                  <a:pt x="277567" y="1513948"/>
                  <a:pt x="298163" y="1503650"/>
                </a:cubicBezTo>
                <a:cubicBezTo>
                  <a:pt x="329057" y="1503650"/>
                  <a:pt x="349653" y="1493351"/>
                  <a:pt x="380547" y="1483052"/>
                </a:cubicBezTo>
                <a:cubicBezTo>
                  <a:pt x="390845" y="1462452"/>
                  <a:pt x="390845" y="1441855"/>
                  <a:pt x="390845" y="1431557"/>
                </a:cubicBezTo>
                <a:cubicBezTo>
                  <a:pt x="432037" y="1380061"/>
                  <a:pt x="442335" y="1380061"/>
                  <a:pt x="493825" y="1390361"/>
                </a:cubicBezTo>
                <a:cubicBezTo>
                  <a:pt x="493825" y="1390361"/>
                  <a:pt x="493825" y="1400659"/>
                  <a:pt x="493825" y="1400659"/>
                </a:cubicBezTo>
                <a:cubicBezTo>
                  <a:pt x="493825" y="1410959"/>
                  <a:pt x="493825" y="1421258"/>
                  <a:pt x="493825" y="1421258"/>
                </a:cubicBezTo>
                <a:cubicBezTo>
                  <a:pt x="504123" y="1431557"/>
                  <a:pt x="504123" y="1431557"/>
                  <a:pt x="514421" y="1421258"/>
                </a:cubicBezTo>
                <a:cubicBezTo>
                  <a:pt x="524719" y="1410959"/>
                  <a:pt x="535017" y="1400659"/>
                  <a:pt x="535017" y="1380061"/>
                </a:cubicBezTo>
                <a:cubicBezTo>
                  <a:pt x="545315" y="1359464"/>
                  <a:pt x="524719" y="1349165"/>
                  <a:pt x="504123" y="1338866"/>
                </a:cubicBezTo>
                <a:cubicBezTo>
                  <a:pt x="493825" y="1338866"/>
                  <a:pt x="483527" y="1338866"/>
                  <a:pt x="483527" y="1338866"/>
                </a:cubicBezTo>
                <a:cubicBezTo>
                  <a:pt x="473229" y="1338866"/>
                  <a:pt x="462931" y="1328566"/>
                  <a:pt x="462931" y="1328566"/>
                </a:cubicBezTo>
                <a:cubicBezTo>
                  <a:pt x="452633" y="1307968"/>
                  <a:pt x="462931" y="1287371"/>
                  <a:pt x="473229" y="1277073"/>
                </a:cubicBezTo>
                <a:cubicBezTo>
                  <a:pt x="483527" y="1277073"/>
                  <a:pt x="493825" y="1287371"/>
                  <a:pt x="493825" y="1297671"/>
                </a:cubicBezTo>
                <a:cubicBezTo>
                  <a:pt x="524719" y="1297671"/>
                  <a:pt x="545315" y="1307968"/>
                  <a:pt x="576209" y="1307968"/>
                </a:cubicBezTo>
                <a:cubicBezTo>
                  <a:pt x="596805" y="1307968"/>
                  <a:pt x="617401" y="1297671"/>
                  <a:pt x="637997" y="1297671"/>
                </a:cubicBezTo>
                <a:cubicBezTo>
                  <a:pt x="648295" y="1277073"/>
                  <a:pt x="658593" y="1266773"/>
                  <a:pt x="668891" y="1246175"/>
                </a:cubicBezTo>
                <a:cubicBezTo>
                  <a:pt x="679189" y="1246175"/>
                  <a:pt x="699785" y="1235875"/>
                  <a:pt x="720381" y="1215278"/>
                </a:cubicBezTo>
                <a:cubicBezTo>
                  <a:pt x="720381" y="1204980"/>
                  <a:pt x="730679" y="1194681"/>
                  <a:pt x="740977" y="1184382"/>
                </a:cubicBezTo>
                <a:cubicBezTo>
                  <a:pt x="761573" y="1163782"/>
                  <a:pt x="792467" y="1153484"/>
                  <a:pt x="802765" y="1132887"/>
                </a:cubicBezTo>
                <a:cubicBezTo>
                  <a:pt x="802765" y="1122588"/>
                  <a:pt x="813063" y="1112289"/>
                  <a:pt x="823361" y="1112289"/>
                </a:cubicBezTo>
                <a:cubicBezTo>
                  <a:pt x="864553" y="1091691"/>
                  <a:pt x="885149" y="1050495"/>
                  <a:pt x="926341" y="1019598"/>
                </a:cubicBezTo>
                <a:cubicBezTo>
                  <a:pt x="936639" y="1009298"/>
                  <a:pt x="946937" y="988701"/>
                  <a:pt x="957235" y="978403"/>
                </a:cubicBezTo>
                <a:cubicBezTo>
                  <a:pt x="977831" y="978403"/>
                  <a:pt x="1008725" y="968103"/>
                  <a:pt x="1029321" y="957803"/>
                </a:cubicBezTo>
                <a:cubicBezTo>
                  <a:pt x="1049917" y="957803"/>
                  <a:pt x="1080811" y="968103"/>
                  <a:pt x="1101407" y="968103"/>
                </a:cubicBezTo>
                <a:cubicBezTo>
                  <a:pt x="1132301" y="968103"/>
                  <a:pt x="1152897" y="957803"/>
                  <a:pt x="1163195" y="957803"/>
                </a:cubicBezTo>
                <a:cubicBezTo>
                  <a:pt x="1183791" y="957803"/>
                  <a:pt x="1204387" y="957803"/>
                  <a:pt x="1214685" y="957803"/>
                </a:cubicBezTo>
                <a:cubicBezTo>
                  <a:pt x="1276473" y="937205"/>
                  <a:pt x="1317665" y="885712"/>
                  <a:pt x="1369155" y="844515"/>
                </a:cubicBezTo>
                <a:cubicBezTo>
                  <a:pt x="1379453" y="844515"/>
                  <a:pt x="1389751" y="834217"/>
                  <a:pt x="1400050" y="834217"/>
                </a:cubicBezTo>
                <a:cubicBezTo>
                  <a:pt x="1410348" y="813619"/>
                  <a:pt x="1430944" y="803319"/>
                  <a:pt x="1441242" y="782721"/>
                </a:cubicBezTo>
                <a:cubicBezTo>
                  <a:pt x="1472136" y="772422"/>
                  <a:pt x="1492732" y="751825"/>
                  <a:pt x="1513328" y="741526"/>
                </a:cubicBezTo>
                <a:cubicBezTo>
                  <a:pt x="1533924" y="741526"/>
                  <a:pt x="1533924" y="751825"/>
                  <a:pt x="1533924" y="762124"/>
                </a:cubicBezTo>
                <a:cubicBezTo>
                  <a:pt x="1523626" y="793021"/>
                  <a:pt x="1523626" y="823918"/>
                  <a:pt x="1533924" y="854814"/>
                </a:cubicBezTo>
                <a:cubicBezTo>
                  <a:pt x="1544222" y="865112"/>
                  <a:pt x="1554520" y="865112"/>
                  <a:pt x="1564818" y="865112"/>
                </a:cubicBezTo>
                <a:cubicBezTo>
                  <a:pt x="1564818" y="885712"/>
                  <a:pt x="1554520" y="906310"/>
                  <a:pt x="1554520" y="916608"/>
                </a:cubicBezTo>
                <a:lnTo>
                  <a:pt x="1554520" y="916609"/>
                </a:lnTo>
                <a:lnTo>
                  <a:pt x="1559669" y="894725"/>
                </a:lnTo>
                <a:cubicBezTo>
                  <a:pt x="1562243" y="885714"/>
                  <a:pt x="1564818" y="875414"/>
                  <a:pt x="1564818" y="865114"/>
                </a:cubicBezTo>
                <a:cubicBezTo>
                  <a:pt x="1569967" y="875414"/>
                  <a:pt x="1573829" y="883139"/>
                  <a:pt x="1576403" y="889253"/>
                </a:cubicBezTo>
                <a:lnTo>
                  <a:pt x="1580265" y="903736"/>
                </a:lnTo>
                <a:lnTo>
                  <a:pt x="1580265" y="903735"/>
                </a:lnTo>
                <a:cubicBezTo>
                  <a:pt x="1580265" y="896011"/>
                  <a:pt x="1575116" y="885711"/>
                  <a:pt x="1564818" y="865112"/>
                </a:cubicBezTo>
                <a:cubicBezTo>
                  <a:pt x="1564818" y="803319"/>
                  <a:pt x="1564818" y="741526"/>
                  <a:pt x="1554520" y="690031"/>
                </a:cubicBezTo>
                <a:cubicBezTo>
                  <a:pt x="1575116" y="659133"/>
                  <a:pt x="1575116" y="659133"/>
                  <a:pt x="1606010" y="679732"/>
                </a:cubicBezTo>
                <a:cubicBezTo>
                  <a:pt x="1606010" y="720928"/>
                  <a:pt x="1606010" y="762124"/>
                  <a:pt x="1606010" y="793021"/>
                </a:cubicBezTo>
                <a:cubicBezTo>
                  <a:pt x="1616308" y="813619"/>
                  <a:pt x="1626606" y="834217"/>
                  <a:pt x="1626606" y="854814"/>
                </a:cubicBezTo>
                <a:cubicBezTo>
                  <a:pt x="1647202" y="844515"/>
                  <a:pt x="1657500" y="844515"/>
                  <a:pt x="1667798" y="834217"/>
                </a:cubicBezTo>
                <a:cubicBezTo>
                  <a:pt x="1678096" y="844515"/>
                  <a:pt x="1688394" y="854814"/>
                  <a:pt x="1698692" y="854814"/>
                </a:cubicBezTo>
                <a:cubicBezTo>
                  <a:pt x="1698692" y="854814"/>
                  <a:pt x="1708990" y="854814"/>
                  <a:pt x="1708990" y="844515"/>
                </a:cubicBezTo>
                <a:cubicBezTo>
                  <a:pt x="1708990" y="844515"/>
                  <a:pt x="1698692" y="834217"/>
                  <a:pt x="1698692" y="823918"/>
                </a:cubicBezTo>
                <a:cubicBezTo>
                  <a:pt x="1708990" y="793021"/>
                  <a:pt x="1719288" y="751825"/>
                  <a:pt x="1739884" y="720928"/>
                </a:cubicBezTo>
                <a:cubicBezTo>
                  <a:pt x="1739884" y="710628"/>
                  <a:pt x="1739884" y="710628"/>
                  <a:pt x="1750182" y="710628"/>
                </a:cubicBezTo>
                <a:cubicBezTo>
                  <a:pt x="1760480" y="720928"/>
                  <a:pt x="1760480" y="731226"/>
                  <a:pt x="1770778" y="741526"/>
                </a:cubicBezTo>
                <a:cubicBezTo>
                  <a:pt x="1781076" y="710628"/>
                  <a:pt x="1801672" y="679732"/>
                  <a:pt x="1801672" y="648835"/>
                </a:cubicBezTo>
                <a:cubicBezTo>
                  <a:pt x="1822268" y="628238"/>
                  <a:pt x="1853162" y="638535"/>
                  <a:pt x="1863460" y="628238"/>
                </a:cubicBezTo>
                <a:cubicBezTo>
                  <a:pt x="1884056" y="617938"/>
                  <a:pt x="1884056" y="597340"/>
                  <a:pt x="1914950" y="597340"/>
                </a:cubicBezTo>
                <a:cubicBezTo>
                  <a:pt x="1925248" y="617938"/>
                  <a:pt x="1904652" y="648835"/>
                  <a:pt x="1935546" y="659133"/>
                </a:cubicBezTo>
                <a:cubicBezTo>
                  <a:pt x="1935546" y="659133"/>
                  <a:pt x="1945844" y="659133"/>
                  <a:pt x="1945844" y="659133"/>
                </a:cubicBezTo>
                <a:cubicBezTo>
                  <a:pt x="1956142" y="648835"/>
                  <a:pt x="1956142" y="628238"/>
                  <a:pt x="1966440" y="617938"/>
                </a:cubicBezTo>
                <a:cubicBezTo>
                  <a:pt x="1976738" y="607640"/>
                  <a:pt x="1987036" y="607640"/>
                  <a:pt x="1987036" y="587042"/>
                </a:cubicBezTo>
                <a:cubicBezTo>
                  <a:pt x="1976738" y="576742"/>
                  <a:pt x="1966440" y="576742"/>
                  <a:pt x="1945844" y="566444"/>
                </a:cubicBezTo>
                <a:cubicBezTo>
                  <a:pt x="1945844" y="556144"/>
                  <a:pt x="1956142" y="545845"/>
                  <a:pt x="1956142" y="535547"/>
                </a:cubicBezTo>
                <a:cubicBezTo>
                  <a:pt x="1987036" y="525247"/>
                  <a:pt x="2028228" y="525247"/>
                  <a:pt x="2059122" y="525247"/>
                </a:cubicBezTo>
                <a:cubicBezTo>
                  <a:pt x="2079718" y="504649"/>
                  <a:pt x="2048824" y="484051"/>
                  <a:pt x="2059122" y="473753"/>
                </a:cubicBezTo>
                <a:cubicBezTo>
                  <a:pt x="2069420" y="442856"/>
                  <a:pt x="2090016" y="442856"/>
                  <a:pt x="2110612" y="442856"/>
                </a:cubicBezTo>
                <a:cubicBezTo>
                  <a:pt x="2120910" y="432556"/>
                  <a:pt x="2110612" y="391361"/>
                  <a:pt x="2141506" y="391361"/>
                </a:cubicBezTo>
                <a:cubicBezTo>
                  <a:pt x="2151804" y="401660"/>
                  <a:pt x="2172400" y="411958"/>
                  <a:pt x="2182698" y="422258"/>
                </a:cubicBezTo>
                <a:cubicBezTo>
                  <a:pt x="2192996" y="391361"/>
                  <a:pt x="2192996" y="370763"/>
                  <a:pt x="2192996" y="350165"/>
                </a:cubicBezTo>
                <a:cubicBezTo>
                  <a:pt x="2203294" y="339865"/>
                  <a:pt x="2213592" y="329567"/>
                  <a:pt x="2213592" y="329567"/>
                </a:cubicBezTo>
                <a:cubicBezTo>
                  <a:pt x="2244486" y="319268"/>
                  <a:pt x="2244486" y="350165"/>
                  <a:pt x="2265082" y="360463"/>
                </a:cubicBezTo>
                <a:cubicBezTo>
                  <a:pt x="2275380" y="339865"/>
                  <a:pt x="2265082" y="319268"/>
                  <a:pt x="2265082" y="288372"/>
                </a:cubicBezTo>
                <a:cubicBezTo>
                  <a:pt x="2265082" y="278072"/>
                  <a:pt x="2265082" y="278072"/>
                  <a:pt x="2285678" y="267774"/>
                </a:cubicBezTo>
                <a:cubicBezTo>
                  <a:pt x="2295976" y="267774"/>
                  <a:pt x="2306274" y="267774"/>
                  <a:pt x="2316572" y="267774"/>
                </a:cubicBezTo>
                <a:cubicBezTo>
                  <a:pt x="2326870" y="267774"/>
                  <a:pt x="2326870" y="267774"/>
                  <a:pt x="2337168" y="257474"/>
                </a:cubicBezTo>
                <a:cubicBezTo>
                  <a:pt x="2337168" y="236877"/>
                  <a:pt x="2316572" y="205979"/>
                  <a:pt x="2326870" y="185381"/>
                </a:cubicBezTo>
                <a:cubicBezTo>
                  <a:pt x="2337168" y="164784"/>
                  <a:pt x="2357764" y="175083"/>
                  <a:pt x="2378360" y="175083"/>
                </a:cubicBezTo>
                <a:cubicBezTo>
                  <a:pt x="2388658" y="154484"/>
                  <a:pt x="2398956" y="123588"/>
                  <a:pt x="2409254" y="102990"/>
                </a:cubicBezTo>
                <a:cubicBezTo>
                  <a:pt x="2429850" y="92691"/>
                  <a:pt x="2419552" y="61793"/>
                  <a:pt x="2440148" y="41196"/>
                </a:cubicBezTo>
                <a:cubicBezTo>
                  <a:pt x="2450446" y="41196"/>
                  <a:pt x="2450446" y="51495"/>
                  <a:pt x="2460744" y="61793"/>
                </a:cubicBezTo>
                <a:cubicBezTo>
                  <a:pt x="2450446" y="72093"/>
                  <a:pt x="2450446" y="92691"/>
                  <a:pt x="2450446" y="102990"/>
                </a:cubicBezTo>
                <a:cubicBezTo>
                  <a:pt x="2450446" y="102990"/>
                  <a:pt x="2460744" y="113289"/>
                  <a:pt x="2460744" y="113289"/>
                </a:cubicBezTo>
                <a:cubicBezTo>
                  <a:pt x="2471042" y="113289"/>
                  <a:pt x="2471042" y="113289"/>
                  <a:pt x="2471042" y="113289"/>
                </a:cubicBezTo>
                <a:cubicBezTo>
                  <a:pt x="2481340" y="102990"/>
                  <a:pt x="2491638" y="92691"/>
                  <a:pt x="2491638" y="72093"/>
                </a:cubicBezTo>
                <a:cubicBezTo>
                  <a:pt x="2501936" y="82393"/>
                  <a:pt x="2512234" y="102990"/>
                  <a:pt x="2512234" y="113289"/>
                </a:cubicBezTo>
                <a:cubicBezTo>
                  <a:pt x="2522532" y="113289"/>
                  <a:pt x="2532830" y="102990"/>
                  <a:pt x="2532830" y="92691"/>
                </a:cubicBezTo>
                <a:cubicBezTo>
                  <a:pt x="2532830" y="82393"/>
                  <a:pt x="2522532" y="61793"/>
                  <a:pt x="2532830" y="51495"/>
                </a:cubicBezTo>
                <a:cubicBezTo>
                  <a:pt x="2532830" y="30898"/>
                  <a:pt x="2532830" y="20598"/>
                  <a:pt x="2532830" y="0"/>
                </a:cubicBezTo>
                <a:close/>
              </a:path>
            </a:pathLst>
          </a:custGeom>
          <a:gradFill>
            <a:gsLst>
              <a:gs pos="50000">
                <a:srgbClr val="F6F6F6"/>
              </a:gs>
              <a:gs pos="100000">
                <a:schemeClr val="bg1"/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d-ID"/>
          </a:p>
        </p:txBody>
      </p:sp>
    </p:spTree>
    <p:extLst>
      <p:ext uri="{BB962C8B-B14F-4D97-AF65-F5344CB8AC3E}">
        <p14:creationId xmlns:p14="http://schemas.microsoft.com/office/powerpoint/2010/main" val="27742863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3" r:id="rId1"/>
    <p:sldLayoutId id="2147483724" r:id="rId2"/>
    <p:sldLayoutId id="2147483725" r:id="rId3"/>
    <p:sldLayoutId id="2147483726" r:id="rId4"/>
    <p:sldLayoutId id="2147483727" r:id="rId5"/>
    <p:sldLayoutId id="2147483728" r:id="rId6"/>
    <p:sldLayoutId id="2147483729" r:id="rId7"/>
    <p:sldLayoutId id="2147483730" r:id="rId8"/>
    <p:sldLayoutId id="2147483731" r:id="rId9"/>
    <p:sldLayoutId id="2147483732" r:id="rId10"/>
    <p:sldLayoutId id="2147483733" r:id="rId11"/>
    <p:sldLayoutId id="2147483734" r:id="rId12"/>
    <p:sldLayoutId id="2147483735" r:id="rId13"/>
    <p:sldLayoutId id="2147483736" r:id="rId14"/>
    <p:sldLayoutId id="2147483737" r:id="rId15"/>
    <p:sldLayoutId id="2147483738" r:id="rId16"/>
    <p:sldLayoutId id="2147483739" r:id="rId17"/>
    <p:sldLayoutId id="2147483740" r:id="rId18"/>
    <p:sldLayoutId id="2147483741" r:id="rId19"/>
    <p:sldLayoutId id="2147483742" r:id="rId20"/>
    <p:sldLayoutId id="2147483743" r:id="rId21"/>
    <p:sldLayoutId id="2147483744" r:id="rId22"/>
    <p:sldLayoutId id="2147483745" r:id="rId23"/>
    <p:sldLayoutId id="2147483746" r:id="rId24"/>
    <p:sldLayoutId id="2147483747" r:id="rId25"/>
    <p:sldLayoutId id="2147483748" r:id="rId26"/>
    <p:sldLayoutId id="2147483749" r:id="rId27"/>
    <p:sldLayoutId id="2147483750" r:id="rId28"/>
    <p:sldLayoutId id="2147483751" r:id="rId29"/>
    <p:sldLayoutId id="2147483752" r:id="rId30"/>
    <p:sldLayoutId id="2147483753" r:id="rId31"/>
    <p:sldLayoutId id="2147483754" r:id="rId32"/>
    <p:sldLayoutId id="2147483755" r:id="rId33"/>
    <p:sldLayoutId id="2147483756" r:id="rId34"/>
    <p:sldLayoutId id="2147483757" r:id="rId35"/>
    <p:sldLayoutId id="2147483758" r:id="rId36"/>
    <p:sldLayoutId id="2147483759" r:id="rId37"/>
    <p:sldLayoutId id="2147483760" r:id="rId38"/>
    <p:sldLayoutId id="2147483761" r:id="rId39"/>
    <p:sldLayoutId id="2147483762" r:id="rId40"/>
    <p:sldLayoutId id="2147483763" r:id="rId41"/>
    <p:sldLayoutId id="2147483764" r:id="rId42"/>
    <p:sldLayoutId id="2147483765" r:id="rId43"/>
    <p:sldLayoutId id="2147483766" r:id="rId44"/>
    <p:sldLayoutId id="2147483767" r:id="rId45"/>
    <p:sldLayoutId id="2147483768" r:id="rId46"/>
    <p:sldLayoutId id="2147483769" r:id="rId47"/>
    <p:sldLayoutId id="2147483770" r:id="rId48"/>
    <p:sldLayoutId id="2147483771" r:id="rId49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d-ID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4.png"/><Relationship Id="rId12" Type="http://schemas.openxmlformats.org/officeDocument/2006/relationships/image" Target="../media/image29.svg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5.emf"/><Relationship Id="rId11" Type="http://schemas.openxmlformats.org/officeDocument/2006/relationships/image" Target="../media/image28.png"/><Relationship Id="rId5" Type="http://schemas.openxmlformats.org/officeDocument/2006/relationships/oleObject" Target="../embeddings/oleObject5.bin"/><Relationship Id="rId10" Type="http://schemas.openxmlformats.org/officeDocument/2006/relationships/image" Target="../media/image27.sv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26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0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emf"/><Relationship Id="rId3" Type="http://schemas.openxmlformats.org/officeDocument/2006/relationships/slideLayout" Target="../slideLayouts/slideLayout10.xml"/><Relationship Id="rId7" Type="http://schemas.openxmlformats.org/officeDocument/2006/relationships/oleObject" Target="../embeddings/oleObject7.bin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31.svg"/><Relationship Id="rId5" Type="http://schemas.openxmlformats.org/officeDocument/2006/relationships/image" Target="../media/image30.png"/><Relationship Id="rId4" Type="http://schemas.openxmlformats.org/officeDocument/2006/relationships/notesSlide" Target="../notesSlides/notesSlide11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0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jp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1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12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3.png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5.png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6.xml"/><Relationship Id="rId9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17.jpg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7.xml"/><Relationship Id="rId9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0.jpeg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.bin"/><Relationship Id="rId10" Type="http://schemas.openxmlformats.org/officeDocument/2006/relationships/image" Target="../media/image23.png"/><Relationship Id="rId4" Type="http://schemas.openxmlformats.org/officeDocument/2006/relationships/notesSlide" Target="../notesSlides/notesSlide8.xml"/><Relationship Id="rId9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824CECA-466D-469C-929A-314B0AAC511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2749" y="4491095"/>
            <a:ext cx="11267090" cy="722534"/>
          </a:xfrm>
        </p:spPr>
        <p:txBody>
          <a:bodyPr>
            <a:noAutofit/>
          </a:bodyPr>
          <a:lstStyle/>
          <a:p>
            <a:pPr algn="ctr"/>
            <a:r>
              <a:rPr lang="en-GB" sz="3600" b="1" dirty="0">
                <a:latin typeface="+mn-lt"/>
              </a:rPr>
              <a:t>For Africa by Africa</a:t>
            </a:r>
            <a:br>
              <a:rPr lang="en-GB" sz="3600" b="1" dirty="0">
                <a:latin typeface="+mn-lt"/>
              </a:rPr>
            </a:br>
            <a:r>
              <a:rPr lang="en-GB" sz="3200" i="1" dirty="0">
                <a:latin typeface="+mn-lt"/>
              </a:rPr>
              <a:t>Harnessing the power of African giving and African-led </a:t>
            </a:r>
            <a:br>
              <a:rPr lang="en-GB" sz="3200" i="1" dirty="0">
                <a:latin typeface="+mn-lt"/>
              </a:rPr>
            </a:br>
            <a:r>
              <a:rPr lang="en-GB" sz="3200" i="1" dirty="0">
                <a:latin typeface="+mn-lt"/>
              </a:rPr>
              <a:t>institutions in championing Africa’s development agenda</a:t>
            </a:r>
            <a:endParaRPr lang="en-GB" sz="3600" i="1" dirty="0">
              <a:latin typeface="+mn-lt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44D2BC6-8F18-470B-86EF-01CCF02C279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12437" y="6690379"/>
            <a:ext cx="2879563" cy="167621"/>
          </a:xfrm>
        </p:spPr>
        <p:txBody>
          <a:bodyPr/>
          <a:lstStyle/>
          <a:p>
            <a:r>
              <a:rPr lang="en-GB" dirty="0"/>
              <a:t>Copyright © Children’s Investment Fund Foundation 2020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77DD735-41D2-4BF9-B7EB-30944E283E42}"/>
              </a:ext>
            </a:extLst>
          </p:cNvPr>
          <p:cNvSpPr txBox="1"/>
          <p:nvPr/>
        </p:nvSpPr>
        <p:spPr>
          <a:xfrm>
            <a:off x="1117256" y="5451520"/>
            <a:ext cx="303094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dirty="0">
                <a:solidFill>
                  <a:srgbClr val="ED1267"/>
                </a:solidFill>
              </a:rPr>
              <a:t>7 April 2021</a:t>
            </a:r>
          </a:p>
          <a:p>
            <a:r>
              <a:rPr lang="en-GB" dirty="0">
                <a:solidFill>
                  <a:srgbClr val="ED1267"/>
                </a:solidFill>
              </a:rPr>
              <a:t>Faustina Fynn-Nyame</a:t>
            </a:r>
          </a:p>
          <a:p>
            <a:r>
              <a:rPr lang="en-GB" dirty="0">
                <a:solidFill>
                  <a:srgbClr val="ED1267"/>
                </a:solidFill>
              </a:rPr>
              <a:t>CIFF Executive Director, Africa</a:t>
            </a:r>
          </a:p>
        </p:txBody>
      </p:sp>
    </p:spTree>
    <p:extLst>
      <p:ext uri="{BB962C8B-B14F-4D97-AF65-F5344CB8AC3E}">
        <p14:creationId xmlns:p14="http://schemas.microsoft.com/office/powerpoint/2010/main" val="93859354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2" name="Graphic 45">
            <a:extLst>
              <a:ext uri="{FF2B5EF4-FFF2-40B4-BE49-F238E27FC236}">
                <a16:creationId xmlns:a16="http://schemas.microsoft.com/office/drawing/2014/main" id="{89DFBE2F-551D-46B2-B11C-C15A40C41A80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615047" y="1182132"/>
            <a:ext cx="559088" cy="559088"/>
          </a:xfrm>
          <a:prstGeom prst="rect">
            <a:avLst/>
          </a:prstGeom>
        </p:spPr>
      </p:pic>
      <p:pic>
        <p:nvPicPr>
          <p:cNvPr id="63" name="Graphic 35">
            <a:extLst>
              <a:ext uri="{FF2B5EF4-FFF2-40B4-BE49-F238E27FC236}">
                <a16:creationId xmlns:a16="http://schemas.microsoft.com/office/drawing/2014/main" id="{96EC8504-6F84-46D8-A496-4F76FDD833D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9814582" y="1130159"/>
            <a:ext cx="666564" cy="666564"/>
          </a:xfrm>
          <a:prstGeom prst="rect">
            <a:avLst/>
          </a:prstGeom>
        </p:spPr>
      </p:pic>
      <p:grpSp>
        <p:nvGrpSpPr>
          <p:cNvPr id="64" name="Group 63">
            <a:extLst>
              <a:ext uri="{FF2B5EF4-FFF2-40B4-BE49-F238E27FC236}">
                <a16:creationId xmlns:a16="http://schemas.microsoft.com/office/drawing/2014/main" id="{6EF80567-4084-4692-9F9C-CC264D33BA7B}"/>
              </a:ext>
            </a:extLst>
          </p:cNvPr>
          <p:cNvGrpSpPr/>
          <p:nvPr/>
        </p:nvGrpSpPr>
        <p:grpSpPr>
          <a:xfrm>
            <a:off x="7094664" y="1155166"/>
            <a:ext cx="853128" cy="668378"/>
            <a:chOff x="7427759" y="978851"/>
            <a:chExt cx="607893" cy="476250"/>
          </a:xfrm>
        </p:grpSpPr>
        <p:pic>
          <p:nvPicPr>
            <p:cNvPr id="65" name="Graphic 26">
              <a:extLst>
                <a:ext uri="{FF2B5EF4-FFF2-40B4-BE49-F238E27FC236}">
                  <a16:creationId xmlns:a16="http://schemas.microsoft.com/office/drawing/2014/main" id="{5E88B2AB-2AA4-4469-B9F1-1E642F67A3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7559402" y="978851"/>
              <a:ext cx="476250" cy="476250"/>
            </a:xfrm>
            <a:prstGeom prst="rect">
              <a:avLst/>
            </a:prstGeom>
          </p:spPr>
        </p:pic>
        <p:pic>
          <p:nvPicPr>
            <p:cNvPr id="66" name="Graphic 63">
              <a:extLst>
                <a:ext uri="{FF2B5EF4-FFF2-40B4-BE49-F238E27FC236}">
                  <a16:creationId xmlns:a16="http://schemas.microsoft.com/office/drawing/2014/main" id="{4434F3F5-B2E5-48A9-9CD3-75FA68ACA25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16779839">
              <a:off x="7427759" y="1102245"/>
              <a:ext cx="248473" cy="248473"/>
            </a:xfrm>
            <a:prstGeom prst="rect">
              <a:avLst/>
            </a:prstGeom>
          </p:spPr>
        </p:pic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5BB6721E-73F5-4586-8C82-992DD9587E0A}"/>
              </a:ext>
            </a:extLst>
          </p:cNvPr>
          <p:cNvSpPr txBox="1"/>
          <p:nvPr/>
        </p:nvSpPr>
        <p:spPr>
          <a:xfrm rot="10800000">
            <a:off x="658813" y="1525439"/>
            <a:ext cx="2821383" cy="4448921"/>
          </a:xfrm>
          <a:prstGeom prst="round2SameRect">
            <a:avLst>
              <a:gd name="adj1" fmla="val 6009"/>
              <a:gd name="adj2" fmla="val 0"/>
            </a:avLst>
          </a:prstGeom>
          <a:solidFill>
            <a:srgbClr val="F2F2F2"/>
          </a:solidFill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79BBC9-1840-44E0-ADB4-BB49947316A3}"/>
              </a:ext>
            </a:extLst>
          </p:cNvPr>
          <p:cNvSpPr txBox="1"/>
          <p:nvPr/>
        </p:nvSpPr>
        <p:spPr>
          <a:xfrm>
            <a:off x="658813" y="1892885"/>
            <a:ext cx="2814986" cy="4002834"/>
          </a:xfrm>
          <a:prstGeom prst="rect">
            <a:avLst/>
          </a:prstGeom>
          <a:noFill/>
          <a:ln>
            <a:noFill/>
          </a:ln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“Africa is acutely vulnerable to climate change. It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needs urgent climate adaptation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to progress over the next 50 years. Without this, current climate vulnerability will cause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extreme crises in food security, nutrition,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nd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child development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Human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safety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nd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sustainable livelihoods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will become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mpossible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                              </a:t>
            </a:r>
            <a:br>
              <a:rPr kumimoji="0" lang="en-US" sz="11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</a:b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- Prof. Alan </a:t>
            </a:r>
            <a:r>
              <a:rPr kumimoji="0" lang="en-US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angour</a:t>
            </a:r>
            <a:r>
              <a:rPr kumimoji="0" lang="en-US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LSHTM 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A9D08D-9B39-45F8-BFF9-99BE69D9D653}"/>
              </a:ext>
            </a:extLst>
          </p:cNvPr>
          <p:cNvCxnSpPr>
            <a:cxnSpLocks/>
          </p:cNvCxnSpPr>
          <p:nvPr/>
        </p:nvCxnSpPr>
        <p:spPr>
          <a:xfrm flipH="1">
            <a:off x="658814" y="1525439"/>
            <a:ext cx="2821383" cy="0"/>
          </a:xfrm>
          <a:prstGeom prst="line">
            <a:avLst/>
          </a:prstGeom>
          <a:ln w="34925">
            <a:solidFill>
              <a:srgbClr val="ED1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14">
            <a:extLst>
              <a:ext uri="{FF2B5EF4-FFF2-40B4-BE49-F238E27FC236}">
                <a16:creationId xmlns:a16="http://schemas.microsoft.com/office/drawing/2014/main" id="{EA6EE44D-5D2B-4E2E-A2A5-737D71C49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6130" y="1210329"/>
            <a:ext cx="666750" cy="666750"/>
          </a:xfrm>
          <a:prstGeom prst="ellipse">
            <a:avLst/>
          </a:prstGeom>
          <a:solidFill>
            <a:srgbClr val="ED126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Freeform 97">
            <a:extLst>
              <a:ext uri="{FF2B5EF4-FFF2-40B4-BE49-F238E27FC236}">
                <a16:creationId xmlns:a16="http://schemas.microsoft.com/office/drawing/2014/main" id="{602E9A8A-AB22-460C-9FE2-7A56F843BFE8}"/>
              </a:ext>
            </a:extLst>
          </p:cNvPr>
          <p:cNvSpPr>
            <a:spLocks noEditPoints="1"/>
          </p:cNvSpPr>
          <p:nvPr/>
        </p:nvSpPr>
        <p:spPr bwMode="auto">
          <a:xfrm>
            <a:off x="1855193" y="1372254"/>
            <a:ext cx="427037" cy="342900"/>
          </a:xfrm>
          <a:custGeom>
            <a:avLst/>
            <a:gdLst>
              <a:gd name="T0" fmla="*/ 156 w 164"/>
              <a:gd name="T1" fmla="*/ 107 h 132"/>
              <a:gd name="T2" fmla="*/ 164 w 164"/>
              <a:gd name="T3" fmla="*/ 86 h 132"/>
              <a:gd name="T4" fmla="*/ 131 w 164"/>
              <a:gd name="T5" fmla="*/ 52 h 132"/>
              <a:gd name="T6" fmla="*/ 65 w 164"/>
              <a:gd name="T7" fmla="*/ 0 h 132"/>
              <a:gd name="T8" fmla="*/ 0 w 164"/>
              <a:gd name="T9" fmla="*/ 54 h 132"/>
              <a:gd name="T10" fmla="*/ 13 w 164"/>
              <a:gd name="T11" fmla="*/ 86 h 132"/>
              <a:gd name="T12" fmla="*/ 3 w 164"/>
              <a:gd name="T13" fmla="*/ 114 h 132"/>
              <a:gd name="T14" fmla="*/ 3 w 164"/>
              <a:gd name="T15" fmla="*/ 120 h 132"/>
              <a:gd name="T16" fmla="*/ 7 w 164"/>
              <a:gd name="T17" fmla="*/ 123 h 132"/>
              <a:gd name="T18" fmla="*/ 8 w 164"/>
              <a:gd name="T19" fmla="*/ 123 h 132"/>
              <a:gd name="T20" fmla="*/ 48 w 164"/>
              <a:gd name="T21" fmla="*/ 105 h 132"/>
              <a:gd name="T22" fmla="*/ 65 w 164"/>
              <a:gd name="T23" fmla="*/ 107 h 132"/>
              <a:gd name="T24" fmla="*/ 85 w 164"/>
              <a:gd name="T25" fmla="*/ 105 h 132"/>
              <a:gd name="T26" fmla="*/ 121 w 164"/>
              <a:gd name="T27" fmla="*/ 121 h 132"/>
              <a:gd name="T28" fmla="*/ 133 w 164"/>
              <a:gd name="T29" fmla="*/ 120 h 132"/>
              <a:gd name="T30" fmla="*/ 160 w 164"/>
              <a:gd name="T31" fmla="*/ 132 h 132"/>
              <a:gd name="T32" fmla="*/ 160 w 164"/>
              <a:gd name="T33" fmla="*/ 132 h 132"/>
              <a:gd name="T34" fmla="*/ 162 w 164"/>
              <a:gd name="T35" fmla="*/ 130 h 132"/>
              <a:gd name="T36" fmla="*/ 162 w 164"/>
              <a:gd name="T37" fmla="*/ 127 h 132"/>
              <a:gd name="T38" fmla="*/ 156 w 164"/>
              <a:gd name="T39" fmla="*/ 107 h 132"/>
              <a:gd name="T40" fmla="*/ 48 w 164"/>
              <a:gd name="T41" fmla="*/ 94 h 132"/>
              <a:gd name="T42" fmla="*/ 42 w 164"/>
              <a:gd name="T43" fmla="*/ 96 h 132"/>
              <a:gd name="T44" fmla="*/ 19 w 164"/>
              <a:gd name="T45" fmla="*/ 110 h 132"/>
              <a:gd name="T46" fmla="*/ 23 w 164"/>
              <a:gd name="T47" fmla="*/ 82 h 132"/>
              <a:gd name="T48" fmla="*/ 22 w 164"/>
              <a:gd name="T49" fmla="*/ 80 h 132"/>
              <a:gd name="T50" fmla="*/ 10 w 164"/>
              <a:gd name="T51" fmla="*/ 54 h 132"/>
              <a:gd name="T52" fmla="*/ 65 w 164"/>
              <a:gd name="T53" fmla="*/ 11 h 132"/>
              <a:gd name="T54" fmla="*/ 121 w 164"/>
              <a:gd name="T55" fmla="*/ 54 h 132"/>
              <a:gd name="T56" fmla="*/ 65 w 164"/>
              <a:gd name="T57" fmla="*/ 97 h 132"/>
              <a:gd name="T58" fmla="*/ 48 w 164"/>
              <a:gd name="T59" fmla="*/ 9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64" h="132">
                <a:moveTo>
                  <a:pt x="156" y="107"/>
                </a:moveTo>
                <a:cubicBezTo>
                  <a:pt x="161" y="101"/>
                  <a:pt x="164" y="94"/>
                  <a:pt x="164" y="86"/>
                </a:cubicBezTo>
                <a:cubicBezTo>
                  <a:pt x="164" y="70"/>
                  <a:pt x="150" y="56"/>
                  <a:pt x="131" y="52"/>
                </a:cubicBezTo>
                <a:cubicBezTo>
                  <a:pt x="130" y="23"/>
                  <a:pt x="101" y="0"/>
                  <a:pt x="65" y="0"/>
                </a:cubicBezTo>
                <a:cubicBezTo>
                  <a:pt x="29" y="0"/>
                  <a:pt x="0" y="24"/>
                  <a:pt x="0" y="54"/>
                </a:cubicBezTo>
                <a:cubicBezTo>
                  <a:pt x="0" y="65"/>
                  <a:pt x="4" y="76"/>
                  <a:pt x="13" y="86"/>
                </a:cubicBezTo>
                <a:cubicBezTo>
                  <a:pt x="14" y="95"/>
                  <a:pt x="10" y="108"/>
                  <a:pt x="3" y="114"/>
                </a:cubicBezTo>
                <a:cubicBezTo>
                  <a:pt x="2" y="116"/>
                  <a:pt x="2" y="118"/>
                  <a:pt x="3" y="120"/>
                </a:cubicBezTo>
                <a:cubicBezTo>
                  <a:pt x="4" y="122"/>
                  <a:pt x="5" y="123"/>
                  <a:pt x="7" y="123"/>
                </a:cubicBezTo>
                <a:cubicBezTo>
                  <a:pt x="8" y="123"/>
                  <a:pt x="8" y="123"/>
                  <a:pt x="8" y="123"/>
                </a:cubicBezTo>
                <a:cubicBezTo>
                  <a:pt x="23" y="122"/>
                  <a:pt x="37" y="116"/>
                  <a:pt x="48" y="105"/>
                </a:cubicBezTo>
                <a:cubicBezTo>
                  <a:pt x="54" y="107"/>
                  <a:pt x="60" y="107"/>
                  <a:pt x="65" y="107"/>
                </a:cubicBezTo>
                <a:cubicBezTo>
                  <a:pt x="72" y="107"/>
                  <a:pt x="79" y="106"/>
                  <a:pt x="85" y="105"/>
                </a:cubicBezTo>
                <a:cubicBezTo>
                  <a:pt x="92" y="115"/>
                  <a:pt x="106" y="121"/>
                  <a:pt x="121" y="121"/>
                </a:cubicBezTo>
                <a:cubicBezTo>
                  <a:pt x="125" y="121"/>
                  <a:pt x="129" y="121"/>
                  <a:pt x="133" y="120"/>
                </a:cubicBezTo>
                <a:cubicBezTo>
                  <a:pt x="140" y="127"/>
                  <a:pt x="150" y="131"/>
                  <a:pt x="160" y="132"/>
                </a:cubicBezTo>
                <a:cubicBezTo>
                  <a:pt x="160" y="132"/>
                  <a:pt x="160" y="132"/>
                  <a:pt x="160" y="132"/>
                </a:cubicBezTo>
                <a:cubicBezTo>
                  <a:pt x="161" y="132"/>
                  <a:pt x="162" y="131"/>
                  <a:pt x="162" y="130"/>
                </a:cubicBezTo>
                <a:cubicBezTo>
                  <a:pt x="163" y="129"/>
                  <a:pt x="163" y="128"/>
                  <a:pt x="162" y="127"/>
                </a:cubicBezTo>
                <a:cubicBezTo>
                  <a:pt x="158" y="123"/>
                  <a:pt x="155" y="114"/>
                  <a:pt x="156" y="107"/>
                </a:cubicBezTo>
                <a:close/>
                <a:moveTo>
                  <a:pt x="48" y="94"/>
                </a:moveTo>
                <a:cubicBezTo>
                  <a:pt x="46" y="94"/>
                  <a:pt x="44" y="94"/>
                  <a:pt x="42" y="96"/>
                </a:cubicBezTo>
                <a:cubicBezTo>
                  <a:pt x="36" y="102"/>
                  <a:pt x="28" y="108"/>
                  <a:pt x="19" y="110"/>
                </a:cubicBezTo>
                <a:cubicBezTo>
                  <a:pt x="23" y="101"/>
                  <a:pt x="25" y="91"/>
                  <a:pt x="23" y="82"/>
                </a:cubicBezTo>
                <a:cubicBezTo>
                  <a:pt x="23" y="81"/>
                  <a:pt x="22" y="80"/>
                  <a:pt x="22" y="80"/>
                </a:cubicBezTo>
                <a:cubicBezTo>
                  <a:pt x="14" y="72"/>
                  <a:pt x="10" y="63"/>
                  <a:pt x="10" y="54"/>
                </a:cubicBezTo>
                <a:cubicBezTo>
                  <a:pt x="10" y="30"/>
                  <a:pt x="35" y="11"/>
                  <a:pt x="65" y="11"/>
                </a:cubicBezTo>
                <a:cubicBezTo>
                  <a:pt x="96" y="11"/>
                  <a:pt x="121" y="30"/>
                  <a:pt x="121" y="54"/>
                </a:cubicBezTo>
                <a:cubicBezTo>
                  <a:pt x="121" y="77"/>
                  <a:pt x="96" y="97"/>
                  <a:pt x="65" y="97"/>
                </a:cubicBezTo>
                <a:cubicBezTo>
                  <a:pt x="59" y="97"/>
                  <a:pt x="53" y="96"/>
                  <a:pt x="4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596232B-8941-4DFA-BAAF-772DD554B12C}"/>
              </a:ext>
            </a:extLst>
          </p:cNvPr>
          <p:cNvSpPr txBox="1"/>
          <p:nvPr/>
        </p:nvSpPr>
        <p:spPr>
          <a:xfrm>
            <a:off x="3561956" y="3605309"/>
            <a:ext cx="2392858" cy="1104309"/>
          </a:xfrm>
          <a:prstGeom prst="roundRect">
            <a:avLst>
              <a:gd name="adj" fmla="val 15569"/>
            </a:avLst>
          </a:prstGeom>
          <a:solidFill>
            <a:srgbClr val="F2F2F2"/>
          </a:solidFill>
          <a:effectLst/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dapting diets and livelihoods to climate change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C0205F-6E64-4395-822F-79BA9F87AD36}"/>
              </a:ext>
            </a:extLst>
          </p:cNvPr>
          <p:cNvSpPr/>
          <p:nvPr/>
        </p:nvSpPr>
        <p:spPr>
          <a:xfrm flipH="1">
            <a:off x="5954813" y="3605310"/>
            <a:ext cx="45719" cy="1104308"/>
          </a:xfrm>
          <a:prstGeom prst="rect">
            <a:avLst/>
          </a:prstGeom>
          <a:solidFill>
            <a:srgbClr val="F8A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59B9E0F-9BC6-49DC-81FB-41838B74BCC6}"/>
              </a:ext>
            </a:extLst>
          </p:cNvPr>
          <p:cNvSpPr txBox="1"/>
          <p:nvPr/>
        </p:nvSpPr>
        <p:spPr>
          <a:xfrm>
            <a:off x="3561955" y="4977709"/>
            <a:ext cx="2464557" cy="1104309"/>
          </a:xfrm>
          <a:prstGeom prst="roundRect">
            <a:avLst>
              <a:gd name="adj" fmla="val 7644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ietary transitions towards nutritious foods and away from processed, as econ grows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D2C7502-B2C5-4D7E-B7B0-514EAFAAE89A}"/>
              </a:ext>
            </a:extLst>
          </p:cNvPr>
          <p:cNvSpPr/>
          <p:nvPr/>
        </p:nvSpPr>
        <p:spPr>
          <a:xfrm>
            <a:off x="5980793" y="4977709"/>
            <a:ext cx="45719" cy="1103696"/>
          </a:xfrm>
          <a:prstGeom prst="rect">
            <a:avLst/>
          </a:prstGeom>
          <a:solidFill>
            <a:srgbClr val="F14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52FD9EA-5069-406C-ADCB-95C7BD318641}"/>
              </a:ext>
            </a:extLst>
          </p:cNvPr>
          <p:cNvSpPr txBox="1"/>
          <p:nvPr/>
        </p:nvSpPr>
        <p:spPr>
          <a:xfrm>
            <a:off x="8983038" y="4870051"/>
            <a:ext cx="2480547" cy="1103696"/>
          </a:xfrm>
          <a:prstGeom prst="roundRect">
            <a:avLst>
              <a:gd name="adj" fmla="val 6143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oubling down on the nexus between WASH and NTDs  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75BFA85-124D-478C-AA6A-0AFB623714FD}"/>
              </a:ext>
            </a:extLst>
          </p:cNvPr>
          <p:cNvSpPr/>
          <p:nvPr/>
        </p:nvSpPr>
        <p:spPr>
          <a:xfrm>
            <a:off x="8983038" y="4870051"/>
            <a:ext cx="36234" cy="1104309"/>
          </a:xfrm>
          <a:prstGeom prst="rect">
            <a:avLst/>
          </a:prstGeom>
          <a:solidFill>
            <a:srgbClr val="D61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68EEA0A-98BE-4677-9078-0CFF06137595}"/>
              </a:ext>
            </a:extLst>
          </p:cNvPr>
          <p:cNvSpPr txBox="1"/>
          <p:nvPr/>
        </p:nvSpPr>
        <p:spPr>
          <a:xfrm>
            <a:off x="8983038" y="3680486"/>
            <a:ext cx="2480547" cy="1102338"/>
          </a:xfrm>
          <a:prstGeom prst="roundRect">
            <a:avLst>
              <a:gd name="adj" fmla="val 8571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Tackling current crises such as micronutrient and protein deficiencie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9DFAB8A-E46E-434E-82AE-9D09EC68DDF5}"/>
              </a:ext>
            </a:extLst>
          </p:cNvPr>
          <p:cNvSpPr/>
          <p:nvPr/>
        </p:nvSpPr>
        <p:spPr>
          <a:xfrm>
            <a:off x="8983038" y="3680486"/>
            <a:ext cx="36234" cy="1102950"/>
          </a:xfrm>
          <a:prstGeom prst="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74991F-2A69-490B-954E-55C53F0A1B1C}"/>
              </a:ext>
            </a:extLst>
          </p:cNvPr>
          <p:cNvGrpSpPr/>
          <p:nvPr/>
        </p:nvGrpSpPr>
        <p:grpSpPr>
          <a:xfrm>
            <a:off x="3561955" y="1797523"/>
            <a:ext cx="7899231" cy="1614887"/>
            <a:chOff x="3698065" y="1615202"/>
            <a:chExt cx="7762098" cy="1614887"/>
          </a:xfrm>
        </p:grpSpPr>
        <p:sp>
          <p:nvSpPr>
            <p:cNvPr id="144" name="Rectangle: Top Corners Rounded 143">
              <a:extLst>
                <a:ext uri="{FF2B5EF4-FFF2-40B4-BE49-F238E27FC236}">
                  <a16:creationId xmlns:a16="http://schemas.microsoft.com/office/drawing/2014/main" id="{47201C8B-2E1D-4CE4-A3D7-2469599F706C}"/>
                </a:ext>
              </a:extLst>
            </p:cNvPr>
            <p:cNvSpPr/>
            <p:nvPr/>
          </p:nvSpPr>
          <p:spPr>
            <a:xfrm rot="10800000">
              <a:off x="3698065" y="2069131"/>
              <a:ext cx="7762095" cy="1160958"/>
            </a:xfrm>
            <a:prstGeom prst="round2SameRect">
              <a:avLst>
                <a:gd name="adj1" fmla="val 10851"/>
                <a:gd name="adj2" fmla="val 0"/>
              </a:avLst>
            </a:prstGeom>
            <a:solidFill>
              <a:srgbClr val="FAB7D1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5" name="Rectangle: Top Corners Rounded 144">
              <a:extLst>
                <a:ext uri="{FF2B5EF4-FFF2-40B4-BE49-F238E27FC236}">
                  <a16:creationId xmlns:a16="http://schemas.microsoft.com/office/drawing/2014/main" id="{5967E6D7-2DC9-44AA-856C-8AA226C85C08}"/>
                </a:ext>
              </a:extLst>
            </p:cNvPr>
            <p:cNvSpPr/>
            <p:nvPr/>
          </p:nvSpPr>
          <p:spPr>
            <a:xfrm>
              <a:off x="3698069" y="1615202"/>
              <a:ext cx="7762094" cy="455631"/>
            </a:xfrm>
            <a:prstGeom prst="round2SameRect">
              <a:avLst/>
            </a:prstGeom>
            <a:solidFill>
              <a:srgbClr val="ED1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D562D35E-34B6-47B9-B14F-998CDF9A0860}"/>
              </a:ext>
            </a:extLst>
          </p:cNvPr>
          <p:cNvSpPr txBox="1"/>
          <p:nvPr/>
        </p:nvSpPr>
        <p:spPr>
          <a:xfrm>
            <a:off x="6227222" y="2253053"/>
            <a:ext cx="25884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African countries projected to see a 10-50% drop in cereal yields over coming years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9842B22-9714-46E1-B3C1-161F7830A226}"/>
              </a:ext>
            </a:extLst>
          </p:cNvPr>
          <p:cNvSpPr txBox="1"/>
          <p:nvPr/>
        </p:nvSpPr>
        <p:spPr>
          <a:xfrm>
            <a:off x="8853391" y="2253053"/>
            <a:ext cx="2571848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Ethiopia has the highest prevalence of active Trachoma (the leading cause of blindness worldwide) ranging from 5 to 50%. 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42AD5D-AE01-4050-AA7B-3ABB8A2F8B93}"/>
              </a:ext>
            </a:extLst>
          </p:cNvPr>
          <p:cNvSpPr txBox="1"/>
          <p:nvPr/>
        </p:nvSpPr>
        <p:spPr>
          <a:xfrm>
            <a:off x="3823531" y="2253053"/>
            <a:ext cx="212327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the most climate change-vulnerable countries are in Africa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3593138-B99D-47D6-8202-8AB2EC903617}"/>
              </a:ext>
            </a:extLst>
          </p:cNvPr>
          <p:cNvCxnSpPr/>
          <p:nvPr/>
        </p:nvCxnSpPr>
        <p:spPr>
          <a:xfrm>
            <a:off x="6207910" y="1923851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867B366-C1F6-4CE1-AA23-800CC7AD5075}"/>
              </a:ext>
            </a:extLst>
          </p:cNvPr>
          <p:cNvCxnSpPr/>
          <p:nvPr/>
        </p:nvCxnSpPr>
        <p:spPr>
          <a:xfrm>
            <a:off x="8834547" y="1923851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Freeform: Shape 161">
            <a:extLst>
              <a:ext uri="{FF2B5EF4-FFF2-40B4-BE49-F238E27FC236}">
                <a16:creationId xmlns:a16="http://schemas.microsoft.com/office/drawing/2014/main" id="{138DF561-E58A-40A9-86CC-7DECE6D790C5}"/>
              </a:ext>
            </a:extLst>
          </p:cNvPr>
          <p:cNvSpPr/>
          <p:nvPr/>
        </p:nvSpPr>
        <p:spPr>
          <a:xfrm>
            <a:off x="6901457" y="1695753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503A564-3BF9-452B-8CC6-DFFC1DA551BF}"/>
              </a:ext>
            </a:extLst>
          </p:cNvPr>
          <p:cNvSpPr txBox="1"/>
          <p:nvPr/>
        </p:nvSpPr>
        <p:spPr>
          <a:xfrm>
            <a:off x="6955637" y="1779177"/>
            <a:ext cx="11311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90%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37C6DD32-5ABE-4D38-919B-28E62F084D07}"/>
              </a:ext>
            </a:extLst>
          </p:cNvPr>
          <p:cNvSpPr/>
          <p:nvPr/>
        </p:nvSpPr>
        <p:spPr>
          <a:xfrm>
            <a:off x="9554597" y="1709005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IN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rPr>
              <a:t>50%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4186664" y="1695753"/>
            <a:ext cx="1415854" cy="606644"/>
            <a:chOff x="4319528" y="1360193"/>
            <a:chExt cx="1415854" cy="606644"/>
          </a:xfrm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974497B-9144-409C-808F-DC6D06FBCD33}"/>
                </a:ext>
              </a:extLst>
            </p:cNvPr>
            <p:cNvSpPr/>
            <p:nvPr/>
          </p:nvSpPr>
          <p:spPr>
            <a:xfrm>
              <a:off x="4407684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CFD83849-E3B5-4DC3-BC69-6541C2BA83D1}"/>
                </a:ext>
              </a:extLst>
            </p:cNvPr>
            <p:cNvSpPr txBox="1"/>
            <p:nvPr/>
          </p:nvSpPr>
          <p:spPr>
            <a:xfrm>
              <a:off x="4319528" y="1443617"/>
              <a:ext cx="14158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7/10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793046FD-AD4A-45F0-A396-EFE320AF01C8}"/>
              </a:ext>
            </a:extLst>
          </p:cNvPr>
          <p:cNvSpPr/>
          <p:nvPr/>
        </p:nvSpPr>
        <p:spPr>
          <a:xfrm>
            <a:off x="6376742" y="3709171"/>
            <a:ext cx="2260519" cy="2260515"/>
          </a:xfrm>
          <a:prstGeom prst="ellipse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07F7E0F-E49B-4C98-85B8-2FB77432C60D}"/>
              </a:ext>
            </a:extLst>
          </p:cNvPr>
          <p:cNvSpPr txBox="1"/>
          <p:nvPr/>
        </p:nvSpPr>
        <p:spPr>
          <a:xfrm>
            <a:off x="6522377" y="3916233"/>
            <a:ext cx="1969249" cy="1938992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Ensure the basis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for future thriving is assured by focusing on investments which push for strengthening community resilience to withstand climate change impacts as well as reduce the threat of disease</a:t>
            </a:r>
          </a:p>
        </p:txBody>
      </p:sp>
      <p:sp>
        <p:nvSpPr>
          <p:cNvPr id="56" name="Rectangle 23">
            <a:extLst>
              <a:ext uri="{FF2B5EF4-FFF2-40B4-BE49-F238E27FC236}">
                <a16:creationId xmlns:a16="http://schemas.microsoft.com/office/drawing/2014/main" id="{27F2A09A-C041-4696-8A3F-0A83A32FF9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82457" y="3404725"/>
            <a:ext cx="1649089" cy="37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ISSION</a:t>
            </a:r>
          </a:p>
        </p:txBody>
      </p:sp>
      <p:sp>
        <p:nvSpPr>
          <p:cNvPr id="67" name="Shape 121"/>
          <p:cNvSpPr txBox="1">
            <a:spLocks/>
          </p:cNvSpPr>
          <p:nvPr/>
        </p:nvSpPr>
        <p:spPr>
          <a:xfrm>
            <a:off x="658812" y="118612"/>
            <a:ext cx="10801351" cy="345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ED1B66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Priority investment area: </a:t>
            </a:r>
            <a:r>
              <a:rPr kumimoji="0" lang="en-US" sz="2100" b="1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Resilient Communities</a:t>
            </a:r>
            <a:r>
              <a:rPr lang="en-US" sz="2100" i="1" dirty="0">
                <a:solidFill>
                  <a:srgbClr val="595959"/>
                </a:solidFill>
                <a:latin typeface="Lato"/>
              </a:rPr>
              <a:t> - </a:t>
            </a:r>
            <a:r>
              <a:rPr kumimoji="0" lang="en-US" sz="2100" b="0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ensuring sustainable food systems that address climate, health, and nutritional needs. Furthering community norms that prevent adverse diseases.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437265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3" name="Freeform 13"/>
          <p:cNvSpPr>
            <a:spLocks noEditPoints="1"/>
          </p:cNvSpPr>
          <p:nvPr/>
        </p:nvSpPr>
        <p:spPr bwMode="auto">
          <a:xfrm>
            <a:off x="9823804" y="1447382"/>
            <a:ext cx="648120" cy="623789"/>
          </a:xfrm>
          <a:custGeom>
            <a:avLst/>
            <a:gdLst>
              <a:gd name="T0" fmla="*/ 4576 w 4730"/>
              <a:gd name="T1" fmla="*/ 2241 h 5000"/>
              <a:gd name="T2" fmla="*/ 3348 w 4730"/>
              <a:gd name="T3" fmla="*/ 2027 h 5000"/>
              <a:gd name="T4" fmla="*/ 3266 w 4730"/>
              <a:gd name="T5" fmla="*/ 1273 h 5000"/>
              <a:gd name="T6" fmla="*/ 2429 w 4730"/>
              <a:gd name="T7" fmla="*/ 807 h 5000"/>
              <a:gd name="T8" fmla="*/ 2872 w 4730"/>
              <a:gd name="T9" fmla="*/ 545 h 5000"/>
              <a:gd name="T10" fmla="*/ 2936 w 4730"/>
              <a:gd name="T11" fmla="*/ 157 h 5000"/>
              <a:gd name="T12" fmla="*/ 2429 w 4730"/>
              <a:gd name="T13" fmla="*/ 93 h 5000"/>
              <a:gd name="T14" fmla="*/ 2365 w 4730"/>
              <a:gd name="T15" fmla="*/ 0 h 5000"/>
              <a:gd name="T16" fmla="*/ 2301 w 4730"/>
              <a:gd name="T17" fmla="*/ 807 h 5000"/>
              <a:gd name="T18" fmla="*/ 1464 w 4730"/>
              <a:gd name="T19" fmla="*/ 1273 h 5000"/>
              <a:gd name="T20" fmla="*/ 1382 w 4730"/>
              <a:gd name="T21" fmla="*/ 2027 h 5000"/>
              <a:gd name="T22" fmla="*/ 154 w 4730"/>
              <a:gd name="T23" fmla="*/ 2241 h 5000"/>
              <a:gd name="T24" fmla="*/ 0 w 4730"/>
              <a:gd name="T25" fmla="*/ 4738 h 5000"/>
              <a:gd name="T26" fmla="*/ 4468 w 4730"/>
              <a:gd name="T27" fmla="*/ 5000 h 5000"/>
              <a:gd name="T28" fmla="*/ 4576 w 4730"/>
              <a:gd name="T29" fmla="*/ 4500 h 5000"/>
              <a:gd name="T30" fmla="*/ 3875 w 4730"/>
              <a:gd name="T31" fmla="*/ 2647 h 5000"/>
              <a:gd name="T32" fmla="*/ 4232 w 4730"/>
              <a:gd name="T33" fmla="*/ 2771 h 5000"/>
              <a:gd name="T34" fmla="*/ 4108 w 4730"/>
              <a:gd name="T35" fmla="*/ 3128 h 5000"/>
              <a:gd name="T36" fmla="*/ 3751 w 4730"/>
              <a:gd name="T37" fmla="*/ 3004 h 5000"/>
              <a:gd name="T38" fmla="*/ 3751 w 4730"/>
              <a:gd name="T39" fmla="*/ 3519 h 5000"/>
              <a:gd name="T40" fmla="*/ 4108 w 4730"/>
              <a:gd name="T41" fmla="*/ 3394 h 5000"/>
              <a:gd name="T42" fmla="*/ 4232 w 4730"/>
              <a:gd name="T43" fmla="*/ 3751 h 5000"/>
              <a:gd name="T44" fmla="*/ 3875 w 4730"/>
              <a:gd name="T45" fmla="*/ 3876 h 5000"/>
              <a:gd name="T46" fmla="*/ 3751 w 4730"/>
              <a:gd name="T47" fmla="*/ 3519 h 5000"/>
              <a:gd name="T48" fmla="*/ 3128 w 4730"/>
              <a:gd name="T49" fmla="*/ 2647 h 5000"/>
              <a:gd name="T50" fmla="*/ 3485 w 4730"/>
              <a:gd name="T51" fmla="*/ 2771 h 5000"/>
              <a:gd name="T52" fmla="*/ 3360 w 4730"/>
              <a:gd name="T53" fmla="*/ 3128 h 5000"/>
              <a:gd name="T54" fmla="*/ 3003 w 4730"/>
              <a:gd name="T55" fmla="*/ 3004 h 5000"/>
              <a:gd name="T56" fmla="*/ 3003 w 4730"/>
              <a:gd name="T57" fmla="*/ 3519 h 5000"/>
              <a:gd name="T58" fmla="*/ 3360 w 4730"/>
              <a:gd name="T59" fmla="*/ 3394 h 5000"/>
              <a:gd name="T60" fmla="*/ 3485 w 4730"/>
              <a:gd name="T61" fmla="*/ 3751 h 5000"/>
              <a:gd name="T62" fmla="*/ 3128 w 4730"/>
              <a:gd name="T63" fmla="*/ 3876 h 5000"/>
              <a:gd name="T64" fmla="*/ 3003 w 4730"/>
              <a:gd name="T65" fmla="*/ 3519 h 5000"/>
              <a:gd name="T66" fmla="*/ 2717 w 4730"/>
              <a:gd name="T67" fmla="*/ 1765 h 5000"/>
              <a:gd name="T68" fmla="*/ 2013 w 4730"/>
              <a:gd name="T69" fmla="*/ 1765 h 5000"/>
              <a:gd name="T70" fmla="*/ 2012 w 4730"/>
              <a:gd name="T71" fmla="*/ 3435 h 5000"/>
              <a:gd name="T72" fmla="*/ 2593 w 4730"/>
              <a:gd name="T73" fmla="*/ 3311 h 5000"/>
              <a:gd name="T74" fmla="*/ 2718 w 4730"/>
              <a:gd name="T75" fmla="*/ 4415 h 5000"/>
              <a:gd name="T76" fmla="*/ 2029 w 4730"/>
              <a:gd name="T77" fmla="*/ 4477 h 5000"/>
              <a:gd name="T78" fmla="*/ 2012 w 4730"/>
              <a:gd name="T79" fmla="*/ 3435 h 5000"/>
              <a:gd name="T80" fmla="*/ 1370 w 4730"/>
              <a:gd name="T81" fmla="*/ 2647 h 5000"/>
              <a:gd name="T82" fmla="*/ 1727 w 4730"/>
              <a:gd name="T83" fmla="*/ 2771 h 5000"/>
              <a:gd name="T84" fmla="*/ 1602 w 4730"/>
              <a:gd name="T85" fmla="*/ 3128 h 5000"/>
              <a:gd name="T86" fmla="*/ 1245 w 4730"/>
              <a:gd name="T87" fmla="*/ 3004 h 5000"/>
              <a:gd name="T88" fmla="*/ 1245 w 4730"/>
              <a:gd name="T89" fmla="*/ 3519 h 5000"/>
              <a:gd name="T90" fmla="*/ 1602 w 4730"/>
              <a:gd name="T91" fmla="*/ 3394 h 5000"/>
              <a:gd name="T92" fmla="*/ 1727 w 4730"/>
              <a:gd name="T93" fmla="*/ 3751 h 5000"/>
              <a:gd name="T94" fmla="*/ 1370 w 4730"/>
              <a:gd name="T95" fmla="*/ 3876 h 5000"/>
              <a:gd name="T96" fmla="*/ 1245 w 4730"/>
              <a:gd name="T97" fmla="*/ 3519 h 5000"/>
              <a:gd name="T98" fmla="*/ 622 w 4730"/>
              <a:gd name="T99" fmla="*/ 2647 h 5000"/>
              <a:gd name="T100" fmla="*/ 979 w 4730"/>
              <a:gd name="T101" fmla="*/ 2771 h 5000"/>
              <a:gd name="T102" fmla="*/ 855 w 4730"/>
              <a:gd name="T103" fmla="*/ 3128 h 5000"/>
              <a:gd name="T104" fmla="*/ 498 w 4730"/>
              <a:gd name="T105" fmla="*/ 3004 h 5000"/>
              <a:gd name="T106" fmla="*/ 498 w 4730"/>
              <a:gd name="T107" fmla="*/ 3519 h 5000"/>
              <a:gd name="T108" fmla="*/ 855 w 4730"/>
              <a:gd name="T109" fmla="*/ 3394 h 5000"/>
              <a:gd name="T110" fmla="*/ 979 w 4730"/>
              <a:gd name="T111" fmla="*/ 3751 h 5000"/>
              <a:gd name="T112" fmla="*/ 623 w 4730"/>
              <a:gd name="T113" fmla="*/ 3876 h 5000"/>
              <a:gd name="T114" fmla="*/ 498 w 4730"/>
              <a:gd name="T115" fmla="*/ 3519 h 50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4730" h="5000">
                <a:moveTo>
                  <a:pt x="4576" y="4500"/>
                </a:moveTo>
                <a:lnTo>
                  <a:pt x="4576" y="2241"/>
                </a:lnTo>
                <a:cubicBezTo>
                  <a:pt x="4576" y="2123"/>
                  <a:pt x="4480" y="2027"/>
                  <a:pt x="4362" y="2027"/>
                </a:cubicBezTo>
                <a:lnTo>
                  <a:pt x="3348" y="2027"/>
                </a:lnTo>
                <a:lnTo>
                  <a:pt x="3348" y="1412"/>
                </a:lnTo>
                <a:cubicBezTo>
                  <a:pt x="3348" y="1354"/>
                  <a:pt x="3317" y="1301"/>
                  <a:pt x="3266" y="1273"/>
                </a:cubicBezTo>
                <a:lnTo>
                  <a:pt x="2443" y="814"/>
                </a:lnTo>
                <a:cubicBezTo>
                  <a:pt x="2438" y="811"/>
                  <a:pt x="2434" y="809"/>
                  <a:pt x="2429" y="807"/>
                </a:cubicBezTo>
                <a:lnTo>
                  <a:pt x="2429" y="545"/>
                </a:lnTo>
                <a:lnTo>
                  <a:pt x="2872" y="545"/>
                </a:lnTo>
                <a:cubicBezTo>
                  <a:pt x="2908" y="545"/>
                  <a:pt x="2936" y="516"/>
                  <a:pt x="2936" y="481"/>
                </a:cubicBezTo>
                <a:lnTo>
                  <a:pt x="2936" y="157"/>
                </a:lnTo>
                <a:cubicBezTo>
                  <a:pt x="2936" y="122"/>
                  <a:pt x="2908" y="93"/>
                  <a:pt x="2872" y="93"/>
                </a:cubicBezTo>
                <a:lnTo>
                  <a:pt x="2429" y="93"/>
                </a:lnTo>
                <a:lnTo>
                  <a:pt x="2429" y="64"/>
                </a:lnTo>
                <a:cubicBezTo>
                  <a:pt x="2429" y="29"/>
                  <a:pt x="2400" y="0"/>
                  <a:pt x="2365" y="0"/>
                </a:cubicBezTo>
                <a:cubicBezTo>
                  <a:pt x="2330" y="0"/>
                  <a:pt x="2301" y="29"/>
                  <a:pt x="2301" y="64"/>
                </a:cubicBezTo>
                <a:lnTo>
                  <a:pt x="2301" y="807"/>
                </a:lnTo>
                <a:cubicBezTo>
                  <a:pt x="2296" y="809"/>
                  <a:pt x="2292" y="811"/>
                  <a:pt x="2287" y="814"/>
                </a:cubicBezTo>
                <a:lnTo>
                  <a:pt x="1464" y="1273"/>
                </a:lnTo>
                <a:cubicBezTo>
                  <a:pt x="1413" y="1301"/>
                  <a:pt x="1382" y="1354"/>
                  <a:pt x="1382" y="1413"/>
                </a:cubicBezTo>
                <a:lnTo>
                  <a:pt x="1382" y="2027"/>
                </a:lnTo>
                <a:lnTo>
                  <a:pt x="368" y="2027"/>
                </a:lnTo>
                <a:cubicBezTo>
                  <a:pt x="250" y="2027"/>
                  <a:pt x="154" y="2123"/>
                  <a:pt x="154" y="2241"/>
                </a:cubicBezTo>
                <a:lnTo>
                  <a:pt x="154" y="4500"/>
                </a:lnTo>
                <a:cubicBezTo>
                  <a:pt x="63" y="4541"/>
                  <a:pt x="0" y="4632"/>
                  <a:pt x="0" y="4738"/>
                </a:cubicBezTo>
                <a:cubicBezTo>
                  <a:pt x="0" y="4883"/>
                  <a:pt x="117" y="5000"/>
                  <a:pt x="262" y="5000"/>
                </a:cubicBezTo>
                <a:lnTo>
                  <a:pt x="4468" y="5000"/>
                </a:lnTo>
                <a:cubicBezTo>
                  <a:pt x="4613" y="5000"/>
                  <a:pt x="4730" y="4883"/>
                  <a:pt x="4730" y="4738"/>
                </a:cubicBezTo>
                <a:cubicBezTo>
                  <a:pt x="4730" y="4632"/>
                  <a:pt x="4667" y="4541"/>
                  <a:pt x="4576" y="4500"/>
                </a:cubicBezTo>
                <a:close/>
                <a:moveTo>
                  <a:pt x="3751" y="2771"/>
                </a:moveTo>
                <a:cubicBezTo>
                  <a:pt x="3751" y="2703"/>
                  <a:pt x="3806" y="2647"/>
                  <a:pt x="3875" y="2647"/>
                </a:cubicBezTo>
                <a:lnTo>
                  <a:pt x="4108" y="2647"/>
                </a:lnTo>
                <a:cubicBezTo>
                  <a:pt x="4176" y="2647"/>
                  <a:pt x="4232" y="2703"/>
                  <a:pt x="4232" y="2771"/>
                </a:cubicBezTo>
                <a:lnTo>
                  <a:pt x="4232" y="3004"/>
                </a:lnTo>
                <a:cubicBezTo>
                  <a:pt x="4232" y="3073"/>
                  <a:pt x="4176" y="3128"/>
                  <a:pt x="4108" y="3128"/>
                </a:cubicBezTo>
                <a:lnTo>
                  <a:pt x="3875" y="3128"/>
                </a:lnTo>
                <a:cubicBezTo>
                  <a:pt x="3806" y="3128"/>
                  <a:pt x="3751" y="3073"/>
                  <a:pt x="3751" y="3004"/>
                </a:cubicBezTo>
                <a:lnTo>
                  <a:pt x="3751" y="2771"/>
                </a:lnTo>
                <a:close/>
                <a:moveTo>
                  <a:pt x="3751" y="3519"/>
                </a:moveTo>
                <a:cubicBezTo>
                  <a:pt x="3751" y="3450"/>
                  <a:pt x="3806" y="3394"/>
                  <a:pt x="3875" y="3394"/>
                </a:cubicBezTo>
                <a:lnTo>
                  <a:pt x="4108" y="3394"/>
                </a:lnTo>
                <a:cubicBezTo>
                  <a:pt x="4176" y="3394"/>
                  <a:pt x="4232" y="3450"/>
                  <a:pt x="4232" y="3519"/>
                </a:cubicBezTo>
                <a:lnTo>
                  <a:pt x="4232" y="3751"/>
                </a:lnTo>
                <a:cubicBezTo>
                  <a:pt x="4232" y="3820"/>
                  <a:pt x="4176" y="3876"/>
                  <a:pt x="4108" y="3876"/>
                </a:cubicBezTo>
                <a:lnTo>
                  <a:pt x="3875" y="3876"/>
                </a:lnTo>
                <a:cubicBezTo>
                  <a:pt x="3806" y="3876"/>
                  <a:pt x="3751" y="3820"/>
                  <a:pt x="3751" y="3751"/>
                </a:cubicBezTo>
                <a:lnTo>
                  <a:pt x="3751" y="3519"/>
                </a:lnTo>
                <a:close/>
                <a:moveTo>
                  <a:pt x="3003" y="2771"/>
                </a:moveTo>
                <a:cubicBezTo>
                  <a:pt x="3003" y="2703"/>
                  <a:pt x="3059" y="2647"/>
                  <a:pt x="3128" y="2647"/>
                </a:cubicBezTo>
                <a:lnTo>
                  <a:pt x="3360" y="2647"/>
                </a:lnTo>
                <a:cubicBezTo>
                  <a:pt x="3429" y="2647"/>
                  <a:pt x="3485" y="2703"/>
                  <a:pt x="3485" y="2771"/>
                </a:cubicBezTo>
                <a:lnTo>
                  <a:pt x="3485" y="3004"/>
                </a:lnTo>
                <a:cubicBezTo>
                  <a:pt x="3485" y="3073"/>
                  <a:pt x="3429" y="3128"/>
                  <a:pt x="3360" y="3128"/>
                </a:cubicBezTo>
                <a:lnTo>
                  <a:pt x="3128" y="3128"/>
                </a:lnTo>
                <a:cubicBezTo>
                  <a:pt x="3059" y="3128"/>
                  <a:pt x="3003" y="3073"/>
                  <a:pt x="3003" y="3004"/>
                </a:cubicBezTo>
                <a:lnTo>
                  <a:pt x="3003" y="2771"/>
                </a:lnTo>
                <a:close/>
                <a:moveTo>
                  <a:pt x="3003" y="3519"/>
                </a:moveTo>
                <a:cubicBezTo>
                  <a:pt x="3003" y="3450"/>
                  <a:pt x="3059" y="3394"/>
                  <a:pt x="3128" y="3394"/>
                </a:cubicBezTo>
                <a:lnTo>
                  <a:pt x="3360" y="3394"/>
                </a:lnTo>
                <a:cubicBezTo>
                  <a:pt x="3429" y="3394"/>
                  <a:pt x="3485" y="3450"/>
                  <a:pt x="3485" y="3519"/>
                </a:cubicBezTo>
                <a:lnTo>
                  <a:pt x="3485" y="3751"/>
                </a:lnTo>
                <a:cubicBezTo>
                  <a:pt x="3485" y="3820"/>
                  <a:pt x="3429" y="3876"/>
                  <a:pt x="3360" y="3876"/>
                </a:cubicBezTo>
                <a:lnTo>
                  <a:pt x="3128" y="3876"/>
                </a:lnTo>
                <a:cubicBezTo>
                  <a:pt x="3059" y="3876"/>
                  <a:pt x="3003" y="3820"/>
                  <a:pt x="3003" y="3751"/>
                </a:cubicBezTo>
                <a:lnTo>
                  <a:pt x="3003" y="3519"/>
                </a:lnTo>
                <a:close/>
                <a:moveTo>
                  <a:pt x="2365" y="1413"/>
                </a:moveTo>
                <a:cubicBezTo>
                  <a:pt x="2560" y="1413"/>
                  <a:pt x="2717" y="1571"/>
                  <a:pt x="2717" y="1765"/>
                </a:cubicBezTo>
                <a:cubicBezTo>
                  <a:pt x="2717" y="1960"/>
                  <a:pt x="2560" y="2118"/>
                  <a:pt x="2365" y="2118"/>
                </a:cubicBezTo>
                <a:cubicBezTo>
                  <a:pt x="2170" y="2118"/>
                  <a:pt x="2013" y="1960"/>
                  <a:pt x="2013" y="1765"/>
                </a:cubicBezTo>
                <a:cubicBezTo>
                  <a:pt x="2013" y="1571"/>
                  <a:pt x="2170" y="1413"/>
                  <a:pt x="2365" y="1413"/>
                </a:cubicBezTo>
                <a:close/>
                <a:moveTo>
                  <a:pt x="2012" y="3435"/>
                </a:moveTo>
                <a:cubicBezTo>
                  <a:pt x="2012" y="3367"/>
                  <a:pt x="2068" y="3311"/>
                  <a:pt x="2137" y="3311"/>
                </a:cubicBezTo>
                <a:lnTo>
                  <a:pt x="2593" y="3311"/>
                </a:lnTo>
                <a:cubicBezTo>
                  <a:pt x="2662" y="3311"/>
                  <a:pt x="2718" y="3367"/>
                  <a:pt x="2718" y="3435"/>
                </a:cubicBezTo>
                <a:lnTo>
                  <a:pt x="2718" y="4415"/>
                </a:lnTo>
                <a:cubicBezTo>
                  <a:pt x="2718" y="4438"/>
                  <a:pt x="2712" y="4459"/>
                  <a:pt x="2701" y="4477"/>
                </a:cubicBezTo>
                <a:lnTo>
                  <a:pt x="2029" y="4477"/>
                </a:lnTo>
                <a:cubicBezTo>
                  <a:pt x="2018" y="4459"/>
                  <a:pt x="2012" y="4438"/>
                  <a:pt x="2012" y="4415"/>
                </a:cubicBezTo>
                <a:lnTo>
                  <a:pt x="2012" y="3435"/>
                </a:lnTo>
                <a:close/>
                <a:moveTo>
                  <a:pt x="1245" y="2771"/>
                </a:moveTo>
                <a:cubicBezTo>
                  <a:pt x="1245" y="2703"/>
                  <a:pt x="1301" y="2647"/>
                  <a:pt x="1370" y="2647"/>
                </a:cubicBezTo>
                <a:lnTo>
                  <a:pt x="1602" y="2647"/>
                </a:lnTo>
                <a:cubicBezTo>
                  <a:pt x="1671" y="2647"/>
                  <a:pt x="1727" y="2703"/>
                  <a:pt x="1727" y="2771"/>
                </a:cubicBezTo>
                <a:lnTo>
                  <a:pt x="1727" y="3004"/>
                </a:lnTo>
                <a:cubicBezTo>
                  <a:pt x="1727" y="3073"/>
                  <a:pt x="1671" y="3128"/>
                  <a:pt x="1602" y="3128"/>
                </a:cubicBezTo>
                <a:lnTo>
                  <a:pt x="1370" y="3128"/>
                </a:lnTo>
                <a:cubicBezTo>
                  <a:pt x="1301" y="3128"/>
                  <a:pt x="1245" y="3073"/>
                  <a:pt x="1245" y="3004"/>
                </a:cubicBezTo>
                <a:lnTo>
                  <a:pt x="1245" y="2771"/>
                </a:lnTo>
                <a:close/>
                <a:moveTo>
                  <a:pt x="1245" y="3519"/>
                </a:moveTo>
                <a:cubicBezTo>
                  <a:pt x="1245" y="3450"/>
                  <a:pt x="1301" y="3394"/>
                  <a:pt x="1370" y="3394"/>
                </a:cubicBezTo>
                <a:lnTo>
                  <a:pt x="1602" y="3394"/>
                </a:lnTo>
                <a:cubicBezTo>
                  <a:pt x="1671" y="3394"/>
                  <a:pt x="1727" y="3450"/>
                  <a:pt x="1727" y="3519"/>
                </a:cubicBezTo>
                <a:lnTo>
                  <a:pt x="1727" y="3751"/>
                </a:lnTo>
                <a:cubicBezTo>
                  <a:pt x="1727" y="3820"/>
                  <a:pt x="1671" y="3876"/>
                  <a:pt x="1602" y="3876"/>
                </a:cubicBezTo>
                <a:lnTo>
                  <a:pt x="1370" y="3876"/>
                </a:lnTo>
                <a:cubicBezTo>
                  <a:pt x="1301" y="3876"/>
                  <a:pt x="1245" y="3820"/>
                  <a:pt x="1245" y="3751"/>
                </a:cubicBezTo>
                <a:lnTo>
                  <a:pt x="1245" y="3519"/>
                </a:lnTo>
                <a:close/>
                <a:moveTo>
                  <a:pt x="498" y="2771"/>
                </a:moveTo>
                <a:cubicBezTo>
                  <a:pt x="498" y="2703"/>
                  <a:pt x="554" y="2647"/>
                  <a:pt x="622" y="2647"/>
                </a:cubicBezTo>
                <a:lnTo>
                  <a:pt x="855" y="2647"/>
                </a:lnTo>
                <a:cubicBezTo>
                  <a:pt x="924" y="2647"/>
                  <a:pt x="979" y="2703"/>
                  <a:pt x="979" y="2771"/>
                </a:cubicBezTo>
                <a:lnTo>
                  <a:pt x="979" y="3004"/>
                </a:lnTo>
                <a:cubicBezTo>
                  <a:pt x="979" y="3073"/>
                  <a:pt x="924" y="3128"/>
                  <a:pt x="855" y="3128"/>
                </a:cubicBezTo>
                <a:lnTo>
                  <a:pt x="623" y="3128"/>
                </a:lnTo>
                <a:cubicBezTo>
                  <a:pt x="554" y="3128"/>
                  <a:pt x="498" y="3073"/>
                  <a:pt x="498" y="3004"/>
                </a:cubicBezTo>
                <a:lnTo>
                  <a:pt x="498" y="2771"/>
                </a:lnTo>
                <a:close/>
                <a:moveTo>
                  <a:pt x="498" y="3519"/>
                </a:moveTo>
                <a:cubicBezTo>
                  <a:pt x="498" y="3450"/>
                  <a:pt x="554" y="3394"/>
                  <a:pt x="622" y="3394"/>
                </a:cubicBezTo>
                <a:lnTo>
                  <a:pt x="855" y="3394"/>
                </a:lnTo>
                <a:cubicBezTo>
                  <a:pt x="924" y="3394"/>
                  <a:pt x="979" y="3450"/>
                  <a:pt x="979" y="3519"/>
                </a:cubicBezTo>
                <a:lnTo>
                  <a:pt x="979" y="3751"/>
                </a:lnTo>
                <a:cubicBezTo>
                  <a:pt x="979" y="3820"/>
                  <a:pt x="924" y="3876"/>
                  <a:pt x="855" y="3876"/>
                </a:cubicBezTo>
                <a:lnTo>
                  <a:pt x="623" y="3876"/>
                </a:lnTo>
                <a:cubicBezTo>
                  <a:pt x="554" y="3876"/>
                  <a:pt x="498" y="3820"/>
                  <a:pt x="498" y="3751"/>
                </a:cubicBezTo>
                <a:lnTo>
                  <a:pt x="498" y="3519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65" name="Group 64"/>
          <p:cNvGrpSpPr/>
          <p:nvPr/>
        </p:nvGrpSpPr>
        <p:grpSpPr>
          <a:xfrm>
            <a:off x="7218630" y="1425969"/>
            <a:ext cx="519847" cy="572857"/>
            <a:chOff x="252413" y="654050"/>
            <a:chExt cx="2413000" cy="2659063"/>
          </a:xfrm>
        </p:grpSpPr>
        <p:sp>
          <p:nvSpPr>
            <p:cNvPr id="66" name="Freeform 5"/>
            <p:cNvSpPr>
              <a:spLocks/>
            </p:cNvSpPr>
            <p:nvPr/>
          </p:nvSpPr>
          <p:spPr bwMode="auto">
            <a:xfrm>
              <a:off x="665163" y="654050"/>
              <a:ext cx="1617663" cy="2419350"/>
            </a:xfrm>
            <a:custGeom>
              <a:avLst/>
              <a:gdLst>
                <a:gd name="T0" fmla="*/ 1141 w 13701"/>
                <a:gd name="T1" fmla="*/ 10333 h 20506"/>
                <a:gd name="T2" fmla="*/ 1941 w 13701"/>
                <a:gd name="T3" fmla="*/ 12280 h 20506"/>
                <a:gd name="T4" fmla="*/ 2118 w 13701"/>
                <a:gd name="T5" fmla="*/ 12544 h 20506"/>
                <a:gd name="T6" fmla="*/ 2326 w 13701"/>
                <a:gd name="T7" fmla="*/ 12649 h 20506"/>
                <a:gd name="T8" fmla="*/ 2270 w 13701"/>
                <a:gd name="T9" fmla="*/ 12778 h 20506"/>
                <a:gd name="T10" fmla="*/ 2080 w 13701"/>
                <a:gd name="T11" fmla="*/ 12818 h 20506"/>
                <a:gd name="T12" fmla="*/ 2634 w 13701"/>
                <a:gd name="T13" fmla="*/ 13075 h 20506"/>
                <a:gd name="T14" fmla="*/ 3158 w 13701"/>
                <a:gd name="T15" fmla="*/ 13559 h 20506"/>
                <a:gd name="T16" fmla="*/ 3913 w 13701"/>
                <a:gd name="T17" fmla="*/ 13468 h 20506"/>
                <a:gd name="T18" fmla="*/ 6801 w 13701"/>
                <a:gd name="T19" fmla="*/ 20506 h 20506"/>
                <a:gd name="T20" fmla="*/ 9993 w 13701"/>
                <a:gd name="T21" fmla="*/ 13478 h 20506"/>
                <a:gd name="T22" fmla="*/ 9953 w 13701"/>
                <a:gd name="T23" fmla="*/ 13225 h 20506"/>
                <a:gd name="T24" fmla="*/ 10289 w 13701"/>
                <a:gd name="T25" fmla="*/ 13570 h 20506"/>
                <a:gd name="T26" fmla="*/ 10410 w 13701"/>
                <a:gd name="T27" fmla="*/ 13325 h 20506"/>
                <a:gd name="T28" fmla="*/ 10500 w 13701"/>
                <a:gd name="T29" fmla="*/ 12962 h 20506"/>
                <a:gd name="T30" fmla="*/ 11428 w 13701"/>
                <a:gd name="T31" fmla="*/ 12724 h 20506"/>
                <a:gd name="T32" fmla="*/ 11410 w 13701"/>
                <a:gd name="T33" fmla="*/ 12514 h 20506"/>
                <a:gd name="T34" fmla="*/ 11625 w 13701"/>
                <a:gd name="T35" fmla="*/ 12418 h 20506"/>
                <a:gd name="T36" fmla="*/ 11804 w 13701"/>
                <a:gd name="T37" fmla="*/ 11795 h 20506"/>
                <a:gd name="T38" fmla="*/ 12500 w 13701"/>
                <a:gd name="T39" fmla="*/ 12084 h 20506"/>
                <a:gd name="T40" fmla="*/ 12971 w 13701"/>
                <a:gd name="T41" fmla="*/ 11693 h 20506"/>
                <a:gd name="T42" fmla="*/ 13360 w 13701"/>
                <a:gd name="T43" fmla="*/ 10959 h 20506"/>
                <a:gd name="T44" fmla="*/ 13602 w 13701"/>
                <a:gd name="T45" fmla="*/ 10456 h 20506"/>
                <a:gd name="T46" fmla="*/ 13491 w 13701"/>
                <a:gd name="T47" fmla="*/ 9202 h 20506"/>
                <a:gd name="T48" fmla="*/ 13442 w 13701"/>
                <a:gd name="T49" fmla="*/ 7705 h 20506"/>
                <a:gd name="T50" fmla="*/ 13246 w 13701"/>
                <a:gd name="T51" fmla="*/ 7025 h 20506"/>
                <a:gd name="T52" fmla="*/ 13190 w 13701"/>
                <a:gd name="T53" fmla="*/ 6798 h 20506"/>
                <a:gd name="T54" fmla="*/ 12951 w 13701"/>
                <a:gd name="T55" fmla="*/ 5684 h 20506"/>
                <a:gd name="T56" fmla="*/ 12959 w 13701"/>
                <a:gd name="T57" fmla="*/ 4403 h 20506"/>
                <a:gd name="T58" fmla="*/ 12109 w 13701"/>
                <a:gd name="T59" fmla="*/ 4185 h 20506"/>
                <a:gd name="T60" fmla="*/ 11723 w 13701"/>
                <a:gd name="T61" fmla="*/ 3474 h 20506"/>
                <a:gd name="T62" fmla="*/ 11536 w 13701"/>
                <a:gd name="T63" fmla="*/ 3025 h 20506"/>
                <a:gd name="T64" fmla="*/ 11262 w 13701"/>
                <a:gd name="T65" fmla="*/ 2886 h 20506"/>
                <a:gd name="T66" fmla="*/ 10659 w 13701"/>
                <a:gd name="T67" fmla="*/ 2007 h 20506"/>
                <a:gd name="T68" fmla="*/ 10610 w 13701"/>
                <a:gd name="T69" fmla="*/ 1483 h 20506"/>
                <a:gd name="T70" fmla="*/ 10314 w 13701"/>
                <a:gd name="T71" fmla="*/ 1456 h 20506"/>
                <a:gd name="T72" fmla="*/ 9422 w 13701"/>
                <a:gd name="T73" fmla="*/ 1445 h 20506"/>
                <a:gd name="T74" fmla="*/ 9232 w 13701"/>
                <a:gd name="T75" fmla="*/ 1219 h 20506"/>
                <a:gd name="T76" fmla="*/ 8649 w 13701"/>
                <a:gd name="T77" fmla="*/ 966 h 20506"/>
                <a:gd name="T78" fmla="*/ 7941 w 13701"/>
                <a:gd name="T79" fmla="*/ 558 h 20506"/>
                <a:gd name="T80" fmla="*/ 7972 w 13701"/>
                <a:gd name="T81" fmla="*/ 315 h 20506"/>
                <a:gd name="T82" fmla="*/ 7062 w 13701"/>
                <a:gd name="T83" fmla="*/ 487 h 20506"/>
                <a:gd name="T84" fmla="*/ 6616 w 13701"/>
                <a:gd name="T85" fmla="*/ 567 h 20506"/>
                <a:gd name="T86" fmla="*/ 6348 w 13701"/>
                <a:gd name="T87" fmla="*/ 503 h 20506"/>
                <a:gd name="T88" fmla="*/ 5427 w 13701"/>
                <a:gd name="T89" fmla="*/ 612 h 20506"/>
                <a:gd name="T90" fmla="*/ 4719 w 13701"/>
                <a:gd name="T91" fmla="*/ 1049 h 20506"/>
                <a:gd name="T92" fmla="*/ 4072 w 13701"/>
                <a:gd name="T93" fmla="*/ 1258 h 20506"/>
                <a:gd name="T94" fmla="*/ 2944 w 13701"/>
                <a:gd name="T95" fmla="*/ 1950 h 20506"/>
                <a:gd name="T96" fmla="*/ 1789 w 13701"/>
                <a:gd name="T97" fmla="*/ 2850 h 20506"/>
                <a:gd name="T98" fmla="*/ 1390 w 13701"/>
                <a:gd name="T99" fmla="*/ 3282 h 20506"/>
                <a:gd name="T100" fmla="*/ 1331 w 13701"/>
                <a:gd name="T101" fmla="*/ 3999 h 20506"/>
                <a:gd name="T102" fmla="*/ 1760 w 13701"/>
                <a:gd name="T103" fmla="*/ 3229 h 20506"/>
                <a:gd name="T104" fmla="*/ 1006 w 13701"/>
                <a:gd name="T105" fmla="*/ 5065 h 20506"/>
                <a:gd name="T106" fmla="*/ 315 w 13701"/>
                <a:gd name="T107" fmla="*/ 6768 h 20506"/>
                <a:gd name="T108" fmla="*/ 275 w 13701"/>
                <a:gd name="T109" fmla="*/ 7803 h 20506"/>
                <a:gd name="T110" fmla="*/ 263 w 13701"/>
                <a:gd name="T111" fmla="*/ 8586 h 20506"/>
                <a:gd name="T112" fmla="*/ 572 w 13701"/>
                <a:gd name="T113" fmla="*/ 9710 h 20506"/>
                <a:gd name="T114" fmla="*/ 603 w 13701"/>
                <a:gd name="T115" fmla="*/ 10306 h 20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3701" h="20506">
                  <a:moveTo>
                    <a:pt x="603" y="10306"/>
                  </a:moveTo>
                  <a:cubicBezTo>
                    <a:pt x="777" y="10299"/>
                    <a:pt x="683" y="10304"/>
                    <a:pt x="875" y="10196"/>
                  </a:cubicBezTo>
                  <a:cubicBezTo>
                    <a:pt x="1041" y="10281"/>
                    <a:pt x="964" y="10260"/>
                    <a:pt x="1141" y="10333"/>
                  </a:cubicBezTo>
                  <a:cubicBezTo>
                    <a:pt x="1255" y="10380"/>
                    <a:pt x="1301" y="10397"/>
                    <a:pt x="1435" y="10437"/>
                  </a:cubicBezTo>
                  <a:cubicBezTo>
                    <a:pt x="521" y="10842"/>
                    <a:pt x="1538" y="12389"/>
                    <a:pt x="1806" y="12598"/>
                  </a:cubicBezTo>
                  <a:cubicBezTo>
                    <a:pt x="2013" y="12426"/>
                    <a:pt x="1861" y="12491"/>
                    <a:pt x="1941" y="12280"/>
                  </a:cubicBezTo>
                  <a:cubicBezTo>
                    <a:pt x="2104" y="12048"/>
                    <a:pt x="2029" y="12077"/>
                    <a:pt x="2300" y="12127"/>
                  </a:cubicBezTo>
                  <a:cubicBezTo>
                    <a:pt x="2209" y="12196"/>
                    <a:pt x="2154" y="12246"/>
                    <a:pt x="2005" y="12276"/>
                  </a:cubicBezTo>
                  <a:cubicBezTo>
                    <a:pt x="2071" y="12358"/>
                    <a:pt x="2091" y="12406"/>
                    <a:pt x="2118" y="12544"/>
                  </a:cubicBezTo>
                  <a:cubicBezTo>
                    <a:pt x="2220" y="12361"/>
                    <a:pt x="2104" y="12447"/>
                    <a:pt x="2270" y="12402"/>
                  </a:cubicBezTo>
                  <a:cubicBezTo>
                    <a:pt x="2399" y="12537"/>
                    <a:pt x="2406" y="12504"/>
                    <a:pt x="2340" y="12627"/>
                  </a:cubicBezTo>
                  <a:cubicBezTo>
                    <a:pt x="2337" y="12632"/>
                    <a:pt x="2328" y="12644"/>
                    <a:pt x="2326" y="12649"/>
                  </a:cubicBezTo>
                  <a:cubicBezTo>
                    <a:pt x="2323" y="12655"/>
                    <a:pt x="2315" y="12670"/>
                    <a:pt x="2312" y="12676"/>
                  </a:cubicBezTo>
                  <a:lnTo>
                    <a:pt x="2284" y="12741"/>
                  </a:lnTo>
                  <a:cubicBezTo>
                    <a:pt x="2281" y="12748"/>
                    <a:pt x="2276" y="12767"/>
                    <a:pt x="2270" y="12778"/>
                  </a:cubicBezTo>
                  <a:lnTo>
                    <a:pt x="2002" y="12745"/>
                  </a:lnTo>
                  <a:cubicBezTo>
                    <a:pt x="2014" y="12746"/>
                    <a:pt x="2052" y="12763"/>
                    <a:pt x="2123" y="12794"/>
                  </a:cubicBezTo>
                  <a:cubicBezTo>
                    <a:pt x="2111" y="12805"/>
                    <a:pt x="2086" y="12797"/>
                    <a:pt x="2080" y="12818"/>
                  </a:cubicBezTo>
                  <a:cubicBezTo>
                    <a:pt x="2027" y="12984"/>
                    <a:pt x="1925" y="12722"/>
                    <a:pt x="1956" y="12905"/>
                  </a:cubicBezTo>
                  <a:cubicBezTo>
                    <a:pt x="1973" y="13005"/>
                    <a:pt x="2305" y="12896"/>
                    <a:pt x="2432" y="12907"/>
                  </a:cubicBezTo>
                  <a:cubicBezTo>
                    <a:pt x="2693" y="12931"/>
                    <a:pt x="2518" y="12802"/>
                    <a:pt x="2634" y="13075"/>
                  </a:cubicBezTo>
                  <a:cubicBezTo>
                    <a:pt x="2771" y="12842"/>
                    <a:pt x="2652" y="12938"/>
                    <a:pt x="2800" y="12848"/>
                  </a:cubicBezTo>
                  <a:cubicBezTo>
                    <a:pt x="3085" y="12924"/>
                    <a:pt x="2876" y="12936"/>
                    <a:pt x="3142" y="13054"/>
                  </a:cubicBezTo>
                  <a:cubicBezTo>
                    <a:pt x="3054" y="13245"/>
                    <a:pt x="3073" y="13374"/>
                    <a:pt x="3158" y="13559"/>
                  </a:cubicBezTo>
                  <a:cubicBezTo>
                    <a:pt x="3309" y="13567"/>
                    <a:pt x="3459" y="13575"/>
                    <a:pt x="3610" y="13583"/>
                  </a:cubicBezTo>
                  <a:cubicBezTo>
                    <a:pt x="3652" y="13393"/>
                    <a:pt x="3532" y="13384"/>
                    <a:pt x="3693" y="13356"/>
                  </a:cubicBezTo>
                  <a:cubicBezTo>
                    <a:pt x="4038" y="13296"/>
                    <a:pt x="3902" y="13432"/>
                    <a:pt x="3913" y="13468"/>
                  </a:cubicBezTo>
                  <a:cubicBezTo>
                    <a:pt x="4093" y="13441"/>
                    <a:pt x="3935" y="13418"/>
                    <a:pt x="4168" y="13390"/>
                  </a:cubicBezTo>
                  <a:cubicBezTo>
                    <a:pt x="4140" y="13457"/>
                    <a:pt x="4103" y="13522"/>
                    <a:pt x="4060" y="13585"/>
                  </a:cubicBezTo>
                  <a:cubicBezTo>
                    <a:pt x="5196" y="15627"/>
                    <a:pt x="6066" y="17986"/>
                    <a:pt x="6801" y="20506"/>
                  </a:cubicBezTo>
                  <a:cubicBezTo>
                    <a:pt x="7459" y="17856"/>
                    <a:pt x="8221" y="15313"/>
                    <a:pt x="9724" y="13585"/>
                  </a:cubicBezTo>
                  <a:cubicBezTo>
                    <a:pt x="9597" y="13501"/>
                    <a:pt x="9615" y="13500"/>
                    <a:pt x="9565" y="13389"/>
                  </a:cubicBezTo>
                  <a:cubicBezTo>
                    <a:pt x="9893" y="13428"/>
                    <a:pt x="9740" y="13593"/>
                    <a:pt x="9993" y="13478"/>
                  </a:cubicBezTo>
                  <a:cubicBezTo>
                    <a:pt x="9829" y="13248"/>
                    <a:pt x="9910" y="13501"/>
                    <a:pt x="9792" y="13264"/>
                  </a:cubicBezTo>
                  <a:cubicBezTo>
                    <a:pt x="9883" y="13228"/>
                    <a:pt x="9788" y="13268"/>
                    <a:pt x="9911" y="13236"/>
                  </a:cubicBezTo>
                  <a:cubicBezTo>
                    <a:pt x="9923" y="13233"/>
                    <a:pt x="9940" y="13228"/>
                    <a:pt x="9953" y="13225"/>
                  </a:cubicBezTo>
                  <a:cubicBezTo>
                    <a:pt x="9965" y="13222"/>
                    <a:pt x="9982" y="13217"/>
                    <a:pt x="9994" y="13214"/>
                  </a:cubicBezTo>
                  <a:cubicBezTo>
                    <a:pt x="10079" y="13337"/>
                    <a:pt x="10164" y="13461"/>
                    <a:pt x="10249" y="13584"/>
                  </a:cubicBezTo>
                  <a:cubicBezTo>
                    <a:pt x="10262" y="13580"/>
                    <a:pt x="10283" y="13560"/>
                    <a:pt x="10289" y="13570"/>
                  </a:cubicBezTo>
                  <a:cubicBezTo>
                    <a:pt x="10329" y="13548"/>
                    <a:pt x="10368" y="13525"/>
                    <a:pt x="10408" y="13502"/>
                  </a:cubicBezTo>
                  <a:cubicBezTo>
                    <a:pt x="10417" y="13496"/>
                    <a:pt x="10433" y="13481"/>
                    <a:pt x="10445" y="13470"/>
                  </a:cubicBezTo>
                  <a:cubicBezTo>
                    <a:pt x="10343" y="13333"/>
                    <a:pt x="10565" y="13613"/>
                    <a:pt x="10410" y="13325"/>
                  </a:cubicBezTo>
                  <a:cubicBezTo>
                    <a:pt x="10377" y="13264"/>
                    <a:pt x="10231" y="13227"/>
                    <a:pt x="10330" y="13123"/>
                  </a:cubicBezTo>
                  <a:cubicBezTo>
                    <a:pt x="10433" y="13015"/>
                    <a:pt x="10460" y="13141"/>
                    <a:pt x="10667" y="13231"/>
                  </a:cubicBezTo>
                  <a:cubicBezTo>
                    <a:pt x="10589" y="13104"/>
                    <a:pt x="10562" y="13113"/>
                    <a:pt x="10500" y="12962"/>
                  </a:cubicBezTo>
                  <a:cubicBezTo>
                    <a:pt x="11085" y="13304"/>
                    <a:pt x="10927" y="13007"/>
                    <a:pt x="11298" y="12800"/>
                  </a:cubicBezTo>
                  <a:cubicBezTo>
                    <a:pt x="11298" y="12800"/>
                    <a:pt x="11384" y="12867"/>
                    <a:pt x="11393" y="12875"/>
                  </a:cubicBezTo>
                  <a:lnTo>
                    <a:pt x="11428" y="12724"/>
                  </a:lnTo>
                  <a:lnTo>
                    <a:pt x="11687" y="12776"/>
                  </a:lnTo>
                  <a:cubicBezTo>
                    <a:pt x="11655" y="12557"/>
                    <a:pt x="11689" y="12641"/>
                    <a:pt x="11493" y="12414"/>
                  </a:cubicBezTo>
                  <a:cubicBezTo>
                    <a:pt x="11446" y="12459"/>
                    <a:pt x="11584" y="12479"/>
                    <a:pt x="11410" y="12514"/>
                  </a:cubicBezTo>
                  <a:cubicBezTo>
                    <a:pt x="11355" y="12316"/>
                    <a:pt x="11338" y="12418"/>
                    <a:pt x="11304" y="12220"/>
                  </a:cubicBezTo>
                  <a:cubicBezTo>
                    <a:pt x="11529" y="12060"/>
                    <a:pt x="11455" y="12220"/>
                    <a:pt x="11494" y="12260"/>
                  </a:cubicBezTo>
                  <a:cubicBezTo>
                    <a:pt x="11596" y="12366"/>
                    <a:pt x="11585" y="12282"/>
                    <a:pt x="11625" y="12418"/>
                  </a:cubicBezTo>
                  <a:lnTo>
                    <a:pt x="11683" y="12218"/>
                  </a:lnTo>
                  <a:cubicBezTo>
                    <a:pt x="11934" y="12351"/>
                    <a:pt x="11853" y="12161"/>
                    <a:pt x="11887" y="12407"/>
                  </a:cubicBezTo>
                  <a:cubicBezTo>
                    <a:pt x="11895" y="12286"/>
                    <a:pt x="11838" y="11901"/>
                    <a:pt x="11804" y="11795"/>
                  </a:cubicBezTo>
                  <a:cubicBezTo>
                    <a:pt x="11730" y="11709"/>
                    <a:pt x="12110" y="11544"/>
                    <a:pt x="12303" y="11779"/>
                  </a:cubicBezTo>
                  <a:cubicBezTo>
                    <a:pt x="12358" y="11820"/>
                    <a:pt x="12391" y="11827"/>
                    <a:pt x="12442" y="11902"/>
                  </a:cubicBezTo>
                  <a:lnTo>
                    <a:pt x="12500" y="12084"/>
                  </a:lnTo>
                  <a:cubicBezTo>
                    <a:pt x="12665" y="12105"/>
                    <a:pt x="12682" y="12231"/>
                    <a:pt x="12803" y="12096"/>
                  </a:cubicBezTo>
                  <a:cubicBezTo>
                    <a:pt x="12861" y="12031"/>
                    <a:pt x="12577" y="10264"/>
                    <a:pt x="12988" y="11253"/>
                  </a:cubicBezTo>
                  <a:cubicBezTo>
                    <a:pt x="13053" y="11411"/>
                    <a:pt x="13017" y="11569"/>
                    <a:pt x="12971" y="11693"/>
                  </a:cubicBezTo>
                  <a:cubicBezTo>
                    <a:pt x="13266" y="11573"/>
                    <a:pt x="13233" y="11275"/>
                    <a:pt x="13263" y="11210"/>
                  </a:cubicBezTo>
                  <a:cubicBezTo>
                    <a:pt x="13289" y="11153"/>
                    <a:pt x="13283" y="11159"/>
                    <a:pt x="13313" y="11079"/>
                  </a:cubicBezTo>
                  <a:cubicBezTo>
                    <a:pt x="13326" y="11045"/>
                    <a:pt x="13340" y="10996"/>
                    <a:pt x="13360" y="10959"/>
                  </a:cubicBezTo>
                  <a:cubicBezTo>
                    <a:pt x="13470" y="10752"/>
                    <a:pt x="13373" y="10912"/>
                    <a:pt x="13464" y="10817"/>
                  </a:cubicBezTo>
                  <a:cubicBezTo>
                    <a:pt x="13471" y="11276"/>
                    <a:pt x="13325" y="11216"/>
                    <a:pt x="13248" y="11518"/>
                  </a:cubicBezTo>
                  <a:cubicBezTo>
                    <a:pt x="13603" y="11181"/>
                    <a:pt x="13522" y="11004"/>
                    <a:pt x="13602" y="10456"/>
                  </a:cubicBezTo>
                  <a:cubicBezTo>
                    <a:pt x="13701" y="9783"/>
                    <a:pt x="13123" y="10016"/>
                    <a:pt x="13345" y="9414"/>
                  </a:cubicBezTo>
                  <a:cubicBezTo>
                    <a:pt x="13549" y="9495"/>
                    <a:pt x="13373" y="9538"/>
                    <a:pt x="13560" y="9741"/>
                  </a:cubicBezTo>
                  <a:cubicBezTo>
                    <a:pt x="13559" y="9454"/>
                    <a:pt x="13502" y="9351"/>
                    <a:pt x="13491" y="9202"/>
                  </a:cubicBezTo>
                  <a:cubicBezTo>
                    <a:pt x="13479" y="9056"/>
                    <a:pt x="13521" y="8771"/>
                    <a:pt x="13503" y="8562"/>
                  </a:cubicBezTo>
                  <a:cubicBezTo>
                    <a:pt x="13316" y="8409"/>
                    <a:pt x="13057" y="8353"/>
                    <a:pt x="13274" y="8015"/>
                  </a:cubicBezTo>
                  <a:cubicBezTo>
                    <a:pt x="13391" y="7832"/>
                    <a:pt x="13369" y="7962"/>
                    <a:pt x="13442" y="7705"/>
                  </a:cubicBezTo>
                  <a:lnTo>
                    <a:pt x="13543" y="7371"/>
                  </a:lnTo>
                  <a:cubicBezTo>
                    <a:pt x="13427" y="7391"/>
                    <a:pt x="13047" y="7318"/>
                    <a:pt x="13105" y="7102"/>
                  </a:cubicBezTo>
                  <a:cubicBezTo>
                    <a:pt x="13156" y="6912"/>
                    <a:pt x="13093" y="7107"/>
                    <a:pt x="13246" y="7025"/>
                  </a:cubicBezTo>
                  <a:cubicBezTo>
                    <a:pt x="13206" y="6946"/>
                    <a:pt x="13163" y="6879"/>
                    <a:pt x="13124" y="6813"/>
                  </a:cubicBezTo>
                  <a:cubicBezTo>
                    <a:pt x="13135" y="6809"/>
                    <a:pt x="13155" y="6795"/>
                    <a:pt x="13158" y="6805"/>
                  </a:cubicBezTo>
                  <a:cubicBezTo>
                    <a:pt x="13161" y="6815"/>
                    <a:pt x="13186" y="6799"/>
                    <a:pt x="13190" y="6798"/>
                  </a:cubicBezTo>
                  <a:cubicBezTo>
                    <a:pt x="13303" y="6753"/>
                    <a:pt x="13274" y="6832"/>
                    <a:pt x="13264" y="6742"/>
                  </a:cubicBezTo>
                  <a:cubicBezTo>
                    <a:pt x="13058" y="6605"/>
                    <a:pt x="12805" y="6533"/>
                    <a:pt x="12831" y="6199"/>
                  </a:cubicBezTo>
                  <a:cubicBezTo>
                    <a:pt x="12859" y="5840"/>
                    <a:pt x="12845" y="5962"/>
                    <a:pt x="12951" y="5684"/>
                  </a:cubicBezTo>
                  <a:cubicBezTo>
                    <a:pt x="13051" y="5423"/>
                    <a:pt x="12825" y="5578"/>
                    <a:pt x="13087" y="5486"/>
                  </a:cubicBezTo>
                  <a:cubicBezTo>
                    <a:pt x="12887" y="5359"/>
                    <a:pt x="12708" y="5269"/>
                    <a:pt x="12668" y="4995"/>
                  </a:cubicBezTo>
                  <a:cubicBezTo>
                    <a:pt x="12632" y="4752"/>
                    <a:pt x="12753" y="4490"/>
                    <a:pt x="12959" y="4403"/>
                  </a:cubicBezTo>
                  <a:cubicBezTo>
                    <a:pt x="12722" y="4466"/>
                    <a:pt x="12764" y="4544"/>
                    <a:pt x="12686" y="4339"/>
                  </a:cubicBezTo>
                  <a:cubicBezTo>
                    <a:pt x="12655" y="4575"/>
                    <a:pt x="12690" y="4530"/>
                    <a:pt x="12533" y="4615"/>
                  </a:cubicBezTo>
                  <a:cubicBezTo>
                    <a:pt x="12366" y="4316"/>
                    <a:pt x="12504" y="4285"/>
                    <a:pt x="12109" y="4185"/>
                  </a:cubicBezTo>
                  <a:cubicBezTo>
                    <a:pt x="12200" y="4105"/>
                    <a:pt x="12397" y="4125"/>
                    <a:pt x="12293" y="4037"/>
                  </a:cubicBezTo>
                  <a:cubicBezTo>
                    <a:pt x="12209" y="3966"/>
                    <a:pt x="12095" y="4018"/>
                    <a:pt x="11960" y="4031"/>
                  </a:cubicBezTo>
                  <a:cubicBezTo>
                    <a:pt x="11924" y="3690"/>
                    <a:pt x="11816" y="3730"/>
                    <a:pt x="11723" y="3474"/>
                  </a:cubicBezTo>
                  <a:cubicBezTo>
                    <a:pt x="11854" y="3393"/>
                    <a:pt x="11874" y="3481"/>
                    <a:pt x="11893" y="3474"/>
                  </a:cubicBezTo>
                  <a:cubicBezTo>
                    <a:pt x="11761" y="3277"/>
                    <a:pt x="11793" y="3430"/>
                    <a:pt x="11682" y="3281"/>
                  </a:cubicBezTo>
                  <a:cubicBezTo>
                    <a:pt x="11596" y="3167"/>
                    <a:pt x="11625" y="3091"/>
                    <a:pt x="11536" y="3025"/>
                  </a:cubicBezTo>
                  <a:lnTo>
                    <a:pt x="11275" y="2980"/>
                  </a:lnTo>
                  <a:cubicBezTo>
                    <a:pt x="11054" y="2969"/>
                    <a:pt x="11059" y="2946"/>
                    <a:pt x="11007" y="2770"/>
                  </a:cubicBezTo>
                  <a:cubicBezTo>
                    <a:pt x="11203" y="2724"/>
                    <a:pt x="11171" y="2735"/>
                    <a:pt x="11262" y="2886"/>
                  </a:cubicBezTo>
                  <a:cubicBezTo>
                    <a:pt x="11244" y="2590"/>
                    <a:pt x="11049" y="2604"/>
                    <a:pt x="10885" y="2297"/>
                  </a:cubicBezTo>
                  <a:lnTo>
                    <a:pt x="11334" y="2464"/>
                  </a:lnTo>
                  <a:cubicBezTo>
                    <a:pt x="11196" y="2237"/>
                    <a:pt x="10881" y="2077"/>
                    <a:pt x="10659" y="2007"/>
                  </a:cubicBezTo>
                  <a:lnTo>
                    <a:pt x="11075" y="1743"/>
                  </a:lnTo>
                  <a:cubicBezTo>
                    <a:pt x="10772" y="1732"/>
                    <a:pt x="10643" y="1944"/>
                    <a:pt x="10538" y="1820"/>
                  </a:cubicBezTo>
                  <a:cubicBezTo>
                    <a:pt x="10469" y="1666"/>
                    <a:pt x="10537" y="1608"/>
                    <a:pt x="10610" y="1483"/>
                  </a:cubicBezTo>
                  <a:cubicBezTo>
                    <a:pt x="10726" y="1287"/>
                    <a:pt x="10632" y="1269"/>
                    <a:pt x="10880" y="1224"/>
                  </a:cubicBezTo>
                  <a:cubicBezTo>
                    <a:pt x="10611" y="1190"/>
                    <a:pt x="10649" y="1288"/>
                    <a:pt x="10557" y="1454"/>
                  </a:cubicBezTo>
                  <a:cubicBezTo>
                    <a:pt x="10229" y="1534"/>
                    <a:pt x="10673" y="1345"/>
                    <a:pt x="10314" y="1456"/>
                  </a:cubicBezTo>
                  <a:cubicBezTo>
                    <a:pt x="10083" y="1526"/>
                    <a:pt x="10311" y="1559"/>
                    <a:pt x="10066" y="1504"/>
                  </a:cubicBezTo>
                  <a:cubicBezTo>
                    <a:pt x="10209" y="1838"/>
                    <a:pt x="10085" y="1740"/>
                    <a:pt x="9722" y="1782"/>
                  </a:cubicBezTo>
                  <a:cubicBezTo>
                    <a:pt x="9649" y="1622"/>
                    <a:pt x="9532" y="1574"/>
                    <a:pt x="9422" y="1445"/>
                  </a:cubicBezTo>
                  <a:cubicBezTo>
                    <a:pt x="9587" y="1503"/>
                    <a:pt x="9666" y="1507"/>
                    <a:pt x="9834" y="1543"/>
                  </a:cubicBezTo>
                  <a:cubicBezTo>
                    <a:pt x="9645" y="1393"/>
                    <a:pt x="9466" y="1371"/>
                    <a:pt x="9347" y="1326"/>
                  </a:cubicBezTo>
                  <a:cubicBezTo>
                    <a:pt x="9239" y="1285"/>
                    <a:pt x="9299" y="1351"/>
                    <a:pt x="9232" y="1219"/>
                  </a:cubicBezTo>
                  <a:lnTo>
                    <a:pt x="9038" y="1386"/>
                  </a:lnTo>
                  <a:lnTo>
                    <a:pt x="8988" y="993"/>
                  </a:lnTo>
                  <a:cubicBezTo>
                    <a:pt x="8826" y="958"/>
                    <a:pt x="8796" y="963"/>
                    <a:pt x="8649" y="966"/>
                  </a:cubicBezTo>
                  <a:lnTo>
                    <a:pt x="8605" y="641"/>
                  </a:lnTo>
                  <a:cubicBezTo>
                    <a:pt x="8380" y="611"/>
                    <a:pt x="8354" y="693"/>
                    <a:pt x="8018" y="585"/>
                  </a:cubicBezTo>
                  <a:cubicBezTo>
                    <a:pt x="7997" y="579"/>
                    <a:pt x="7957" y="566"/>
                    <a:pt x="7941" y="558"/>
                  </a:cubicBezTo>
                  <a:cubicBezTo>
                    <a:pt x="8052" y="380"/>
                    <a:pt x="8116" y="502"/>
                    <a:pt x="8129" y="262"/>
                  </a:cubicBezTo>
                  <a:cubicBezTo>
                    <a:pt x="8066" y="465"/>
                    <a:pt x="8140" y="337"/>
                    <a:pt x="7995" y="393"/>
                  </a:cubicBezTo>
                  <a:cubicBezTo>
                    <a:pt x="7969" y="349"/>
                    <a:pt x="7980" y="366"/>
                    <a:pt x="7972" y="315"/>
                  </a:cubicBezTo>
                  <a:cubicBezTo>
                    <a:pt x="7969" y="300"/>
                    <a:pt x="7975" y="265"/>
                    <a:pt x="7964" y="211"/>
                  </a:cubicBezTo>
                  <a:cubicBezTo>
                    <a:pt x="7796" y="623"/>
                    <a:pt x="7342" y="0"/>
                    <a:pt x="7096" y="507"/>
                  </a:cubicBezTo>
                  <a:cubicBezTo>
                    <a:pt x="7083" y="504"/>
                    <a:pt x="7066" y="475"/>
                    <a:pt x="7062" y="487"/>
                  </a:cubicBezTo>
                  <a:cubicBezTo>
                    <a:pt x="6981" y="689"/>
                    <a:pt x="7010" y="457"/>
                    <a:pt x="7000" y="455"/>
                  </a:cubicBezTo>
                  <a:cubicBezTo>
                    <a:pt x="6849" y="422"/>
                    <a:pt x="7087" y="380"/>
                    <a:pt x="6903" y="474"/>
                  </a:cubicBezTo>
                  <a:cubicBezTo>
                    <a:pt x="6799" y="527"/>
                    <a:pt x="6967" y="586"/>
                    <a:pt x="6616" y="567"/>
                  </a:cubicBezTo>
                  <a:cubicBezTo>
                    <a:pt x="6609" y="555"/>
                    <a:pt x="6605" y="519"/>
                    <a:pt x="6603" y="527"/>
                  </a:cubicBezTo>
                  <a:lnTo>
                    <a:pt x="6563" y="303"/>
                  </a:lnTo>
                  <a:lnTo>
                    <a:pt x="6348" y="503"/>
                  </a:lnTo>
                  <a:cubicBezTo>
                    <a:pt x="6305" y="518"/>
                    <a:pt x="6238" y="660"/>
                    <a:pt x="6116" y="697"/>
                  </a:cubicBezTo>
                  <a:cubicBezTo>
                    <a:pt x="5758" y="804"/>
                    <a:pt x="6112" y="336"/>
                    <a:pt x="5503" y="865"/>
                  </a:cubicBezTo>
                  <a:lnTo>
                    <a:pt x="5427" y="612"/>
                  </a:lnTo>
                  <a:cubicBezTo>
                    <a:pt x="5217" y="1142"/>
                    <a:pt x="5324" y="893"/>
                    <a:pt x="5152" y="997"/>
                  </a:cubicBezTo>
                  <a:cubicBezTo>
                    <a:pt x="4883" y="1159"/>
                    <a:pt x="5159" y="1194"/>
                    <a:pt x="4761" y="1225"/>
                  </a:cubicBezTo>
                  <a:lnTo>
                    <a:pt x="4719" y="1049"/>
                  </a:lnTo>
                  <a:cubicBezTo>
                    <a:pt x="4544" y="1104"/>
                    <a:pt x="4502" y="1187"/>
                    <a:pt x="4357" y="1233"/>
                  </a:cubicBezTo>
                  <a:lnTo>
                    <a:pt x="4104" y="1250"/>
                  </a:lnTo>
                  <a:cubicBezTo>
                    <a:pt x="4095" y="1252"/>
                    <a:pt x="4081" y="1257"/>
                    <a:pt x="4072" y="1258"/>
                  </a:cubicBezTo>
                  <a:cubicBezTo>
                    <a:pt x="3649" y="1333"/>
                    <a:pt x="3492" y="1188"/>
                    <a:pt x="3172" y="1566"/>
                  </a:cubicBezTo>
                  <a:cubicBezTo>
                    <a:pt x="2960" y="1815"/>
                    <a:pt x="2903" y="1696"/>
                    <a:pt x="2662" y="1901"/>
                  </a:cubicBezTo>
                  <a:cubicBezTo>
                    <a:pt x="2802" y="1928"/>
                    <a:pt x="2744" y="1833"/>
                    <a:pt x="2944" y="1950"/>
                  </a:cubicBezTo>
                  <a:cubicBezTo>
                    <a:pt x="2767" y="2028"/>
                    <a:pt x="2793" y="1969"/>
                    <a:pt x="2638" y="2093"/>
                  </a:cubicBezTo>
                  <a:cubicBezTo>
                    <a:pt x="2528" y="2181"/>
                    <a:pt x="2497" y="2263"/>
                    <a:pt x="2342" y="2326"/>
                  </a:cubicBezTo>
                  <a:cubicBezTo>
                    <a:pt x="1961" y="2482"/>
                    <a:pt x="1821" y="2289"/>
                    <a:pt x="1789" y="2850"/>
                  </a:cubicBezTo>
                  <a:lnTo>
                    <a:pt x="1526" y="2935"/>
                  </a:lnTo>
                  <a:lnTo>
                    <a:pt x="1716" y="2997"/>
                  </a:lnTo>
                  <a:cubicBezTo>
                    <a:pt x="1485" y="3197"/>
                    <a:pt x="1555" y="3013"/>
                    <a:pt x="1390" y="3282"/>
                  </a:cubicBezTo>
                  <a:cubicBezTo>
                    <a:pt x="1277" y="3466"/>
                    <a:pt x="1193" y="3524"/>
                    <a:pt x="1147" y="3756"/>
                  </a:cubicBezTo>
                  <a:cubicBezTo>
                    <a:pt x="1263" y="3651"/>
                    <a:pt x="1265" y="3598"/>
                    <a:pt x="1398" y="3547"/>
                  </a:cubicBezTo>
                  <a:lnTo>
                    <a:pt x="1331" y="3999"/>
                  </a:lnTo>
                  <a:cubicBezTo>
                    <a:pt x="1410" y="3856"/>
                    <a:pt x="1421" y="3810"/>
                    <a:pt x="1475" y="3625"/>
                  </a:cubicBezTo>
                  <a:cubicBezTo>
                    <a:pt x="1562" y="3756"/>
                    <a:pt x="1537" y="3781"/>
                    <a:pt x="1647" y="3899"/>
                  </a:cubicBezTo>
                  <a:cubicBezTo>
                    <a:pt x="1661" y="3505"/>
                    <a:pt x="1538" y="3509"/>
                    <a:pt x="1760" y="3229"/>
                  </a:cubicBezTo>
                  <a:cubicBezTo>
                    <a:pt x="1799" y="3366"/>
                    <a:pt x="1969" y="3656"/>
                    <a:pt x="1952" y="3739"/>
                  </a:cubicBezTo>
                  <a:cubicBezTo>
                    <a:pt x="1874" y="4108"/>
                    <a:pt x="1047" y="3980"/>
                    <a:pt x="1027" y="4523"/>
                  </a:cubicBezTo>
                  <a:lnTo>
                    <a:pt x="1006" y="5065"/>
                  </a:lnTo>
                  <a:cubicBezTo>
                    <a:pt x="460" y="5175"/>
                    <a:pt x="713" y="5690"/>
                    <a:pt x="676" y="6177"/>
                  </a:cubicBezTo>
                  <a:cubicBezTo>
                    <a:pt x="508" y="6355"/>
                    <a:pt x="522" y="6207"/>
                    <a:pt x="436" y="6411"/>
                  </a:cubicBezTo>
                  <a:cubicBezTo>
                    <a:pt x="366" y="6577"/>
                    <a:pt x="442" y="6529"/>
                    <a:pt x="315" y="6768"/>
                  </a:cubicBezTo>
                  <a:cubicBezTo>
                    <a:pt x="166" y="7050"/>
                    <a:pt x="262" y="7245"/>
                    <a:pt x="243" y="7566"/>
                  </a:cubicBezTo>
                  <a:cubicBezTo>
                    <a:pt x="350" y="7474"/>
                    <a:pt x="357" y="7429"/>
                    <a:pt x="412" y="7449"/>
                  </a:cubicBezTo>
                  <a:lnTo>
                    <a:pt x="275" y="7803"/>
                  </a:lnTo>
                  <a:cubicBezTo>
                    <a:pt x="518" y="7960"/>
                    <a:pt x="570" y="7941"/>
                    <a:pt x="431" y="8203"/>
                  </a:cubicBezTo>
                  <a:lnTo>
                    <a:pt x="272" y="8564"/>
                  </a:lnTo>
                  <a:cubicBezTo>
                    <a:pt x="271" y="8568"/>
                    <a:pt x="265" y="8581"/>
                    <a:pt x="263" y="8586"/>
                  </a:cubicBezTo>
                  <a:lnTo>
                    <a:pt x="257" y="8648"/>
                  </a:lnTo>
                  <a:cubicBezTo>
                    <a:pt x="187" y="9097"/>
                    <a:pt x="0" y="8890"/>
                    <a:pt x="295" y="9417"/>
                  </a:cubicBezTo>
                  <a:cubicBezTo>
                    <a:pt x="361" y="9534"/>
                    <a:pt x="390" y="9772"/>
                    <a:pt x="572" y="9710"/>
                  </a:cubicBezTo>
                  <a:cubicBezTo>
                    <a:pt x="755" y="9649"/>
                    <a:pt x="610" y="9715"/>
                    <a:pt x="723" y="9537"/>
                  </a:cubicBezTo>
                  <a:cubicBezTo>
                    <a:pt x="723" y="9734"/>
                    <a:pt x="688" y="9687"/>
                    <a:pt x="642" y="9854"/>
                  </a:cubicBezTo>
                  <a:cubicBezTo>
                    <a:pt x="589" y="10049"/>
                    <a:pt x="615" y="10111"/>
                    <a:pt x="603" y="10306"/>
                  </a:cubicBezTo>
                  <a:close/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67" name="Freeform 6"/>
            <p:cNvSpPr>
              <a:spLocks/>
            </p:cNvSpPr>
            <p:nvPr/>
          </p:nvSpPr>
          <p:spPr bwMode="auto">
            <a:xfrm>
              <a:off x="252413" y="2208213"/>
              <a:ext cx="2413000" cy="1104900"/>
            </a:xfrm>
            <a:custGeom>
              <a:avLst/>
              <a:gdLst>
                <a:gd name="T0" fmla="*/ 1832 w 20457"/>
                <a:gd name="T1" fmla="*/ 2157 h 9373"/>
                <a:gd name="T2" fmla="*/ 7192 w 20457"/>
                <a:gd name="T3" fmla="*/ 0 h 9373"/>
                <a:gd name="T4" fmla="*/ 5812 w 20457"/>
                <a:gd name="T5" fmla="*/ 3941 h 9373"/>
                <a:gd name="T6" fmla="*/ 7799 w 20457"/>
                <a:gd name="T7" fmla="*/ 2495 h 9373"/>
                <a:gd name="T8" fmla="*/ 10329 w 20457"/>
                <a:gd name="T9" fmla="*/ 8854 h 9373"/>
                <a:gd name="T10" fmla="*/ 12712 w 20457"/>
                <a:gd name="T11" fmla="*/ 2518 h 9373"/>
                <a:gd name="T12" fmla="*/ 14782 w 20457"/>
                <a:gd name="T13" fmla="*/ 3781 h 9373"/>
                <a:gd name="T14" fmla="*/ 13674 w 20457"/>
                <a:gd name="T15" fmla="*/ 200 h 9373"/>
                <a:gd name="T16" fmla="*/ 18943 w 20457"/>
                <a:gd name="T17" fmla="*/ 2197 h 9373"/>
                <a:gd name="T18" fmla="*/ 20323 w 20457"/>
                <a:gd name="T19" fmla="*/ 9373 h 9373"/>
                <a:gd name="T20" fmla="*/ 0 w 20457"/>
                <a:gd name="T21" fmla="*/ 9373 h 9373"/>
                <a:gd name="T22" fmla="*/ 1832 w 20457"/>
                <a:gd name="T23" fmla="*/ 2157 h 93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0457" h="9373">
                  <a:moveTo>
                    <a:pt x="1832" y="2157"/>
                  </a:moveTo>
                  <a:cubicBezTo>
                    <a:pt x="3076" y="2119"/>
                    <a:pt x="4854" y="1351"/>
                    <a:pt x="7192" y="0"/>
                  </a:cubicBezTo>
                  <a:cubicBezTo>
                    <a:pt x="6517" y="1234"/>
                    <a:pt x="5922" y="2639"/>
                    <a:pt x="5812" y="3941"/>
                  </a:cubicBezTo>
                  <a:cubicBezTo>
                    <a:pt x="6405" y="3383"/>
                    <a:pt x="7067" y="2901"/>
                    <a:pt x="7799" y="2495"/>
                  </a:cubicBezTo>
                  <a:cubicBezTo>
                    <a:pt x="8127" y="5435"/>
                    <a:pt x="8885" y="7690"/>
                    <a:pt x="10329" y="8854"/>
                  </a:cubicBezTo>
                  <a:cubicBezTo>
                    <a:pt x="11948" y="6896"/>
                    <a:pt x="12571" y="4752"/>
                    <a:pt x="12712" y="2518"/>
                  </a:cubicBezTo>
                  <a:cubicBezTo>
                    <a:pt x="13451" y="2848"/>
                    <a:pt x="14142" y="3267"/>
                    <a:pt x="14782" y="3781"/>
                  </a:cubicBezTo>
                  <a:cubicBezTo>
                    <a:pt x="14565" y="2526"/>
                    <a:pt x="14198" y="1332"/>
                    <a:pt x="13674" y="200"/>
                  </a:cubicBezTo>
                  <a:cubicBezTo>
                    <a:pt x="15409" y="1213"/>
                    <a:pt x="17152" y="2105"/>
                    <a:pt x="18943" y="2197"/>
                  </a:cubicBezTo>
                  <a:cubicBezTo>
                    <a:pt x="20092" y="3832"/>
                    <a:pt x="20457" y="6329"/>
                    <a:pt x="20323" y="9373"/>
                  </a:cubicBezTo>
                  <a:cubicBezTo>
                    <a:pt x="13549" y="9373"/>
                    <a:pt x="6774" y="9373"/>
                    <a:pt x="0" y="9373"/>
                  </a:cubicBezTo>
                  <a:cubicBezTo>
                    <a:pt x="254" y="6254"/>
                    <a:pt x="365" y="2803"/>
                    <a:pt x="1832" y="2157"/>
                  </a:cubicBezTo>
                  <a:close/>
                </a:path>
              </a:pathLst>
            </a:custGeom>
            <a:solidFill>
              <a:srgbClr val="000000"/>
            </a:solidFill>
            <a:ln w="1588" cap="flat">
              <a:solidFill>
                <a:srgbClr val="221E1F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grpSp>
        <p:nvGrpSpPr>
          <p:cNvPr id="21" name="Group 20"/>
          <p:cNvGrpSpPr/>
          <p:nvPr/>
        </p:nvGrpSpPr>
        <p:grpSpPr>
          <a:xfrm>
            <a:off x="4562610" y="1445391"/>
            <a:ext cx="663963" cy="563841"/>
            <a:chOff x="11367690" y="1915627"/>
            <a:chExt cx="1706294" cy="1448997"/>
          </a:xfrm>
        </p:grpSpPr>
        <p:sp>
          <p:nvSpPr>
            <p:cNvPr id="20" name="Freeform 8"/>
            <p:cNvSpPr>
              <a:spLocks noEditPoints="1"/>
            </p:cNvSpPr>
            <p:nvPr/>
          </p:nvSpPr>
          <p:spPr bwMode="auto">
            <a:xfrm>
              <a:off x="11367690" y="1915627"/>
              <a:ext cx="849685" cy="1448997"/>
            </a:xfrm>
            <a:custGeom>
              <a:avLst/>
              <a:gdLst>
                <a:gd name="T0" fmla="*/ 1523 w 1796"/>
                <a:gd name="T1" fmla="*/ 226 h 3062"/>
                <a:gd name="T2" fmla="*/ 1320 w 1796"/>
                <a:gd name="T3" fmla="*/ 363 h 3062"/>
                <a:gd name="T4" fmla="*/ 1313 w 1796"/>
                <a:gd name="T5" fmla="*/ 365 h 3062"/>
                <a:gd name="T6" fmla="*/ 1230 w 1796"/>
                <a:gd name="T7" fmla="*/ 309 h 3062"/>
                <a:gd name="T8" fmla="*/ 566 w 1796"/>
                <a:gd name="T9" fmla="*/ 309 h 3062"/>
                <a:gd name="T10" fmla="*/ 483 w 1796"/>
                <a:gd name="T11" fmla="*/ 365 h 3062"/>
                <a:gd name="T12" fmla="*/ 477 w 1796"/>
                <a:gd name="T13" fmla="*/ 363 h 3062"/>
                <a:gd name="T14" fmla="*/ 273 w 1796"/>
                <a:gd name="T15" fmla="*/ 226 h 3062"/>
                <a:gd name="T16" fmla="*/ 43 w 1796"/>
                <a:gd name="T17" fmla="*/ 381 h 3062"/>
                <a:gd name="T18" fmla="*/ 207 w 1796"/>
                <a:gd name="T19" fmla="*/ 747 h 3062"/>
                <a:gd name="T20" fmla="*/ 264 w 1796"/>
                <a:gd name="T21" fmla="*/ 751 h 3062"/>
                <a:gd name="T22" fmla="*/ 484 w 1796"/>
                <a:gd name="T23" fmla="*/ 1038 h 3062"/>
                <a:gd name="T24" fmla="*/ 292 w 1796"/>
                <a:gd name="T25" fmla="*/ 2254 h 3062"/>
                <a:gd name="T26" fmla="*/ 409 w 1796"/>
                <a:gd name="T27" fmla="*/ 2403 h 3062"/>
                <a:gd name="T28" fmla="*/ 482 w 1796"/>
                <a:gd name="T29" fmla="*/ 2888 h 3062"/>
                <a:gd name="T30" fmla="*/ 829 w 1796"/>
                <a:gd name="T31" fmla="*/ 2888 h 3062"/>
                <a:gd name="T32" fmla="*/ 968 w 1796"/>
                <a:gd name="T33" fmla="*/ 2403 h 3062"/>
                <a:gd name="T34" fmla="*/ 1141 w 1796"/>
                <a:gd name="T35" fmla="*/ 3062 h 3062"/>
                <a:gd name="T36" fmla="*/ 1315 w 1796"/>
                <a:gd name="T37" fmla="*/ 2403 h 3062"/>
                <a:gd name="T38" fmla="*/ 1481 w 1796"/>
                <a:gd name="T39" fmla="*/ 2357 h 3062"/>
                <a:gd name="T40" fmla="*/ 1314 w 1796"/>
                <a:gd name="T41" fmla="*/ 1484 h 3062"/>
                <a:gd name="T42" fmla="*/ 1312 w 1796"/>
                <a:gd name="T43" fmla="*/ 1039 h 3062"/>
                <a:gd name="T44" fmla="*/ 1532 w 1796"/>
                <a:gd name="T45" fmla="*/ 751 h 3062"/>
                <a:gd name="T46" fmla="*/ 1589 w 1796"/>
                <a:gd name="T47" fmla="*/ 747 h 3062"/>
                <a:gd name="T48" fmla="*/ 1754 w 1796"/>
                <a:gd name="T49" fmla="*/ 381 h 3062"/>
                <a:gd name="T50" fmla="*/ 1141 w 1796"/>
                <a:gd name="T51" fmla="*/ 795 h 3062"/>
                <a:gd name="T52" fmla="*/ 794 w 1796"/>
                <a:gd name="T53" fmla="*/ 762 h 3062"/>
                <a:gd name="T54" fmla="*/ 504 w 1796"/>
                <a:gd name="T55" fmla="*/ 570 h 3062"/>
                <a:gd name="T56" fmla="*/ 542 w 1796"/>
                <a:gd name="T57" fmla="*/ 519 h 3062"/>
                <a:gd name="T58" fmla="*/ 597 w 1796"/>
                <a:gd name="T59" fmla="*/ 533 h 3062"/>
                <a:gd name="T60" fmla="*/ 898 w 1796"/>
                <a:gd name="T61" fmla="*/ 665 h 3062"/>
                <a:gd name="T62" fmla="*/ 1199 w 1796"/>
                <a:gd name="T63" fmla="*/ 533 h 3062"/>
                <a:gd name="T64" fmla="*/ 1255 w 1796"/>
                <a:gd name="T65" fmla="*/ 519 h 3062"/>
                <a:gd name="T66" fmla="*/ 1292 w 1796"/>
                <a:gd name="T67" fmla="*/ 570 h 3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96" h="3062">
                  <a:moveTo>
                    <a:pt x="1716" y="188"/>
                  </a:moveTo>
                  <a:cubicBezTo>
                    <a:pt x="1652" y="146"/>
                    <a:pt x="1566" y="163"/>
                    <a:pt x="1523" y="226"/>
                  </a:cubicBezTo>
                  <a:lnTo>
                    <a:pt x="1433" y="361"/>
                  </a:lnTo>
                  <a:cubicBezTo>
                    <a:pt x="1397" y="344"/>
                    <a:pt x="1357" y="342"/>
                    <a:pt x="1320" y="363"/>
                  </a:cubicBezTo>
                  <a:cubicBezTo>
                    <a:pt x="1317" y="364"/>
                    <a:pt x="1315" y="365"/>
                    <a:pt x="1313" y="367"/>
                  </a:cubicBezTo>
                  <a:lnTo>
                    <a:pt x="1313" y="365"/>
                  </a:lnTo>
                  <a:cubicBezTo>
                    <a:pt x="1323" y="338"/>
                    <a:pt x="1309" y="308"/>
                    <a:pt x="1282" y="299"/>
                  </a:cubicBezTo>
                  <a:cubicBezTo>
                    <a:pt x="1263" y="292"/>
                    <a:pt x="1244" y="297"/>
                    <a:pt x="1230" y="309"/>
                  </a:cubicBezTo>
                  <a:cubicBezTo>
                    <a:pt x="1218" y="136"/>
                    <a:pt x="1074" y="0"/>
                    <a:pt x="898" y="0"/>
                  </a:cubicBezTo>
                  <a:cubicBezTo>
                    <a:pt x="722" y="0"/>
                    <a:pt x="579" y="136"/>
                    <a:pt x="566" y="309"/>
                  </a:cubicBezTo>
                  <a:cubicBezTo>
                    <a:pt x="553" y="297"/>
                    <a:pt x="533" y="292"/>
                    <a:pt x="515" y="299"/>
                  </a:cubicBezTo>
                  <a:cubicBezTo>
                    <a:pt x="488" y="308"/>
                    <a:pt x="473" y="338"/>
                    <a:pt x="483" y="365"/>
                  </a:cubicBezTo>
                  <a:lnTo>
                    <a:pt x="483" y="367"/>
                  </a:lnTo>
                  <a:cubicBezTo>
                    <a:pt x="481" y="365"/>
                    <a:pt x="479" y="364"/>
                    <a:pt x="477" y="363"/>
                  </a:cubicBezTo>
                  <a:cubicBezTo>
                    <a:pt x="439" y="342"/>
                    <a:pt x="399" y="344"/>
                    <a:pt x="364" y="361"/>
                  </a:cubicBezTo>
                  <a:lnTo>
                    <a:pt x="273" y="226"/>
                  </a:lnTo>
                  <a:cubicBezTo>
                    <a:pt x="230" y="163"/>
                    <a:pt x="144" y="146"/>
                    <a:pt x="80" y="188"/>
                  </a:cubicBezTo>
                  <a:cubicBezTo>
                    <a:pt x="17" y="231"/>
                    <a:pt x="0" y="317"/>
                    <a:pt x="43" y="381"/>
                  </a:cubicBezTo>
                  <a:lnTo>
                    <a:pt x="201" y="618"/>
                  </a:lnTo>
                  <a:cubicBezTo>
                    <a:pt x="193" y="661"/>
                    <a:pt x="193" y="706"/>
                    <a:pt x="207" y="747"/>
                  </a:cubicBezTo>
                  <a:cubicBezTo>
                    <a:pt x="212" y="758"/>
                    <a:pt x="222" y="766"/>
                    <a:pt x="234" y="767"/>
                  </a:cubicBezTo>
                  <a:cubicBezTo>
                    <a:pt x="247" y="768"/>
                    <a:pt x="258" y="762"/>
                    <a:pt x="264" y="751"/>
                  </a:cubicBezTo>
                  <a:cubicBezTo>
                    <a:pt x="269" y="744"/>
                    <a:pt x="273" y="737"/>
                    <a:pt x="277" y="730"/>
                  </a:cubicBezTo>
                  <a:lnTo>
                    <a:pt x="484" y="1038"/>
                  </a:lnTo>
                  <a:cubicBezTo>
                    <a:pt x="480" y="1064"/>
                    <a:pt x="481" y="1039"/>
                    <a:pt x="481" y="1484"/>
                  </a:cubicBezTo>
                  <a:lnTo>
                    <a:pt x="292" y="2254"/>
                  </a:lnTo>
                  <a:cubicBezTo>
                    <a:pt x="283" y="2290"/>
                    <a:pt x="292" y="2328"/>
                    <a:pt x="315" y="2357"/>
                  </a:cubicBezTo>
                  <a:cubicBezTo>
                    <a:pt x="337" y="2386"/>
                    <a:pt x="372" y="2403"/>
                    <a:pt x="409" y="2403"/>
                  </a:cubicBezTo>
                  <a:lnTo>
                    <a:pt x="482" y="2403"/>
                  </a:lnTo>
                  <a:lnTo>
                    <a:pt x="482" y="2888"/>
                  </a:lnTo>
                  <a:cubicBezTo>
                    <a:pt x="482" y="2984"/>
                    <a:pt x="559" y="3062"/>
                    <a:pt x="655" y="3062"/>
                  </a:cubicBezTo>
                  <a:cubicBezTo>
                    <a:pt x="751" y="3062"/>
                    <a:pt x="829" y="2984"/>
                    <a:pt x="829" y="2888"/>
                  </a:cubicBezTo>
                  <a:lnTo>
                    <a:pt x="829" y="2403"/>
                  </a:lnTo>
                  <a:lnTo>
                    <a:pt x="968" y="2403"/>
                  </a:lnTo>
                  <a:lnTo>
                    <a:pt x="968" y="2888"/>
                  </a:lnTo>
                  <a:cubicBezTo>
                    <a:pt x="968" y="2984"/>
                    <a:pt x="1045" y="3062"/>
                    <a:pt x="1141" y="3062"/>
                  </a:cubicBezTo>
                  <a:cubicBezTo>
                    <a:pt x="1237" y="3062"/>
                    <a:pt x="1315" y="2984"/>
                    <a:pt x="1315" y="2888"/>
                  </a:cubicBezTo>
                  <a:lnTo>
                    <a:pt x="1315" y="2403"/>
                  </a:lnTo>
                  <a:lnTo>
                    <a:pt x="1386" y="2403"/>
                  </a:lnTo>
                  <a:cubicBezTo>
                    <a:pt x="1423" y="2403"/>
                    <a:pt x="1458" y="2386"/>
                    <a:pt x="1481" y="2357"/>
                  </a:cubicBezTo>
                  <a:cubicBezTo>
                    <a:pt x="1504" y="2328"/>
                    <a:pt x="1512" y="2290"/>
                    <a:pt x="1503" y="2254"/>
                  </a:cubicBezTo>
                  <a:lnTo>
                    <a:pt x="1314" y="1484"/>
                  </a:lnTo>
                  <a:lnTo>
                    <a:pt x="1314" y="1484"/>
                  </a:lnTo>
                  <a:cubicBezTo>
                    <a:pt x="1314" y="1039"/>
                    <a:pt x="1315" y="1064"/>
                    <a:pt x="1312" y="1039"/>
                  </a:cubicBezTo>
                  <a:lnTo>
                    <a:pt x="1519" y="730"/>
                  </a:lnTo>
                  <a:cubicBezTo>
                    <a:pt x="1523" y="737"/>
                    <a:pt x="1528" y="744"/>
                    <a:pt x="1532" y="751"/>
                  </a:cubicBezTo>
                  <a:cubicBezTo>
                    <a:pt x="1538" y="762"/>
                    <a:pt x="1550" y="768"/>
                    <a:pt x="1562" y="767"/>
                  </a:cubicBezTo>
                  <a:cubicBezTo>
                    <a:pt x="1574" y="766"/>
                    <a:pt x="1585" y="758"/>
                    <a:pt x="1589" y="747"/>
                  </a:cubicBezTo>
                  <a:cubicBezTo>
                    <a:pt x="1604" y="706"/>
                    <a:pt x="1603" y="661"/>
                    <a:pt x="1595" y="618"/>
                  </a:cubicBezTo>
                  <a:lnTo>
                    <a:pt x="1754" y="381"/>
                  </a:lnTo>
                  <a:cubicBezTo>
                    <a:pt x="1796" y="317"/>
                    <a:pt x="1780" y="231"/>
                    <a:pt x="1716" y="188"/>
                  </a:cubicBezTo>
                  <a:close/>
                  <a:moveTo>
                    <a:pt x="1141" y="795"/>
                  </a:moveTo>
                  <a:cubicBezTo>
                    <a:pt x="1099" y="774"/>
                    <a:pt x="1052" y="762"/>
                    <a:pt x="1002" y="762"/>
                  </a:cubicBezTo>
                  <a:lnTo>
                    <a:pt x="794" y="762"/>
                  </a:lnTo>
                  <a:cubicBezTo>
                    <a:pt x="744" y="762"/>
                    <a:pt x="697" y="774"/>
                    <a:pt x="655" y="795"/>
                  </a:cubicBezTo>
                  <a:lnTo>
                    <a:pt x="504" y="570"/>
                  </a:lnTo>
                  <a:cubicBezTo>
                    <a:pt x="516" y="563"/>
                    <a:pt x="525" y="555"/>
                    <a:pt x="531" y="544"/>
                  </a:cubicBezTo>
                  <a:cubicBezTo>
                    <a:pt x="536" y="536"/>
                    <a:pt x="539" y="527"/>
                    <a:pt x="542" y="519"/>
                  </a:cubicBezTo>
                  <a:cubicBezTo>
                    <a:pt x="551" y="529"/>
                    <a:pt x="565" y="536"/>
                    <a:pt x="580" y="536"/>
                  </a:cubicBezTo>
                  <a:cubicBezTo>
                    <a:pt x="585" y="536"/>
                    <a:pt x="591" y="535"/>
                    <a:pt x="597" y="533"/>
                  </a:cubicBezTo>
                  <a:cubicBezTo>
                    <a:pt x="607" y="529"/>
                    <a:pt x="615" y="523"/>
                    <a:pt x="620" y="516"/>
                  </a:cubicBezTo>
                  <a:cubicBezTo>
                    <a:pt x="680" y="606"/>
                    <a:pt x="782" y="665"/>
                    <a:pt x="898" y="665"/>
                  </a:cubicBezTo>
                  <a:cubicBezTo>
                    <a:pt x="1014" y="665"/>
                    <a:pt x="1116" y="606"/>
                    <a:pt x="1176" y="516"/>
                  </a:cubicBezTo>
                  <a:cubicBezTo>
                    <a:pt x="1182" y="523"/>
                    <a:pt x="1190" y="529"/>
                    <a:pt x="1199" y="533"/>
                  </a:cubicBezTo>
                  <a:cubicBezTo>
                    <a:pt x="1205" y="535"/>
                    <a:pt x="1211" y="536"/>
                    <a:pt x="1217" y="536"/>
                  </a:cubicBezTo>
                  <a:cubicBezTo>
                    <a:pt x="1231" y="536"/>
                    <a:pt x="1245" y="529"/>
                    <a:pt x="1255" y="519"/>
                  </a:cubicBezTo>
                  <a:cubicBezTo>
                    <a:pt x="1257" y="527"/>
                    <a:pt x="1261" y="536"/>
                    <a:pt x="1265" y="544"/>
                  </a:cubicBezTo>
                  <a:cubicBezTo>
                    <a:pt x="1271" y="555"/>
                    <a:pt x="1280" y="563"/>
                    <a:pt x="1292" y="570"/>
                  </a:cubicBezTo>
                  <a:lnTo>
                    <a:pt x="1141" y="79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60" name="Freeform 8"/>
            <p:cNvSpPr>
              <a:spLocks noEditPoints="1"/>
            </p:cNvSpPr>
            <p:nvPr/>
          </p:nvSpPr>
          <p:spPr bwMode="auto">
            <a:xfrm>
              <a:off x="12224299" y="1915627"/>
              <a:ext cx="849685" cy="1448997"/>
            </a:xfrm>
            <a:custGeom>
              <a:avLst/>
              <a:gdLst>
                <a:gd name="T0" fmla="*/ 1523 w 1796"/>
                <a:gd name="T1" fmla="*/ 226 h 3062"/>
                <a:gd name="T2" fmla="*/ 1320 w 1796"/>
                <a:gd name="T3" fmla="*/ 363 h 3062"/>
                <a:gd name="T4" fmla="*/ 1313 w 1796"/>
                <a:gd name="T5" fmla="*/ 365 h 3062"/>
                <a:gd name="T6" fmla="*/ 1230 w 1796"/>
                <a:gd name="T7" fmla="*/ 309 h 3062"/>
                <a:gd name="T8" fmla="*/ 566 w 1796"/>
                <a:gd name="T9" fmla="*/ 309 h 3062"/>
                <a:gd name="T10" fmla="*/ 483 w 1796"/>
                <a:gd name="T11" fmla="*/ 365 h 3062"/>
                <a:gd name="T12" fmla="*/ 477 w 1796"/>
                <a:gd name="T13" fmla="*/ 363 h 3062"/>
                <a:gd name="T14" fmla="*/ 273 w 1796"/>
                <a:gd name="T15" fmla="*/ 226 h 3062"/>
                <a:gd name="T16" fmla="*/ 43 w 1796"/>
                <a:gd name="T17" fmla="*/ 381 h 3062"/>
                <a:gd name="T18" fmla="*/ 207 w 1796"/>
                <a:gd name="T19" fmla="*/ 747 h 3062"/>
                <a:gd name="T20" fmla="*/ 264 w 1796"/>
                <a:gd name="T21" fmla="*/ 751 h 3062"/>
                <a:gd name="T22" fmla="*/ 484 w 1796"/>
                <a:gd name="T23" fmla="*/ 1038 h 3062"/>
                <a:gd name="T24" fmla="*/ 292 w 1796"/>
                <a:gd name="T25" fmla="*/ 2254 h 3062"/>
                <a:gd name="T26" fmla="*/ 409 w 1796"/>
                <a:gd name="T27" fmla="*/ 2403 h 3062"/>
                <a:gd name="T28" fmla="*/ 482 w 1796"/>
                <a:gd name="T29" fmla="*/ 2888 h 3062"/>
                <a:gd name="T30" fmla="*/ 829 w 1796"/>
                <a:gd name="T31" fmla="*/ 2888 h 3062"/>
                <a:gd name="T32" fmla="*/ 968 w 1796"/>
                <a:gd name="T33" fmla="*/ 2403 h 3062"/>
                <a:gd name="T34" fmla="*/ 1141 w 1796"/>
                <a:gd name="T35" fmla="*/ 3062 h 3062"/>
                <a:gd name="T36" fmla="*/ 1315 w 1796"/>
                <a:gd name="T37" fmla="*/ 2403 h 3062"/>
                <a:gd name="T38" fmla="*/ 1481 w 1796"/>
                <a:gd name="T39" fmla="*/ 2357 h 3062"/>
                <a:gd name="T40" fmla="*/ 1314 w 1796"/>
                <a:gd name="T41" fmla="*/ 1484 h 3062"/>
                <a:gd name="T42" fmla="*/ 1312 w 1796"/>
                <a:gd name="T43" fmla="*/ 1039 h 3062"/>
                <a:gd name="T44" fmla="*/ 1532 w 1796"/>
                <a:gd name="T45" fmla="*/ 751 h 3062"/>
                <a:gd name="T46" fmla="*/ 1589 w 1796"/>
                <a:gd name="T47" fmla="*/ 747 h 3062"/>
                <a:gd name="T48" fmla="*/ 1754 w 1796"/>
                <a:gd name="T49" fmla="*/ 381 h 3062"/>
                <a:gd name="T50" fmla="*/ 1141 w 1796"/>
                <a:gd name="T51" fmla="*/ 795 h 3062"/>
                <a:gd name="T52" fmla="*/ 794 w 1796"/>
                <a:gd name="T53" fmla="*/ 762 h 3062"/>
                <a:gd name="T54" fmla="*/ 504 w 1796"/>
                <a:gd name="T55" fmla="*/ 570 h 3062"/>
                <a:gd name="T56" fmla="*/ 542 w 1796"/>
                <a:gd name="T57" fmla="*/ 519 h 3062"/>
                <a:gd name="T58" fmla="*/ 597 w 1796"/>
                <a:gd name="T59" fmla="*/ 533 h 3062"/>
                <a:gd name="T60" fmla="*/ 898 w 1796"/>
                <a:gd name="T61" fmla="*/ 665 h 3062"/>
                <a:gd name="T62" fmla="*/ 1199 w 1796"/>
                <a:gd name="T63" fmla="*/ 533 h 3062"/>
                <a:gd name="T64" fmla="*/ 1255 w 1796"/>
                <a:gd name="T65" fmla="*/ 519 h 3062"/>
                <a:gd name="T66" fmla="*/ 1292 w 1796"/>
                <a:gd name="T67" fmla="*/ 570 h 30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796" h="3062">
                  <a:moveTo>
                    <a:pt x="1716" y="188"/>
                  </a:moveTo>
                  <a:cubicBezTo>
                    <a:pt x="1652" y="146"/>
                    <a:pt x="1566" y="163"/>
                    <a:pt x="1523" y="226"/>
                  </a:cubicBezTo>
                  <a:lnTo>
                    <a:pt x="1433" y="361"/>
                  </a:lnTo>
                  <a:cubicBezTo>
                    <a:pt x="1397" y="344"/>
                    <a:pt x="1357" y="342"/>
                    <a:pt x="1320" y="363"/>
                  </a:cubicBezTo>
                  <a:cubicBezTo>
                    <a:pt x="1317" y="364"/>
                    <a:pt x="1315" y="365"/>
                    <a:pt x="1313" y="367"/>
                  </a:cubicBezTo>
                  <a:lnTo>
                    <a:pt x="1313" y="365"/>
                  </a:lnTo>
                  <a:cubicBezTo>
                    <a:pt x="1323" y="338"/>
                    <a:pt x="1309" y="308"/>
                    <a:pt x="1282" y="299"/>
                  </a:cubicBezTo>
                  <a:cubicBezTo>
                    <a:pt x="1263" y="292"/>
                    <a:pt x="1244" y="297"/>
                    <a:pt x="1230" y="309"/>
                  </a:cubicBezTo>
                  <a:cubicBezTo>
                    <a:pt x="1218" y="136"/>
                    <a:pt x="1074" y="0"/>
                    <a:pt x="898" y="0"/>
                  </a:cubicBezTo>
                  <a:cubicBezTo>
                    <a:pt x="722" y="0"/>
                    <a:pt x="579" y="136"/>
                    <a:pt x="566" y="309"/>
                  </a:cubicBezTo>
                  <a:cubicBezTo>
                    <a:pt x="553" y="297"/>
                    <a:pt x="533" y="292"/>
                    <a:pt x="515" y="299"/>
                  </a:cubicBezTo>
                  <a:cubicBezTo>
                    <a:pt x="488" y="308"/>
                    <a:pt x="473" y="338"/>
                    <a:pt x="483" y="365"/>
                  </a:cubicBezTo>
                  <a:lnTo>
                    <a:pt x="483" y="367"/>
                  </a:lnTo>
                  <a:cubicBezTo>
                    <a:pt x="481" y="365"/>
                    <a:pt x="479" y="364"/>
                    <a:pt x="477" y="363"/>
                  </a:cubicBezTo>
                  <a:cubicBezTo>
                    <a:pt x="439" y="342"/>
                    <a:pt x="399" y="344"/>
                    <a:pt x="364" y="361"/>
                  </a:cubicBezTo>
                  <a:lnTo>
                    <a:pt x="273" y="226"/>
                  </a:lnTo>
                  <a:cubicBezTo>
                    <a:pt x="230" y="163"/>
                    <a:pt x="144" y="146"/>
                    <a:pt x="80" y="188"/>
                  </a:cubicBezTo>
                  <a:cubicBezTo>
                    <a:pt x="17" y="231"/>
                    <a:pt x="0" y="317"/>
                    <a:pt x="43" y="381"/>
                  </a:cubicBezTo>
                  <a:lnTo>
                    <a:pt x="201" y="618"/>
                  </a:lnTo>
                  <a:cubicBezTo>
                    <a:pt x="193" y="661"/>
                    <a:pt x="193" y="706"/>
                    <a:pt x="207" y="747"/>
                  </a:cubicBezTo>
                  <a:cubicBezTo>
                    <a:pt x="212" y="758"/>
                    <a:pt x="222" y="766"/>
                    <a:pt x="234" y="767"/>
                  </a:cubicBezTo>
                  <a:cubicBezTo>
                    <a:pt x="247" y="768"/>
                    <a:pt x="258" y="762"/>
                    <a:pt x="264" y="751"/>
                  </a:cubicBezTo>
                  <a:cubicBezTo>
                    <a:pt x="269" y="744"/>
                    <a:pt x="273" y="737"/>
                    <a:pt x="277" y="730"/>
                  </a:cubicBezTo>
                  <a:lnTo>
                    <a:pt x="484" y="1038"/>
                  </a:lnTo>
                  <a:cubicBezTo>
                    <a:pt x="480" y="1064"/>
                    <a:pt x="481" y="1039"/>
                    <a:pt x="481" y="1484"/>
                  </a:cubicBezTo>
                  <a:lnTo>
                    <a:pt x="292" y="2254"/>
                  </a:lnTo>
                  <a:cubicBezTo>
                    <a:pt x="283" y="2290"/>
                    <a:pt x="292" y="2328"/>
                    <a:pt x="315" y="2357"/>
                  </a:cubicBezTo>
                  <a:cubicBezTo>
                    <a:pt x="337" y="2386"/>
                    <a:pt x="372" y="2403"/>
                    <a:pt x="409" y="2403"/>
                  </a:cubicBezTo>
                  <a:lnTo>
                    <a:pt x="482" y="2403"/>
                  </a:lnTo>
                  <a:lnTo>
                    <a:pt x="482" y="2888"/>
                  </a:lnTo>
                  <a:cubicBezTo>
                    <a:pt x="482" y="2984"/>
                    <a:pt x="559" y="3062"/>
                    <a:pt x="655" y="3062"/>
                  </a:cubicBezTo>
                  <a:cubicBezTo>
                    <a:pt x="751" y="3062"/>
                    <a:pt x="829" y="2984"/>
                    <a:pt x="829" y="2888"/>
                  </a:cubicBezTo>
                  <a:lnTo>
                    <a:pt x="829" y="2403"/>
                  </a:lnTo>
                  <a:lnTo>
                    <a:pt x="968" y="2403"/>
                  </a:lnTo>
                  <a:lnTo>
                    <a:pt x="968" y="2888"/>
                  </a:lnTo>
                  <a:cubicBezTo>
                    <a:pt x="968" y="2984"/>
                    <a:pt x="1045" y="3062"/>
                    <a:pt x="1141" y="3062"/>
                  </a:cubicBezTo>
                  <a:cubicBezTo>
                    <a:pt x="1237" y="3062"/>
                    <a:pt x="1315" y="2984"/>
                    <a:pt x="1315" y="2888"/>
                  </a:cubicBezTo>
                  <a:lnTo>
                    <a:pt x="1315" y="2403"/>
                  </a:lnTo>
                  <a:lnTo>
                    <a:pt x="1386" y="2403"/>
                  </a:lnTo>
                  <a:cubicBezTo>
                    <a:pt x="1423" y="2403"/>
                    <a:pt x="1458" y="2386"/>
                    <a:pt x="1481" y="2357"/>
                  </a:cubicBezTo>
                  <a:cubicBezTo>
                    <a:pt x="1504" y="2328"/>
                    <a:pt x="1512" y="2290"/>
                    <a:pt x="1503" y="2254"/>
                  </a:cubicBezTo>
                  <a:lnTo>
                    <a:pt x="1314" y="1484"/>
                  </a:lnTo>
                  <a:lnTo>
                    <a:pt x="1314" y="1484"/>
                  </a:lnTo>
                  <a:cubicBezTo>
                    <a:pt x="1314" y="1039"/>
                    <a:pt x="1315" y="1064"/>
                    <a:pt x="1312" y="1039"/>
                  </a:cubicBezTo>
                  <a:lnTo>
                    <a:pt x="1519" y="730"/>
                  </a:lnTo>
                  <a:cubicBezTo>
                    <a:pt x="1523" y="737"/>
                    <a:pt x="1528" y="744"/>
                    <a:pt x="1532" y="751"/>
                  </a:cubicBezTo>
                  <a:cubicBezTo>
                    <a:pt x="1538" y="762"/>
                    <a:pt x="1550" y="768"/>
                    <a:pt x="1562" y="767"/>
                  </a:cubicBezTo>
                  <a:cubicBezTo>
                    <a:pt x="1574" y="766"/>
                    <a:pt x="1585" y="758"/>
                    <a:pt x="1589" y="747"/>
                  </a:cubicBezTo>
                  <a:cubicBezTo>
                    <a:pt x="1604" y="706"/>
                    <a:pt x="1603" y="661"/>
                    <a:pt x="1595" y="618"/>
                  </a:cubicBezTo>
                  <a:lnTo>
                    <a:pt x="1754" y="381"/>
                  </a:lnTo>
                  <a:cubicBezTo>
                    <a:pt x="1796" y="317"/>
                    <a:pt x="1780" y="231"/>
                    <a:pt x="1716" y="188"/>
                  </a:cubicBezTo>
                  <a:close/>
                  <a:moveTo>
                    <a:pt x="1141" y="795"/>
                  </a:moveTo>
                  <a:cubicBezTo>
                    <a:pt x="1099" y="774"/>
                    <a:pt x="1052" y="762"/>
                    <a:pt x="1002" y="762"/>
                  </a:cubicBezTo>
                  <a:lnTo>
                    <a:pt x="794" y="762"/>
                  </a:lnTo>
                  <a:cubicBezTo>
                    <a:pt x="744" y="762"/>
                    <a:pt x="697" y="774"/>
                    <a:pt x="655" y="795"/>
                  </a:cubicBezTo>
                  <a:lnTo>
                    <a:pt x="504" y="570"/>
                  </a:lnTo>
                  <a:cubicBezTo>
                    <a:pt x="516" y="563"/>
                    <a:pt x="525" y="555"/>
                    <a:pt x="531" y="544"/>
                  </a:cubicBezTo>
                  <a:cubicBezTo>
                    <a:pt x="536" y="536"/>
                    <a:pt x="539" y="527"/>
                    <a:pt x="542" y="519"/>
                  </a:cubicBezTo>
                  <a:cubicBezTo>
                    <a:pt x="551" y="529"/>
                    <a:pt x="565" y="536"/>
                    <a:pt x="580" y="536"/>
                  </a:cubicBezTo>
                  <a:cubicBezTo>
                    <a:pt x="585" y="536"/>
                    <a:pt x="591" y="535"/>
                    <a:pt x="597" y="533"/>
                  </a:cubicBezTo>
                  <a:cubicBezTo>
                    <a:pt x="607" y="529"/>
                    <a:pt x="615" y="523"/>
                    <a:pt x="620" y="516"/>
                  </a:cubicBezTo>
                  <a:cubicBezTo>
                    <a:pt x="680" y="606"/>
                    <a:pt x="782" y="665"/>
                    <a:pt x="898" y="665"/>
                  </a:cubicBezTo>
                  <a:cubicBezTo>
                    <a:pt x="1014" y="665"/>
                    <a:pt x="1116" y="606"/>
                    <a:pt x="1176" y="516"/>
                  </a:cubicBezTo>
                  <a:cubicBezTo>
                    <a:pt x="1182" y="523"/>
                    <a:pt x="1190" y="529"/>
                    <a:pt x="1199" y="533"/>
                  </a:cubicBezTo>
                  <a:cubicBezTo>
                    <a:pt x="1205" y="535"/>
                    <a:pt x="1211" y="536"/>
                    <a:pt x="1217" y="536"/>
                  </a:cubicBezTo>
                  <a:cubicBezTo>
                    <a:pt x="1231" y="536"/>
                    <a:pt x="1245" y="529"/>
                    <a:pt x="1255" y="519"/>
                  </a:cubicBezTo>
                  <a:cubicBezTo>
                    <a:pt x="1257" y="527"/>
                    <a:pt x="1261" y="536"/>
                    <a:pt x="1265" y="544"/>
                  </a:cubicBezTo>
                  <a:cubicBezTo>
                    <a:pt x="1271" y="555"/>
                    <a:pt x="1280" y="563"/>
                    <a:pt x="1292" y="570"/>
                  </a:cubicBezTo>
                  <a:lnTo>
                    <a:pt x="1141" y="795"/>
                  </a:lnTo>
                  <a:close/>
                </a:path>
              </a:pathLst>
            </a:custGeom>
            <a:solidFill>
              <a:srgbClr val="000000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5BB6721E-73F5-4586-8C82-992DD9587E0A}"/>
              </a:ext>
            </a:extLst>
          </p:cNvPr>
          <p:cNvSpPr txBox="1"/>
          <p:nvPr/>
        </p:nvSpPr>
        <p:spPr>
          <a:xfrm rot="10800000">
            <a:off x="658813" y="1768720"/>
            <a:ext cx="2821383" cy="4448921"/>
          </a:xfrm>
          <a:prstGeom prst="round2SameRect">
            <a:avLst>
              <a:gd name="adj1" fmla="val 6009"/>
              <a:gd name="adj2" fmla="val 0"/>
            </a:avLst>
          </a:prstGeom>
          <a:solidFill>
            <a:srgbClr val="F2F2F2"/>
          </a:solidFill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79BBC9-1840-44E0-ADB4-BB49947316A3}"/>
              </a:ext>
            </a:extLst>
          </p:cNvPr>
          <p:cNvSpPr txBox="1"/>
          <p:nvPr/>
        </p:nvSpPr>
        <p:spPr>
          <a:xfrm>
            <a:off x="658813" y="2136166"/>
            <a:ext cx="2814986" cy="4002834"/>
          </a:xfrm>
          <a:prstGeom prst="rect">
            <a:avLst/>
          </a:prstGeom>
          <a:noFill/>
          <a:ln>
            <a:noFill/>
          </a:ln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“Everyone wins when children — and especially girls – have access to education. An educated girl is likely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to increase her personal earning potential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nd prepare herself for a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productive and fulfilling life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as well as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reduce poverty in the whole community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nvesting in girls’ education also helps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elay early marriage and parenthood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”                       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	         </a:t>
            </a:r>
            <a:b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</a:b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	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      - Angelique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Kidjo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A9D08D-9B39-45F8-BFF9-99BE69D9D653}"/>
              </a:ext>
            </a:extLst>
          </p:cNvPr>
          <p:cNvCxnSpPr>
            <a:cxnSpLocks/>
          </p:cNvCxnSpPr>
          <p:nvPr/>
        </p:nvCxnSpPr>
        <p:spPr>
          <a:xfrm flipH="1">
            <a:off x="658814" y="1768720"/>
            <a:ext cx="2821383" cy="0"/>
          </a:xfrm>
          <a:prstGeom prst="line">
            <a:avLst/>
          </a:prstGeom>
          <a:ln w="34925">
            <a:solidFill>
              <a:srgbClr val="ED1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14">
            <a:extLst>
              <a:ext uri="{FF2B5EF4-FFF2-40B4-BE49-F238E27FC236}">
                <a16:creationId xmlns:a16="http://schemas.microsoft.com/office/drawing/2014/main" id="{EA6EE44D-5D2B-4E2E-A2A5-737D71C49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6130" y="1453610"/>
            <a:ext cx="666750" cy="666750"/>
          </a:xfrm>
          <a:prstGeom prst="ellipse">
            <a:avLst/>
          </a:prstGeom>
          <a:solidFill>
            <a:srgbClr val="ED126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Freeform 97">
            <a:extLst>
              <a:ext uri="{FF2B5EF4-FFF2-40B4-BE49-F238E27FC236}">
                <a16:creationId xmlns:a16="http://schemas.microsoft.com/office/drawing/2014/main" id="{602E9A8A-AB22-460C-9FE2-7A56F843BFE8}"/>
              </a:ext>
            </a:extLst>
          </p:cNvPr>
          <p:cNvSpPr>
            <a:spLocks noEditPoints="1"/>
          </p:cNvSpPr>
          <p:nvPr/>
        </p:nvSpPr>
        <p:spPr bwMode="auto">
          <a:xfrm>
            <a:off x="1855193" y="1615535"/>
            <a:ext cx="427037" cy="342900"/>
          </a:xfrm>
          <a:custGeom>
            <a:avLst/>
            <a:gdLst>
              <a:gd name="T0" fmla="*/ 156 w 164"/>
              <a:gd name="T1" fmla="*/ 107 h 132"/>
              <a:gd name="T2" fmla="*/ 164 w 164"/>
              <a:gd name="T3" fmla="*/ 86 h 132"/>
              <a:gd name="T4" fmla="*/ 131 w 164"/>
              <a:gd name="T5" fmla="*/ 52 h 132"/>
              <a:gd name="T6" fmla="*/ 65 w 164"/>
              <a:gd name="T7" fmla="*/ 0 h 132"/>
              <a:gd name="T8" fmla="*/ 0 w 164"/>
              <a:gd name="T9" fmla="*/ 54 h 132"/>
              <a:gd name="T10" fmla="*/ 13 w 164"/>
              <a:gd name="T11" fmla="*/ 86 h 132"/>
              <a:gd name="T12" fmla="*/ 3 w 164"/>
              <a:gd name="T13" fmla="*/ 114 h 132"/>
              <a:gd name="T14" fmla="*/ 3 w 164"/>
              <a:gd name="T15" fmla="*/ 120 h 132"/>
              <a:gd name="T16" fmla="*/ 7 w 164"/>
              <a:gd name="T17" fmla="*/ 123 h 132"/>
              <a:gd name="T18" fmla="*/ 8 w 164"/>
              <a:gd name="T19" fmla="*/ 123 h 132"/>
              <a:gd name="T20" fmla="*/ 48 w 164"/>
              <a:gd name="T21" fmla="*/ 105 h 132"/>
              <a:gd name="T22" fmla="*/ 65 w 164"/>
              <a:gd name="T23" fmla="*/ 107 h 132"/>
              <a:gd name="T24" fmla="*/ 85 w 164"/>
              <a:gd name="T25" fmla="*/ 105 h 132"/>
              <a:gd name="T26" fmla="*/ 121 w 164"/>
              <a:gd name="T27" fmla="*/ 121 h 132"/>
              <a:gd name="T28" fmla="*/ 133 w 164"/>
              <a:gd name="T29" fmla="*/ 120 h 132"/>
              <a:gd name="T30" fmla="*/ 160 w 164"/>
              <a:gd name="T31" fmla="*/ 132 h 132"/>
              <a:gd name="T32" fmla="*/ 160 w 164"/>
              <a:gd name="T33" fmla="*/ 132 h 132"/>
              <a:gd name="T34" fmla="*/ 162 w 164"/>
              <a:gd name="T35" fmla="*/ 130 h 132"/>
              <a:gd name="T36" fmla="*/ 162 w 164"/>
              <a:gd name="T37" fmla="*/ 127 h 132"/>
              <a:gd name="T38" fmla="*/ 156 w 164"/>
              <a:gd name="T39" fmla="*/ 107 h 132"/>
              <a:gd name="T40" fmla="*/ 48 w 164"/>
              <a:gd name="T41" fmla="*/ 94 h 132"/>
              <a:gd name="T42" fmla="*/ 42 w 164"/>
              <a:gd name="T43" fmla="*/ 96 h 132"/>
              <a:gd name="T44" fmla="*/ 19 w 164"/>
              <a:gd name="T45" fmla="*/ 110 h 132"/>
              <a:gd name="T46" fmla="*/ 23 w 164"/>
              <a:gd name="T47" fmla="*/ 82 h 132"/>
              <a:gd name="T48" fmla="*/ 22 w 164"/>
              <a:gd name="T49" fmla="*/ 80 h 132"/>
              <a:gd name="T50" fmla="*/ 10 w 164"/>
              <a:gd name="T51" fmla="*/ 54 h 132"/>
              <a:gd name="T52" fmla="*/ 65 w 164"/>
              <a:gd name="T53" fmla="*/ 11 h 132"/>
              <a:gd name="T54" fmla="*/ 121 w 164"/>
              <a:gd name="T55" fmla="*/ 54 h 132"/>
              <a:gd name="T56" fmla="*/ 65 w 164"/>
              <a:gd name="T57" fmla="*/ 97 h 132"/>
              <a:gd name="T58" fmla="*/ 48 w 164"/>
              <a:gd name="T59" fmla="*/ 9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64" h="132">
                <a:moveTo>
                  <a:pt x="156" y="107"/>
                </a:moveTo>
                <a:cubicBezTo>
                  <a:pt x="161" y="101"/>
                  <a:pt x="164" y="94"/>
                  <a:pt x="164" y="86"/>
                </a:cubicBezTo>
                <a:cubicBezTo>
                  <a:pt x="164" y="70"/>
                  <a:pt x="150" y="56"/>
                  <a:pt x="131" y="52"/>
                </a:cubicBezTo>
                <a:cubicBezTo>
                  <a:pt x="130" y="23"/>
                  <a:pt x="101" y="0"/>
                  <a:pt x="65" y="0"/>
                </a:cubicBezTo>
                <a:cubicBezTo>
                  <a:pt x="29" y="0"/>
                  <a:pt x="0" y="24"/>
                  <a:pt x="0" y="54"/>
                </a:cubicBezTo>
                <a:cubicBezTo>
                  <a:pt x="0" y="65"/>
                  <a:pt x="4" y="76"/>
                  <a:pt x="13" y="86"/>
                </a:cubicBezTo>
                <a:cubicBezTo>
                  <a:pt x="14" y="95"/>
                  <a:pt x="10" y="108"/>
                  <a:pt x="3" y="114"/>
                </a:cubicBezTo>
                <a:cubicBezTo>
                  <a:pt x="2" y="116"/>
                  <a:pt x="2" y="118"/>
                  <a:pt x="3" y="120"/>
                </a:cubicBezTo>
                <a:cubicBezTo>
                  <a:pt x="4" y="122"/>
                  <a:pt x="5" y="123"/>
                  <a:pt x="7" y="123"/>
                </a:cubicBezTo>
                <a:cubicBezTo>
                  <a:pt x="8" y="123"/>
                  <a:pt x="8" y="123"/>
                  <a:pt x="8" y="123"/>
                </a:cubicBezTo>
                <a:cubicBezTo>
                  <a:pt x="23" y="122"/>
                  <a:pt x="37" y="116"/>
                  <a:pt x="48" y="105"/>
                </a:cubicBezTo>
                <a:cubicBezTo>
                  <a:pt x="54" y="107"/>
                  <a:pt x="60" y="107"/>
                  <a:pt x="65" y="107"/>
                </a:cubicBezTo>
                <a:cubicBezTo>
                  <a:pt x="72" y="107"/>
                  <a:pt x="79" y="106"/>
                  <a:pt x="85" y="105"/>
                </a:cubicBezTo>
                <a:cubicBezTo>
                  <a:pt x="92" y="115"/>
                  <a:pt x="106" y="121"/>
                  <a:pt x="121" y="121"/>
                </a:cubicBezTo>
                <a:cubicBezTo>
                  <a:pt x="125" y="121"/>
                  <a:pt x="129" y="121"/>
                  <a:pt x="133" y="120"/>
                </a:cubicBezTo>
                <a:cubicBezTo>
                  <a:pt x="140" y="127"/>
                  <a:pt x="150" y="131"/>
                  <a:pt x="160" y="132"/>
                </a:cubicBezTo>
                <a:cubicBezTo>
                  <a:pt x="160" y="132"/>
                  <a:pt x="160" y="132"/>
                  <a:pt x="160" y="132"/>
                </a:cubicBezTo>
                <a:cubicBezTo>
                  <a:pt x="161" y="132"/>
                  <a:pt x="162" y="131"/>
                  <a:pt x="162" y="130"/>
                </a:cubicBezTo>
                <a:cubicBezTo>
                  <a:pt x="163" y="129"/>
                  <a:pt x="163" y="128"/>
                  <a:pt x="162" y="127"/>
                </a:cubicBezTo>
                <a:cubicBezTo>
                  <a:pt x="158" y="123"/>
                  <a:pt x="155" y="114"/>
                  <a:pt x="156" y="107"/>
                </a:cubicBezTo>
                <a:close/>
                <a:moveTo>
                  <a:pt x="48" y="94"/>
                </a:moveTo>
                <a:cubicBezTo>
                  <a:pt x="46" y="94"/>
                  <a:pt x="44" y="94"/>
                  <a:pt x="42" y="96"/>
                </a:cubicBezTo>
                <a:cubicBezTo>
                  <a:pt x="36" y="102"/>
                  <a:pt x="28" y="108"/>
                  <a:pt x="19" y="110"/>
                </a:cubicBezTo>
                <a:cubicBezTo>
                  <a:pt x="23" y="101"/>
                  <a:pt x="25" y="91"/>
                  <a:pt x="23" y="82"/>
                </a:cubicBezTo>
                <a:cubicBezTo>
                  <a:pt x="23" y="81"/>
                  <a:pt x="22" y="80"/>
                  <a:pt x="22" y="80"/>
                </a:cubicBezTo>
                <a:cubicBezTo>
                  <a:pt x="14" y="72"/>
                  <a:pt x="10" y="63"/>
                  <a:pt x="10" y="54"/>
                </a:cubicBezTo>
                <a:cubicBezTo>
                  <a:pt x="10" y="30"/>
                  <a:pt x="35" y="11"/>
                  <a:pt x="65" y="11"/>
                </a:cubicBezTo>
                <a:cubicBezTo>
                  <a:pt x="96" y="11"/>
                  <a:pt x="121" y="30"/>
                  <a:pt x="121" y="54"/>
                </a:cubicBezTo>
                <a:cubicBezTo>
                  <a:pt x="121" y="77"/>
                  <a:pt x="96" y="97"/>
                  <a:pt x="65" y="97"/>
                </a:cubicBezTo>
                <a:cubicBezTo>
                  <a:pt x="59" y="97"/>
                  <a:pt x="53" y="96"/>
                  <a:pt x="4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5" name="TextBox 124">
            <a:extLst>
              <a:ext uri="{FF2B5EF4-FFF2-40B4-BE49-F238E27FC236}">
                <a16:creationId xmlns:a16="http://schemas.microsoft.com/office/drawing/2014/main" id="{E596232B-8941-4DFA-BAAF-772DD554B12C}"/>
              </a:ext>
            </a:extLst>
          </p:cNvPr>
          <p:cNvSpPr txBox="1"/>
          <p:nvPr/>
        </p:nvSpPr>
        <p:spPr>
          <a:xfrm>
            <a:off x="3561955" y="3848591"/>
            <a:ext cx="2464557" cy="731520"/>
          </a:xfrm>
          <a:prstGeom prst="roundRect">
            <a:avLst>
              <a:gd name="adj" fmla="val 15569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Tackle social norms around girls’ expectations, opportunities, and rights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1C0205F-6E64-4395-822F-79BA9F87AD36}"/>
              </a:ext>
            </a:extLst>
          </p:cNvPr>
          <p:cNvSpPr/>
          <p:nvPr/>
        </p:nvSpPr>
        <p:spPr>
          <a:xfrm>
            <a:off x="5990512" y="3848591"/>
            <a:ext cx="36000" cy="731520"/>
          </a:xfrm>
          <a:prstGeom prst="rect">
            <a:avLst/>
          </a:prstGeom>
          <a:solidFill>
            <a:srgbClr val="F8A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84805F9C-6919-4683-B494-6DDD0CB85857}"/>
              </a:ext>
            </a:extLst>
          </p:cNvPr>
          <p:cNvSpPr txBox="1"/>
          <p:nvPr/>
        </p:nvSpPr>
        <p:spPr>
          <a:xfrm>
            <a:off x="3561955" y="4667356"/>
            <a:ext cx="2464557" cy="731520"/>
          </a:xfrm>
          <a:prstGeom prst="roundRect">
            <a:avLst>
              <a:gd name="adj" fmla="val 15022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Connect girls to ‘green econ’ (and other) employment opportunities</a:t>
            </a:r>
          </a:p>
        </p:txBody>
      </p:sp>
      <p:sp>
        <p:nvSpPr>
          <p:cNvPr id="130" name="Rectangle 129">
            <a:extLst>
              <a:ext uri="{FF2B5EF4-FFF2-40B4-BE49-F238E27FC236}">
                <a16:creationId xmlns:a16="http://schemas.microsoft.com/office/drawing/2014/main" id="{A708044A-E4D1-4BF9-87B8-9B2713910E16}"/>
              </a:ext>
            </a:extLst>
          </p:cNvPr>
          <p:cNvSpPr/>
          <p:nvPr/>
        </p:nvSpPr>
        <p:spPr>
          <a:xfrm>
            <a:off x="5990512" y="4667356"/>
            <a:ext cx="36000" cy="731520"/>
          </a:xfrm>
          <a:prstGeom prst="rect">
            <a:avLst/>
          </a:prstGeom>
          <a:solidFill>
            <a:srgbClr val="F467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659B9E0F-9BC6-49DC-81FB-41838B74BCC6}"/>
              </a:ext>
            </a:extLst>
          </p:cNvPr>
          <p:cNvSpPr txBox="1"/>
          <p:nvPr/>
        </p:nvSpPr>
        <p:spPr>
          <a:xfrm>
            <a:off x="3561955" y="5486121"/>
            <a:ext cx="2464557" cy="731520"/>
          </a:xfrm>
          <a:prstGeom prst="roundRect">
            <a:avLst>
              <a:gd name="adj" fmla="val 7644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Cultivate income-generating opportunities in tandem with schooling </a:t>
            </a:r>
          </a:p>
        </p:txBody>
      </p:sp>
      <p:sp>
        <p:nvSpPr>
          <p:cNvPr id="131" name="Rectangle 130">
            <a:extLst>
              <a:ext uri="{FF2B5EF4-FFF2-40B4-BE49-F238E27FC236}">
                <a16:creationId xmlns:a16="http://schemas.microsoft.com/office/drawing/2014/main" id="{9D2C7502-B2C5-4D7E-B7B0-514EAFAAE89A}"/>
              </a:ext>
            </a:extLst>
          </p:cNvPr>
          <p:cNvSpPr/>
          <p:nvPr/>
        </p:nvSpPr>
        <p:spPr>
          <a:xfrm>
            <a:off x="5990512" y="5486121"/>
            <a:ext cx="36000" cy="731520"/>
          </a:xfrm>
          <a:prstGeom prst="rect">
            <a:avLst/>
          </a:prstGeom>
          <a:solidFill>
            <a:srgbClr val="F14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52FD9EA-5069-406C-ADCB-95C7BD318641}"/>
              </a:ext>
            </a:extLst>
          </p:cNvPr>
          <p:cNvSpPr txBox="1"/>
          <p:nvPr/>
        </p:nvSpPr>
        <p:spPr>
          <a:xfrm>
            <a:off x="8983038" y="4813451"/>
            <a:ext cx="2480547" cy="799509"/>
          </a:xfrm>
          <a:prstGeom prst="roundRect">
            <a:avLst>
              <a:gd name="adj" fmla="val 6143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mpart essential life skills such as negotiation, independent decision-making, networking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75BFA85-124D-478C-AA6A-0AFB623714FD}"/>
              </a:ext>
            </a:extLst>
          </p:cNvPr>
          <p:cNvSpPr/>
          <p:nvPr/>
        </p:nvSpPr>
        <p:spPr>
          <a:xfrm>
            <a:off x="8983038" y="4813451"/>
            <a:ext cx="36234" cy="799953"/>
          </a:xfrm>
          <a:prstGeom prst="rect">
            <a:avLst/>
          </a:prstGeom>
          <a:solidFill>
            <a:srgbClr val="D61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68EEA0A-98BE-4677-9078-0CFF06137595}"/>
              </a:ext>
            </a:extLst>
          </p:cNvPr>
          <p:cNvSpPr txBox="1"/>
          <p:nvPr/>
        </p:nvSpPr>
        <p:spPr>
          <a:xfrm>
            <a:off x="8983038" y="3923767"/>
            <a:ext cx="2480547" cy="798525"/>
          </a:xfrm>
          <a:prstGeom prst="roundRect">
            <a:avLst>
              <a:gd name="adj" fmla="val 8571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Keep girls in school until end of secondary school (delays marriage/first pregnancy)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9DFAB8A-E46E-434E-82AE-9D09EC68DDF5}"/>
              </a:ext>
            </a:extLst>
          </p:cNvPr>
          <p:cNvSpPr/>
          <p:nvPr/>
        </p:nvSpPr>
        <p:spPr>
          <a:xfrm>
            <a:off x="8983038" y="3923767"/>
            <a:ext cx="36234" cy="798969"/>
          </a:xfrm>
          <a:prstGeom prst="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74991F-2A69-490B-954E-55C53F0A1B1C}"/>
              </a:ext>
            </a:extLst>
          </p:cNvPr>
          <p:cNvGrpSpPr/>
          <p:nvPr/>
        </p:nvGrpSpPr>
        <p:grpSpPr>
          <a:xfrm>
            <a:off x="3561955" y="2040804"/>
            <a:ext cx="7899231" cy="1614887"/>
            <a:chOff x="3698065" y="1615202"/>
            <a:chExt cx="7762098" cy="1614887"/>
          </a:xfrm>
        </p:grpSpPr>
        <p:sp>
          <p:nvSpPr>
            <p:cNvPr id="144" name="Rectangle: Top Corners Rounded 143">
              <a:extLst>
                <a:ext uri="{FF2B5EF4-FFF2-40B4-BE49-F238E27FC236}">
                  <a16:creationId xmlns:a16="http://schemas.microsoft.com/office/drawing/2014/main" id="{47201C8B-2E1D-4CE4-A3D7-2469599F706C}"/>
                </a:ext>
              </a:extLst>
            </p:cNvPr>
            <p:cNvSpPr/>
            <p:nvPr/>
          </p:nvSpPr>
          <p:spPr>
            <a:xfrm rot="10800000">
              <a:off x="3698065" y="2069131"/>
              <a:ext cx="7762095" cy="1160958"/>
            </a:xfrm>
            <a:prstGeom prst="round2SameRect">
              <a:avLst>
                <a:gd name="adj1" fmla="val 10851"/>
                <a:gd name="adj2" fmla="val 0"/>
              </a:avLst>
            </a:prstGeom>
            <a:solidFill>
              <a:srgbClr val="FAB7D1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5" name="Rectangle: Top Corners Rounded 144">
              <a:extLst>
                <a:ext uri="{FF2B5EF4-FFF2-40B4-BE49-F238E27FC236}">
                  <a16:creationId xmlns:a16="http://schemas.microsoft.com/office/drawing/2014/main" id="{5967E6D7-2DC9-44AA-856C-8AA226C85C08}"/>
                </a:ext>
              </a:extLst>
            </p:cNvPr>
            <p:cNvSpPr/>
            <p:nvPr/>
          </p:nvSpPr>
          <p:spPr>
            <a:xfrm>
              <a:off x="3698069" y="1615202"/>
              <a:ext cx="7762094" cy="455631"/>
            </a:xfrm>
            <a:prstGeom prst="round2SameRect">
              <a:avLst/>
            </a:prstGeom>
            <a:solidFill>
              <a:srgbClr val="ED1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D562D35E-34B6-47B9-B14F-998CDF9A0860}"/>
              </a:ext>
            </a:extLst>
          </p:cNvPr>
          <p:cNvSpPr txBox="1"/>
          <p:nvPr/>
        </p:nvSpPr>
        <p:spPr>
          <a:xfrm>
            <a:off x="6227222" y="2496334"/>
            <a:ext cx="25884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young women are in reliably paid employment</a:t>
            </a: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9842B22-9714-46E1-B3C1-161F7830A226}"/>
              </a:ext>
            </a:extLst>
          </p:cNvPr>
          <p:cNvSpPr txBox="1"/>
          <p:nvPr/>
        </p:nvSpPr>
        <p:spPr>
          <a:xfrm>
            <a:off x="8853391" y="2496334"/>
            <a:ext cx="257184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Projected reduction in child marriages if all girls in SSA attended secondary school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42AD5D-AE01-4050-AA7B-3ABB8A2F8B93}"/>
              </a:ext>
            </a:extLst>
          </p:cNvPr>
          <p:cNvSpPr txBox="1"/>
          <p:nvPr/>
        </p:nvSpPr>
        <p:spPr>
          <a:xfrm>
            <a:off x="3600587" y="2496334"/>
            <a:ext cx="256916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girls complete secondary school</a:t>
            </a: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3593138-B99D-47D6-8202-8AB2EC903617}"/>
              </a:ext>
            </a:extLst>
          </p:cNvPr>
          <p:cNvCxnSpPr/>
          <p:nvPr/>
        </p:nvCxnSpPr>
        <p:spPr>
          <a:xfrm>
            <a:off x="6207910" y="2167132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867B366-C1F6-4CE1-AA23-800CC7AD5075}"/>
              </a:ext>
            </a:extLst>
          </p:cNvPr>
          <p:cNvCxnSpPr/>
          <p:nvPr/>
        </p:nvCxnSpPr>
        <p:spPr>
          <a:xfrm>
            <a:off x="8834547" y="2167132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Freeform: Shape 161">
            <a:extLst>
              <a:ext uri="{FF2B5EF4-FFF2-40B4-BE49-F238E27FC236}">
                <a16:creationId xmlns:a16="http://schemas.microsoft.com/office/drawing/2014/main" id="{138DF561-E58A-40A9-86CC-7DECE6D790C5}"/>
              </a:ext>
            </a:extLst>
          </p:cNvPr>
          <p:cNvSpPr/>
          <p:nvPr/>
        </p:nvSpPr>
        <p:spPr>
          <a:xfrm>
            <a:off x="6901457" y="1939034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503A564-3BF9-452B-8CC6-DFFC1DA551BF}"/>
              </a:ext>
            </a:extLst>
          </p:cNvPr>
          <p:cNvSpPr txBox="1"/>
          <p:nvPr/>
        </p:nvSpPr>
        <p:spPr>
          <a:xfrm>
            <a:off x="6955637" y="2022458"/>
            <a:ext cx="113118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17%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37C6DD32-5ABE-4D38-919B-28E62F084D07}"/>
              </a:ext>
            </a:extLst>
          </p:cNvPr>
          <p:cNvSpPr/>
          <p:nvPr/>
        </p:nvSpPr>
        <p:spPr>
          <a:xfrm>
            <a:off x="9528093" y="1939034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006C19C-E2F3-4F1C-AACF-A637E29C693D}"/>
              </a:ext>
            </a:extLst>
          </p:cNvPr>
          <p:cNvSpPr txBox="1"/>
          <p:nvPr/>
        </p:nvSpPr>
        <p:spPr>
          <a:xfrm>
            <a:off x="9512568" y="2022458"/>
            <a:ext cx="1270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64%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86664" y="1939034"/>
            <a:ext cx="1415854" cy="606644"/>
            <a:chOff x="4319528" y="1360193"/>
            <a:chExt cx="1415854" cy="606644"/>
          </a:xfrm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974497B-9144-409C-808F-DC6D06FBCD33}"/>
                </a:ext>
              </a:extLst>
            </p:cNvPr>
            <p:cNvSpPr/>
            <p:nvPr/>
          </p:nvSpPr>
          <p:spPr>
            <a:xfrm>
              <a:off x="4407684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CFD83849-E3B5-4DC3-BC69-6541C2BA83D1}"/>
                </a:ext>
              </a:extLst>
            </p:cNvPr>
            <p:cNvSpPr txBox="1"/>
            <p:nvPr/>
          </p:nvSpPr>
          <p:spPr>
            <a:xfrm>
              <a:off x="4319528" y="1443617"/>
              <a:ext cx="14158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40%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793046FD-AD4A-45F0-A396-EFE320AF01C8}"/>
              </a:ext>
            </a:extLst>
          </p:cNvPr>
          <p:cNvSpPr/>
          <p:nvPr/>
        </p:nvSpPr>
        <p:spPr>
          <a:xfrm>
            <a:off x="6401320" y="3952452"/>
            <a:ext cx="2260519" cy="2260515"/>
          </a:xfrm>
          <a:prstGeom prst="ellipse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07F7E0F-E49B-4C98-85B8-2FB77432C60D}"/>
              </a:ext>
            </a:extLst>
          </p:cNvPr>
          <p:cNvSpPr txBox="1"/>
          <p:nvPr/>
        </p:nvSpPr>
        <p:spPr>
          <a:xfrm>
            <a:off x="6546955" y="4251846"/>
            <a:ext cx="1969249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nvest in holistic approaches to improve outlooks for girls, via secondary school completion, development of essential life skills, and access to sustainable paid work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56" name="Rectangle 23">
            <a:extLst>
              <a:ext uri="{FF2B5EF4-FFF2-40B4-BE49-F238E27FC236}">
                <a16:creationId xmlns:a16="http://schemas.microsoft.com/office/drawing/2014/main" id="{27F2A09A-C041-4696-8A3F-0A83A32FF9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707035" y="3648006"/>
            <a:ext cx="1649089" cy="37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ISSION</a:t>
            </a:r>
          </a:p>
        </p:txBody>
      </p:sp>
      <p:sp>
        <p:nvSpPr>
          <p:cNvPr id="74" name="Shape 121"/>
          <p:cNvSpPr txBox="1">
            <a:spLocks/>
          </p:cNvSpPr>
          <p:nvPr/>
        </p:nvSpPr>
        <p:spPr>
          <a:xfrm>
            <a:off x="658812" y="118612"/>
            <a:ext cx="10801351" cy="345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US" sz="2100" b="0" i="0" u="none" strike="noStrike" kern="1200" cap="none" spc="0" normalizeH="0" baseline="0" noProof="0" dirty="0">
                <a:ln>
                  <a:noFill/>
                </a:ln>
                <a:solidFill>
                  <a:srgbClr val="DA3568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Priority investment area: </a:t>
            </a:r>
            <a:r>
              <a:rPr kumimoji="0" lang="en-US" sz="2100" b="1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Girl Capital  - </a:t>
            </a:r>
            <a:r>
              <a:rPr kumimoji="0" lang="en-US" sz="2100" b="0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preparing girls for the life-determining decisions and responsibilities they face now and in the future 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30338F34-12C9-442D-A865-A2F04F18B187}"/>
              </a:ext>
            </a:extLst>
          </p:cNvPr>
          <p:cNvSpPr txBox="1"/>
          <p:nvPr/>
        </p:nvSpPr>
        <p:spPr>
          <a:xfrm>
            <a:off x="8974558" y="5695989"/>
            <a:ext cx="2480547" cy="799509"/>
          </a:xfrm>
          <a:prstGeom prst="roundRect">
            <a:avLst>
              <a:gd name="adj" fmla="val 6143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Explore options for early child care as means for girls to access paid work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9CE9AF61-7D81-4FEE-B7A8-70F1205B4D7E}"/>
              </a:ext>
            </a:extLst>
          </p:cNvPr>
          <p:cNvSpPr/>
          <p:nvPr/>
        </p:nvSpPr>
        <p:spPr>
          <a:xfrm>
            <a:off x="8974558" y="5695989"/>
            <a:ext cx="36234" cy="799953"/>
          </a:xfrm>
          <a:prstGeom prst="rect">
            <a:avLst/>
          </a:prstGeom>
          <a:solidFill>
            <a:srgbClr val="D61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24405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2FA83AA3-7D74-401A-97A6-588330713811}"/>
              </a:ext>
            </a:extLst>
          </p:cNvPr>
          <p:cNvGrpSpPr/>
          <p:nvPr/>
        </p:nvGrpSpPr>
        <p:grpSpPr>
          <a:xfrm>
            <a:off x="10053532" y="1099859"/>
            <a:ext cx="419286" cy="843762"/>
            <a:chOff x="9927408" y="680314"/>
            <a:chExt cx="419286" cy="843762"/>
          </a:xfrm>
        </p:grpSpPr>
        <p:grpSp>
          <p:nvGrpSpPr>
            <p:cNvPr id="44" name="Group 43">
              <a:extLst>
                <a:ext uri="{FF2B5EF4-FFF2-40B4-BE49-F238E27FC236}">
                  <a16:creationId xmlns:a16="http://schemas.microsoft.com/office/drawing/2014/main" id="{29EF243F-2A4E-4A43-A084-E442939382BB}"/>
                </a:ext>
              </a:extLst>
            </p:cNvPr>
            <p:cNvGrpSpPr/>
            <p:nvPr/>
          </p:nvGrpSpPr>
          <p:grpSpPr>
            <a:xfrm>
              <a:off x="9927408" y="774839"/>
              <a:ext cx="404261" cy="682232"/>
              <a:chOff x="5482176" y="246291"/>
              <a:chExt cx="485775" cy="825500"/>
            </a:xfrm>
            <a:solidFill>
              <a:srgbClr val="000000"/>
            </a:solidFill>
          </p:grpSpPr>
          <p:sp>
            <p:nvSpPr>
              <p:cNvPr id="45" name="Oval 50">
                <a:extLst>
                  <a:ext uri="{FF2B5EF4-FFF2-40B4-BE49-F238E27FC236}">
                    <a16:creationId xmlns:a16="http://schemas.microsoft.com/office/drawing/2014/main" id="{69EBEB65-0BE4-454B-A572-5D76ABE74EE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750463" y="246291"/>
                <a:ext cx="168275" cy="16986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sp>
            <p:nvSpPr>
              <p:cNvPr id="46" name="Freeform 51">
                <a:extLst>
                  <a:ext uri="{FF2B5EF4-FFF2-40B4-BE49-F238E27FC236}">
                    <a16:creationId xmlns:a16="http://schemas.microsoft.com/office/drawing/2014/main" id="{75058124-2032-4751-9239-FB9A4A9FFCA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734588" y="414566"/>
                <a:ext cx="233363" cy="657225"/>
              </a:xfrm>
              <a:custGeom>
                <a:avLst/>
                <a:gdLst>
                  <a:gd name="T0" fmla="*/ 302 w 306"/>
                  <a:gd name="T1" fmla="*/ 345 h 862"/>
                  <a:gd name="T2" fmla="*/ 257 w 306"/>
                  <a:gd name="T3" fmla="*/ 45 h 862"/>
                  <a:gd name="T4" fmla="*/ 210 w 306"/>
                  <a:gd name="T5" fmla="*/ 0 h 862"/>
                  <a:gd name="T6" fmla="*/ 210 w 306"/>
                  <a:gd name="T7" fmla="*/ 0 h 862"/>
                  <a:gd name="T8" fmla="*/ 131 w 306"/>
                  <a:gd name="T9" fmla="*/ 25 h 862"/>
                  <a:gd name="T10" fmla="*/ 52 w 306"/>
                  <a:gd name="T11" fmla="*/ 0 h 862"/>
                  <a:gd name="T12" fmla="*/ 52 w 306"/>
                  <a:gd name="T13" fmla="*/ 0 h 862"/>
                  <a:gd name="T14" fmla="*/ 5 w 306"/>
                  <a:gd name="T15" fmla="*/ 45 h 862"/>
                  <a:gd name="T16" fmla="*/ 0 w 306"/>
                  <a:gd name="T17" fmla="*/ 83 h 862"/>
                  <a:gd name="T18" fmla="*/ 38 w 306"/>
                  <a:gd name="T19" fmla="*/ 342 h 862"/>
                  <a:gd name="T20" fmla="*/ 25 w 306"/>
                  <a:gd name="T21" fmla="*/ 392 h 862"/>
                  <a:gd name="T22" fmla="*/ 3 w 306"/>
                  <a:gd name="T23" fmla="*/ 408 h 862"/>
                  <a:gd name="T24" fmla="*/ 30 w 306"/>
                  <a:gd name="T25" fmla="*/ 511 h 862"/>
                  <a:gd name="T26" fmla="*/ 30 w 306"/>
                  <a:gd name="T27" fmla="*/ 512 h 862"/>
                  <a:gd name="T28" fmla="*/ 30 w 306"/>
                  <a:gd name="T29" fmla="*/ 513 h 862"/>
                  <a:gd name="T30" fmla="*/ 21 w 306"/>
                  <a:gd name="T31" fmla="*/ 548 h 862"/>
                  <a:gd name="T32" fmla="*/ 50 w 306"/>
                  <a:gd name="T33" fmla="*/ 549 h 862"/>
                  <a:gd name="T34" fmla="*/ 67 w 306"/>
                  <a:gd name="T35" fmla="*/ 815 h 862"/>
                  <a:gd name="T36" fmla="*/ 117 w 306"/>
                  <a:gd name="T37" fmla="*/ 862 h 862"/>
                  <a:gd name="T38" fmla="*/ 146 w 306"/>
                  <a:gd name="T39" fmla="*/ 862 h 862"/>
                  <a:gd name="T40" fmla="*/ 196 w 306"/>
                  <a:gd name="T41" fmla="*/ 815 h 862"/>
                  <a:gd name="T42" fmla="*/ 213 w 306"/>
                  <a:gd name="T43" fmla="*/ 550 h 862"/>
                  <a:gd name="T44" fmla="*/ 268 w 306"/>
                  <a:gd name="T45" fmla="*/ 548 h 862"/>
                  <a:gd name="T46" fmla="*/ 293 w 306"/>
                  <a:gd name="T47" fmla="*/ 518 h 862"/>
                  <a:gd name="T48" fmla="*/ 261 w 306"/>
                  <a:gd name="T49" fmla="*/ 392 h 862"/>
                  <a:gd name="T50" fmla="*/ 264 w 306"/>
                  <a:gd name="T51" fmla="*/ 392 h 862"/>
                  <a:gd name="T52" fmla="*/ 302 w 306"/>
                  <a:gd name="T53" fmla="*/ 345 h 8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</a:cxnLst>
                <a:rect l="0" t="0" r="r" b="b"/>
                <a:pathLst>
                  <a:path w="306" h="862">
                    <a:moveTo>
                      <a:pt x="302" y="345"/>
                    </a:moveTo>
                    <a:lnTo>
                      <a:pt x="257" y="45"/>
                    </a:lnTo>
                    <a:cubicBezTo>
                      <a:pt x="253" y="22"/>
                      <a:pt x="233" y="3"/>
                      <a:pt x="210" y="0"/>
                    </a:cubicBezTo>
                    <a:lnTo>
                      <a:pt x="210" y="0"/>
                    </a:lnTo>
                    <a:cubicBezTo>
                      <a:pt x="187" y="17"/>
                      <a:pt x="161" y="25"/>
                      <a:pt x="131" y="25"/>
                    </a:cubicBezTo>
                    <a:cubicBezTo>
                      <a:pt x="101" y="25"/>
                      <a:pt x="75" y="17"/>
                      <a:pt x="52" y="0"/>
                    </a:cubicBezTo>
                    <a:lnTo>
                      <a:pt x="52" y="0"/>
                    </a:lnTo>
                    <a:cubicBezTo>
                      <a:pt x="28" y="3"/>
                      <a:pt x="8" y="22"/>
                      <a:pt x="5" y="45"/>
                    </a:cubicBezTo>
                    <a:lnTo>
                      <a:pt x="0" y="83"/>
                    </a:lnTo>
                    <a:lnTo>
                      <a:pt x="38" y="342"/>
                    </a:lnTo>
                    <a:cubicBezTo>
                      <a:pt x="41" y="359"/>
                      <a:pt x="36" y="378"/>
                      <a:pt x="25" y="392"/>
                    </a:cubicBezTo>
                    <a:cubicBezTo>
                      <a:pt x="18" y="399"/>
                      <a:pt x="11" y="404"/>
                      <a:pt x="3" y="408"/>
                    </a:cubicBezTo>
                    <a:lnTo>
                      <a:pt x="30" y="511"/>
                    </a:lnTo>
                    <a:lnTo>
                      <a:pt x="30" y="512"/>
                    </a:lnTo>
                    <a:lnTo>
                      <a:pt x="30" y="513"/>
                    </a:lnTo>
                    <a:cubicBezTo>
                      <a:pt x="31" y="526"/>
                      <a:pt x="28" y="538"/>
                      <a:pt x="21" y="548"/>
                    </a:cubicBezTo>
                    <a:lnTo>
                      <a:pt x="50" y="549"/>
                    </a:lnTo>
                    <a:lnTo>
                      <a:pt x="67" y="815"/>
                    </a:lnTo>
                    <a:cubicBezTo>
                      <a:pt x="68" y="842"/>
                      <a:pt x="91" y="862"/>
                      <a:pt x="117" y="862"/>
                    </a:cubicBezTo>
                    <a:lnTo>
                      <a:pt x="146" y="862"/>
                    </a:lnTo>
                    <a:cubicBezTo>
                      <a:pt x="172" y="862"/>
                      <a:pt x="193" y="842"/>
                      <a:pt x="196" y="815"/>
                    </a:cubicBezTo>
                    <a:lnTo>
                      <a:pt x="213" y="550"/>
                    </a:lnTo>
                    <a:lnTo>
                      <a:pt x="268" y="548"/>
                    </a:lnTo>
                    <a:cubicBezTo>
                      <a:pt x="283" y="547"/>
                      <a:pt x="296" y="533"/>
                      <a:pt x="293" y="518"/>
                    </a:cubicBezTo>
                    <a:lnTo>
                      <a:pt x="261" y="392"/>
                    </a:lnTo>
                    <a:lnTo>
                      <a:pt x="264" y="392"/>
                    </a:lnTo>
                    <a:cubicBezTo>
                      <a:pt x="287" y="389"/>
                      <a:pt x="306" y="368"/>
                      <a:pt x="302" y="345"/>
                    </a:cubicBez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sp>
            <p:nvSpPr>
              <p:cNvPr id="47" name="Oval 52">
                <a:extLst>
                  <a:ext uri="{FF2B5EF4-FFF2-40B4-BE49-F238E27FC236}">
                    <a16:creationId xmlns:a16="http://schemas.microsoft.com/office/drawing/2014/main" id="{9FEBBAE0-9BC1-42A9-BBB2-AA6B5E92C861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5531388" y="246291"/>
                <a:ext cx="168275" cy="169862"/>
              </a:xfrm>
              <a:prstGeom prst="ellipse">
                <a:avLst/>
              </a:pr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  <p:sp>
            <p:nvSpPr>
              <p:cNvPr id="53" name="Freeform 53">
                <a:extLst>
                  <a:ext uri="{FF2B5EF4-FFF2-40B4-BE49-F238E27FC236}">
                    <a16:creationId xmlns:a16="http://schemas.microsoft.com/office/drawing/2014/main" id="{D5696D64-FFC9-4B4F-8DBC-4FF8C840E97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482176" y="414566"/>
                <a:ext cx="266700" cy="655637"/>
              </a:xfrm>
              <a:custGeom>
                <a:avLst/>
                <a:gdLst>
                  <a:gd name="T0" fmla="*/ 305 w 350"/>
                  <a:gd name="T1" fmla="*/ 389 h 861"/>
                  <a:gd name="T2" fmla="*/ 309 w 350"/>
                  <a:gd name="T3" fmla="*/ 389 h 861"/>
                  <a:gd name="T4" fmla="*/ 346 w 350"/>
                  <a:gd name="T5" fmla="*/ 345 h 861"/>
                  <a:gd name="T6" fmla="*/ 301 w 350"/>
                  <a:gd name="T7" fmla="*/ 45 h 861"/>
                  <a:gd name="T8" fmla="*/ 254 w 350"/>
                  <a:gd name="T9" fmla="*/ 0 h 861"/>
                  <a:gd name="T10" fmla="*/ 254 w 350"/>
                  <a:gd name="T11" fmla="*/ 0 h 861"/>
                  <a:gd name="T12" fmla="*/ 175 w 350"/>
                  <a:gd name="T13" fmla="*/ 25 h 861"/>
                  <a:gd name="T14" fmla="*/ 97 w 350"/>
                  <a:gd name="T15" fmla="*/ 0 h 861"/>
                  <a:gd name="T16" fmla="*/ 97 w 350"/>
                  <a:gd name="T17" fmla="*/ 0 h 861"/>
                  <a:gd name="T18" fmla="*/ 49 w 350"/>
                  <a:gd name="T19" fmla="*/ 45 h 861"/>
                  <a:gd name="T20" fmla="*/ 4 w 350"/>
                  <a:gd name="T21" fmla="*/ 345 h 861"/>
                  <a:gd name="T22" fmla="*/ 42 w 350"/>
                  <a:gd name="T23" fmla="*/ 389 h 861"/>
                  <a:gd name="T24" fmla="*/ 45 w 350"/>
                  <a:gd name="T25" fmla="*/ 389 h 861"/>
                  <a:gd name="T26" fmla="*/ 13 w 350"/>
                  <a:gd name="T27" fmla="*/ 515 h 861"/>
                  <a:gd name="T28" fmla="*/ 38 w 350"/>
                  <a:gd name="T29" fmla="*/ 545 h 861"/>
                  <a:gd name="T30" fmla="*/ 93 w 350"/>
                  <a:gd name="T31" fmla="*/ 548 h 861"/>
                  <a:gd name="T32" fmla="*/ 110 w 350"/>
                  <a:gd name="T33" fmla="*/ 814 h 861"/>
                  <a:gd name="T34" fmla="*/ 160 w 350"/>
                  <a:gd name="T35" fmla="*/ 861 h 861"/>
                  <a:gd name="T36" fmla="*/ 189 w 350"/>
                  <a:gd name="T37" fmla="*/ 861 h 861"/>
                  <a:gd name="T38" fmla="*/ 239 w 350"/>
                  <a:gd name="T39" fmla="*/ 814 h 861"/>
                  <a:gd name="T40" fmla="*/ 256 w 350"/>
                  <a:gd name="T41" fmla="*/ 549 h 861"/>
                  <a:gd name="T42" fmla="*/ 311 w 350"/>
                  <a:gd name="T43" fmla="*/ 547 h 861"/>
                  <a:gd name="T44" fmla="*/ 336 w 350"/>
                  <a:gd name="T45" fmla="*/ 517 h 861"/>
                  <a:gd name="T46" fmla="*/ 305 w 350"/>
                  <a:gd name="T47" fmla="*/ 389 h 86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350" h="861">
                    <a:moveTo>
                      <a:pt x="305" y="389"/>
                    </a:moveTo>
                    <a:lnTo>
                      <a:pt x="309" y="389"/>
                    </a:lnTo>
                    <a:cubicBezTo>
                      <a:pt x="333" y="389"/>
                      <a:pt x="350" y="368"/>
                      <a:pt x="346" y="345"/>
                    </a:cubicBezTo>
                    <a:lnTo>
                      <a:pt x="301" y="45"/>
                    </a:lnTo>
                    <a:cubicBezTo>
                      <a:pt x="298" y="22"/>
                      <a:pt x="278" y="3"/>
                      <a:pt x="254" y="0"/>
                    </a:cubicBezTo>
                    <a:lnTo>
                      <a:pt x="254" y="0"/>
                    </a:lnTo>
                    <a:cubicBezTo>
                      <a:pt x="232" y="17"/>
                      <a:pt x="205" y="25"/>
                      <a:pt x="175" y="25"/>
                    </a:cubicBezTo>
                    <a:cubicBezTo>
                      <a:pt x="145" y="25"/>
                      <a:pt x="119" y="17"/>
                      <a:pt x="97" y="0"/>
                    </a:cubicBezTo>
                    <a:lnTo>
                      <a:pt x="97" y="0"/>
                    </a:lnTo>
                    <a:cubicBezTo>
                      <a:pt x="73" y="3"/>
                      <a:pt x="53" y="22"/>
                      <a:pt x="49" y="45"/>
                    </a:cubicBezTo>
                    <a:lnTo>
                      <a:pt x="4" y="345"/>
                    </a:lnTo>
                    <a:cubicBezTo>
                      <a:pt x="0" y="369"/>
                      <a:pt x="19" y="389"/>
                      <a:pt x="42" y="389"/>
                    </a:cubicBezTo>
                    <a:lnTo>
                      <a:pt x="45" y="389"/>
                    </a:lnTo>
                    <a:lnTo>
                      <a:pt x="13" y="515"/>
                    </a:lnTo>
                    <a:cubicBezTo>
                      <a:pt x="10" y="531"/>
                      <a:pt x="23" y="544"/>
                      <a:pt x="38" y="545"/>
                    </a:cubicBezTo>
                    <a:lnTo>
                      <a:pt x="93" y="548"/>
                    </a:lnTo>
                    <a:lnTo>
                      <a:pt x="110" y="814"/>
                    </a:lnTo>
                    <a:cubicBezTo>
                      <a:pt x="111" y="840"/>
                      <a:pt x="134" y="861"/>
                      <a:pt x="160" y="861"/>
                    </a:cubicBezTo>
                    <a:lnTo>
                      <a:pt x="189" y="861"/>
                    </a:lnTo>
                    <a:cubicBezTo>
                      <a:pt x="215" y="861"/>
                      <a:pt x="236" y="841"/>
                      <a:pt x="239" y="814"/>
                    </a:cubicBezTo>
                    <a:lnTo>
                      <a:pt x="256" y="549"/>
                    </a:lnTo>
                    <a:lnTo>
                      <a:pt x="311" y="547"/>
                    </a:lnTo>
                    <a:cubicBezTo>
                      <a:pt x="326" y="545"/>
                      <a:pt x="339" y="532"/>
                      <a:pt x="336" y="517"/>
                    </a:cubicBezTo>
                    <a:lnTo>
                      <a:pt x="305" y="389"/>
                    </a:lnTo>
                    <a:close/>
                  </a:path>
                </a:pathLst>
              </a:custGeom>
              <a:grpFill/>
              <a:ln w="0">
                <a:noFill/>
                <a:prstDash val="solid"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+mn-cs"/>
                </a:endParaRPr>
              </a:p>
            </p:txBody>
          </p:sp>
        </p:grpSp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6FF8D701-6B63-47AA-9C4D-9EB1491CC032}"/>
                </a:ext>
              </a:extLst>
            </p:cNvPr>
            <p:cNvSpPr/>
            <p:nvPr/>
          </p:nvSpPr>
          <p:spPr>
            <a:xfrm>
              <a:off x="10153832" y="680314"/>
              <a:ext cx="192862" cy="843762"/>
            </a:xfrm>
            <a:prstGeom prst="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pic>
        <p:nvPicPr>
          <p:cNvPr id="5" name="Graphic 4" descr="Pregnant lady">
            <a:extLst>
              <a:ext uri="{FF2B5EF4-FFF2-40B4-BE49-F238E27FC236}">
                <a16:creationId xmlns:a16="http://schemas.microsoft.com/office/drawing/2014/main" id="{CF3A4C8D-A33E-48CA-9310-D748D056C2D8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473686" y="1191466"/>
            <a:ext cx="743364" cy="743364"/>
          </a:xfrm>
          <a:prstGeom prst="rect">
            <a:avLst/>
          </a:prstGeom>
        </p:spPr>
      </p:pic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7" imgW="395" imgH="394" progId="TCLayout.ActiveDocument.1">
                  <p:embed/>
                </p:oleObj>
              </mc:Choice>
              <mc:Fallback>
                <p:oleObj name="think-cell Slide" r:id="rId7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2" name="Group 121"/>
          <p:cNvGrpSpPr/>
          <p:nvPr/>
        </p:nvGrpSpPr>
        <p:grpSpPr>
          <a:xfrm>
            <a:off x="7294572" y="1210152"/>
            <a:ext cx="401467" cy="682232"/>
            <a:chOff x="5482176" y="246291"/>
            <a:chExt cx="485775" cy="825500"/>
          </a:xfrm>
          <a:solidFill>
            <a:srgbClr val="000000"/>
          </a:solidFill>
        </p:grpSpPr>
        <p:sp>
          <p:nvSpPr>
            <p:cNvPr id="77" name="Oval 50"/>
            <p:cNvSpPr>
              <a:spLocks noChangeArrowheads="1"/>
            </p:cNvSpPr>
            <p:nvPr/>
          </p:nvSpPr>
          <p:spPr bwMode="auto">
            <a:xfrm>
              <a:off x="5750463" y="246291"/>
              <a:ext cx="168275" cy="16986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78" name="Freeform 51"/>
            <p:cNvSpPr>
              <a:spLocks/>
            </p:cNvSpPr>
            <p:nvPr/>
          </p:nvSpPr>
          <p:spPr bwMode="auto">
            <a:xfrm>
              <a:off x="5734588" y="414566"/>
              <a:ext cx="233363" cy="657225"/>
            </a:xfrm>
            <a:custGeom>
              <a:avLst/>
              <a:gdLst>
                <a:gd name="T0" fmla="*/ 302 w 306"/>
                <a:gd name="T1" fmla="*/ 345 h 862"/>
                <a:gd name="T2" fmla="*/ 257 w 306"/>
                <a:gd name="T3" fmla="*/ 45 h 862"/>
                <a:gd name="T4" fmla="*/ 210 w 306"/>
                <a:gd name="T5" fmla="*/ 0 h 862"/>
                <a:gd name="T6" fmla="*/ 210 w 306"/>
                <a:gd name="T7" fmla="*/ 0 h 862"/>
                <a:gd name="T8" fmla="*/ 131 w 306"/>
                <a:gd name="T9" fmla="*/ 25 h 862"/>
                <a:gd name="T10" fmla="*/ 52 w 306"/>
                <a:gd name="T11" fmla="*/ 0 h 862"/>
                <a:gd name="T12" fmla="*/ 52 w 306"/>
                <a:gd name="T13" fmla="*/ 0 h 862"/>
                <a:gd name="T14" fmla="*/ 5 w 306"/>
                <a:gd name="T15" fmla="*/ 45 h 862"/>
                <a:gd name="T16" fmla="*/ 0 w 306"/>
                <a:gd name="T17" fmla="*/ 83 h 862"/>
                <a:gd name="T18" fmla="*/ 38 w 306"/>
                <a:gd name="T19" fmla="*/ 342 h 862"/>
                <a:gd name="T20" fmla="*/ 25 w 306"/>
                <a:gd name="T21" fmla="*/ 392 h 862"/>
                <a:gd name="T22" fmla="*/ 3 w 306"/>
                <a:gd name="T23" fmla="*/ 408 h 862"/>
                <a:gd name="T24" fmla="*/ 30 w 306"/>
                <a:gd name="T25" fmla="*/ 511 h 862"/>
                <a:gd name="T26" fmla="*/ 30 w 306"/>
                <a:gd name="T27" fmla="*/ 512 h 862"/>
                <a:gd name="T28" fmla="*/ 30 w 306"/>
                <a:gd name="T29" fmla="*/ 513 h 862"/>
                <a:gd name="T30" fmla="*/ 21 w 306"/>
                <a:gd name="T31" fmla="*/ 548 h 862"/>
                <a:gd name="T32" fmla="*/ 50 w 306"/>
                <a:gd name="T33" fmla="*/ 549 h 862"/>
                <a:gd name="T34" fmla="*/ 67 w 306"/>
                <a:gd name="T35" fmla="*/ 815 h 862"/>
                <a:gd name="T36" fmla="*/ 117 w 306"/>
                <a:gd name="T37" fmla="*/ 862 h 862"/>
                <a:gd name="T38" fmla="*/ 146 w 306"/>
                <a:gd name="T39" fmla="*/ 862 h 862"/>
                <a:gd name="T40" fmla="*/ 196 w 306"/>
                <a:gd name="T41" fmla="*/ 815 h 862"/>
                <a:gd name="T42" fmla="*/ 213 w 306"/>
                <a:gd name="T43" fmla="*/ 550 h 862"/>
                <a:gd name="T44" fmla="*/ 268 w 306"/>
                <a:gd name="T45" fmla="*/ 548 h 862"/>
                <a:gd name="T46" fmla="*/ 293 w 306"/>
                <a:gd name="T47" fmla="*/ 518 h 862"/>
                <a:gd name="T48" fmla="*/ 261 w 306"/>
                <a:gd name="T49" fmla="*/ 392 h 862"/>
                <a:gd name="T50" fmla="*/ 264 w 306"/>
                <a:gd name="T51" fmla="*/ 392 h 862"/>
                <a:gd name="T52" fmla="*/ 302 w 306"/>
                <a:gd name="T53" fmla="*/ 345 h 8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06" h="862">
                  <a:moveTo>
                    <a:pt x="302" y="345"/>
                  </a:moveTo>
                  <a:lnTo>
                    <a:pt x="257" y="45"/>
                  </a:lnTo>
                  <a:cubicBezTo>
                    <a:pt x="253" y="22"/>
                    <a:pt x="233" y="3"/>
                    <a:pt x="210" y="0"/>
                  </a:cubicBezTo>
                  <a:lnTo>
                    <a:pt x="210" y="0"/>
                  </a:lnTo>
                  <a:cubicBezTo>
                    <a:pt x="187" y="17"/>
                    <a:pt x="161" y="25"/>
                    <a:pt x="131" y="25"/>
                  </a:cubicBezTo>
                  <a:cubicBezTo>
                    <a:pt x="101" y="25"/>
                    <a:pt x="75" y="17"/>
                    <a:pt x="52" y="0"/>
                  </a:cubicBezTo>
                  <a:lnTo>
                    <a:pt x="52" y="0"/>
                  </a:lnTo>
                  <a:cubicBezTo>
                    <a:pt x="28" y="3"/>
                    <a:pt x="8" y="22"/>
                    <a:pt x="5" y="45"/>
                  </a:cubicBezTo>
                  <a:lnTo>
                    <a:pt x="0" y="83"/>
                  </a:lnTo>
                  <a:lnTo>
                    <a:pt x="38" y="342"/>
                  </a:lnTo>
                  <a:cubicBezTo>
                    <a:pt x="41" y="359"/>
                    <a:pt x="36" y="378"/>
                    <a:pt x="25" y="392"/>
                  </a:cubicBezTo>
                  <a:cubicBezTo>
                    <a:pt x="18" y="399"/>
                    <a:pt x="11" y="404"/>
                    <a:pt x="3" y="408"/>
                  </a:cubicBezTo>
                  <a:lnTo>
                    <a:pt x="30" y="511"/>
                  </a:lnTo>
                  <a:lnTo>
                    <a:pt x="30" y="512"/>
                  </a:lnTo>
                  <a:lnTo>
                    <a:pt x="30" y="513"/>
                  </a:lnTo>
                  <a:cubicBezTo>
                    <a:pt x="31" y="526"/>
                    <a:pt x="28" y="538"/>
                    <a:pt x="21" y="548"/>
                  </a:cubicBezTo>
                  <a:lnTo>
                    <a:pt x="50" y="549"/>
                  </a:lnTo>
                  <a:lnTo>
                    <a:pt x="67" y="815"/>
                  </a:lnTo>
                  <a:cubicBezTo>
                    <a:pt x="68" y="842"/>
                    <a:pt x="91" y="862"/>
                    <a:pt x="117" y="862"/>
                  </a:cubicBezTo>
                  <a:lnTo>
                    <a:pt x="146" y="862"/>
                  </a:lnTo>
                  <a:cubicBezTo>
                    <a:pt x="172" y="862"/>
                    <a:pt x="193" y="842"/>
                    <a:pt x="196" y="815"/>
                  </a:cubicBezTo>
                  <a:lnTo>
                    <a:pt x="213" y="550"/>
                  </a:lnTo>
                  <a:lnTo>
                    <a:pt x="268" y="548"/>
                  </a:lnTo>
                  <a:cubicBezTo>
                    <a:pt x="283" y="547"/>
                    <a:pt x="296" y="533"/>
                    <a:pt x="293" y="518"/>
                  </a:cubicBezTo>
                  <a:lnTo>
                    <a:pt x="261" y="392"/>
                  </a:lnTo>
                  <a:lnTo>
                    <a:pt x="264" y="392"/>
                  </a:lnTo>
                  <a:cubicBezTo>
                    <a:pt x="287" y="389"/>
                    <a:pt x="306" y="368"/>
                    <a:pt x="302" y="345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79" name="Oval 52"/>
            <p:cNvSpPr>
              <a:spLocks noChangeArrowheads="1"/>
            </p:cNvSpPr>
            <p:nvPr/>
          </p:nvSpPr>
          <p:spPr bwMode="auto">
            <a:xfrm>
              <a:off x="5531388" y="246291"/>
              <a:ext cx="168275" cy="169862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80" name="Freeform 53"/>
            <p:cNvSpPr>
              <a:spLocks/>
            </p:cNvSpPr>
            <p:nvPr/>
          </p:nvSpPr>
          <p:spPr bwMode="auto">
            <a:xfrm>
              <a:off x="5482176" y="414566"/>
              <a:ext cx="266700" cy="655637"/>
            </a:xfrm>
            <a:custGeom>
              <a:avLst/>
              <a:gdLst>
                <a:gd name="T0" fmla="*/ 305 w 350"/>
                <a:gd name="T1" fmla="*/ 389 h 861"/>
                <a:gd name="T2" fmla="*/ 309 w 350"/>
                <a:gd name="T3" fmla="*/ 389 h 861"/>
                <a:gd name="T4" fmla="*/ 346 w 350"/>
                <a:gd name="T5" fmla="*/ 345 h 861"/>
                <a:gd name="T6" fmla="*/ 301 w 350"/>
                <a:gd name="T7" fmla="*/ 45 h 861"/>
                <a:gd name="T8" fmla="*/ 254 w 350"/>
                <a:gd name="T9" fmla="*/ 0 h 861"/>
                <a:gd name="T10" fmla="*/ 254 w 350"/>
                <a:gd name="T11" fmla="*/ 0 h 861"/>
                <a:gd name="T12" fmla="*/ 175 w 350"/>
                <a:gd name="T13" fmla="*/ 25 h 861"/>
                <a:gd name="T14" fmla="*/ 97 w 350"/>
                <a:gd name="T15" fmla="*/ 0 h 861"/>
                <a:gd name="T16" fmla="*/ 97 w 350"/>
                <a:gd name="T17" fmla="*/ 0 h 861"/>
                <a:gd name="T18" fmla="*/ 49 w 350"/>
                <a:gd name="T19" fmla="*/ 45 h 861"/>
                <a:gd name="T20" fmla="*/ 4 w 350"/>
                <a:gd name="T21" fmla="*/ 345 h 861"/>
                <a:gd name="T22" fmla="*/ 42 w 350"/>
                <a:gd name="T23" fmla="*/ 389 h 861"/>
                <a:gd name="T24" fmla="*/ 45 w 350"/>
                <a:gd name="T25" fmla="*/ 389 h 861"/>
                <a:gd name="T26" fmla="*/ 13 w 350"/>
                <a:gd name="T27" fmla="*/ 515 h 861"/>
                <a:gd name="T28" fmla="*/ 38 w 350"/>
                <a:gd name="T29" fmla="*/ 545 h 861"/>
                <a:gd name="T30" fmla="*/ 93 w 350"/>
                <a:gd name="T31" fmla="*/ 548 h 861"/>
                <a:gd name="T32" fmla="*/ 110 w 350"/>
                <a:gd name="T33" fmla="*/ 814 h 861"/>
                <a:gd name="T34" fmla="*/ 160 w 350"/>
                <a:gd name="T35" fmla="*/ 861 h 861"/>
                <a:gd name="T36" fmla="*/ 189 w 350"/>
                <a:gd name="T37" fmla="*/ 861 h 861"/>
                <a:gd name="T38" fmla="*/ 239 w 350"/>
                <a:gd name="T39" fmla="*/ 814 h 861"/>
                <a:gd name="T40" fmla="*/ 256 w 350"/>
                <a:gd name="T41" fmla="*/ 549 h 861"/>
                <a:gd name="T42" fmla="*/ 311 w 350"/>
                <a:gd name="T43" fmla="*/ 547 h 861"/>
                <a:gd name="T44" fmla="*/ 336 w 350"/>
                <a:gd name="T45" fmla="*/ 517 h 861"/>
                <a:gd name="T46" fmla="*/ 305 w 350"/>
                <a:gd name="T47" fmla="*/ 389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350" h="861">
                  <a:moveTo>
                    <a:pt x="305" y="389"/>
                  </a:moveTo>
                  <a:lnTo>
                    <a:pt x="309" y="389"/>
                  </a:lnTo>
                  <a:cubicBezTo>
                    <a:pt x="333" y="389"/>
                    <a:pt x="350" y="368"/>
                    <a:pt x="346" y="345"/>
                  </a:cubicBezTo>
                  <a:lnTo>
                    <a:pt x="301" y="45"/>
                  </a:lnTo>
                  <a:cubicBezTo>
                    <a:pt x="298" y="22"/>
                    <a:pt x="278" y="3"/>
                    <a:pt x="254" y="0"/>
                  </a:cubicBezTo>
                  <a:lnTo>
                    <a:pt x="254" y="0"/>
                  </a:lnTo>
                  <a:cubicBezTo>
                    <a:pt x="232" y="17"/>
                    <a:pt x="205" y="25"/>
                    <a:pt x="175" y="25"/>
                  </a:cubicBezTo>
                  <a:cubicBezTo>
                    <a:pt x="145" y="25"/>
                    <a:pt x="119" y="17"/>
                    <a:pt x="97" y="0"/>
                  </a:cubicBezTo>
                  <a:lnTo>
                    <a:pt x="97" y="0"/>
                  </a:lnTo>
                  <a:cubicBezTo>
                    <a:pt x="73" y="3"/>
                    <a:pt x="53" y="22"/>
                    <a:pt x="49" y="45"/>
                  </a:cubicBezTo>
                  <a:lnTo>
                    <a:pt x="4" y="345"/>
                  </a:lnTo>
                  <a:cubicBezTo>
                    <a:pt x="0" y="369"/>
                    <a:pt x="19" y="389"/>
                    <a:pt x="42" y="389"/>
                  </a:cubicBezTo>
                  <a:lnTo>
                    <a:pt x="45" y="389"/>
                  </a:lnTo>
                  <a:lnTo>
                    <a:pt x="13" y="515"/>
                  </a:lnTo>
                  <a:cubicBezTo>
                    <a:pt x="10" y="531"/>
                    <a:pt x="23" y="544"/>
                    <a:pt x="38" y="545"/>
                  </a:cubicBezTo>
                  <a:lnTo>
                    <a:pt x="93" y="548"/>
                  </a:lnTo>
                  <a:lnTo>
                    <a:pt x="110" y="814"/>
                  </a:lnTo>
                  <a:cubicBezTo>
                    <a:pt x="111" y="840"/>
                    <a:pt x="134" y="861"/>
                    <a:pt x="160" y="861"/>
                  </a:cubicBezTo>
                  <a:lnTo>
                    <a:pt x="189" y="861"/>
                  </a:lnTo>
                  <a:cubicBezTo>
                    <a:pt x="215" y="861"/>
                    <a:pt x="236" y="841"/>
                    <a:pt x="239" y="814"/>
                  </a:cubicBezTo>
                  <a:lnTo>
                    <a:pt x="256" y="549"/>
                  </a:lnTo>
                  <a:lnTo>
                    <a:pt x="311" y="547"/>
                  </a:lnTo>
                  <a:cubicBezTo>
                    <a:pt x="326" y="545"/>
                    <a:pt x="339" y="532"/>
                    <a:pt x="336" y="517"/>
                  </a:cubicBezTo>
                  <a:lnTo>
                    <a:pt x="305" y="389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5BB6721E-73F5-4586-8C82-992DD9587E0A}"/>
              </a:ext>
            </a:extLst>
          </p:cNvPr>
          <p:cNvSpPr txBox="1"/>
          <p:nvPr/>
        </p:nvSpPr>
        <p:spPr>
          <a:xfrm rot="10800000">
            <a:off x="658813" y="1567384"/>
            <a:ext cx="2821383" cy="4448921"/>
          </a:xfrm>
          <a:prstGeom prst="round2SameRect">
            <a:avLst>
              <a:gd name="adj1" fmla="val 6009"/>
              <a:gd name="adj2" fmla="val 0"/>
            </a:avLst>
          </a:prstGeom>
          <a:solidFill>
            <a:srgbClr val="F2F2F2"/>
          </a:solidFill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79BBC9-1840-44E0-ADB4-BB49947316A3}"/>
              </a:ext>
            </a:extLst>
          </p:cNvPr>
          <p:cNvSpPr txBox="1"/>
          <p:nvPr/>
        </p:nvSpPr>
        <p:spPr>
          <a:xfrm>
            <a:off x="658813" y="1934830"/>
            <a:ext cx="2814986" cy="4002834"/>
          </a:xfrm>
          <a:prstGeom prst="rect">
            <a:avLst/>
          </a:prstGeom>
          <a:noFill/>
          <a:ln>
            <a:noFill/>
          </a:ln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“Giving girls back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irect control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ver the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decisions that shape their lives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eans they can take opportunities. Equipping girls to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anage their health autonomously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s the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ost influential choice they can experience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t puts their life back on their terms. We need to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eet girls where they are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n their decision-making journeys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          </a:t>
            </a:r>
            <a:r>
              <a:rPr kumimoji="0" lang="en-GB" sz="14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- 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Jessica Posner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dede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Girl Effect</a:t>
            </a:r>
            <a:endParaRPr kumimoji="0" lang="en-US" sz="14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A9D08D-9B39-45F8-BFF9-99BE69D9D653}"/>
              </a:ext>
            </a:extLst>
          </p:cNvPr>
          <p:cNvCxnSpPr>
            <a:cxnSpLocks/>
          </p:cNvCxnSpPr>
          <p:nvPr/>
        </p:nvCxnSpPr>
        <p:spPr>
          <a:xfrm flipH="1">
            <a:off x="658814" y="1567384"/>
            <a:ext cx="2821383" cy="0"/>
          </a:xfrm>
          <a:prstGeom prst="line">
            <a:avLst/>
          </a:prstGeom>
          <a:ln w="34925">
            <a:solidFill>
              <a:srgbClr val="ED1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14">
            <a:extLst>
              <a:ext uri="{FF2B5EF4-FFF2-40B4-BE49-F238E27FC236}">
                <a16:creationId xmlns:a16="http://schemas.microsoft.com/office/drawing/2014/main" id="{EA6EE44D-5D2B-4E2E-A2A5-737D71C49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6130" y="1252274"/>
            <a:ext cx="666750" cy="666750"/>
          </a:xfrm>
          <a:prstGeom prst="ellipse">
            <a:avLst/>
          </a:prstGeom>
          <a:solidFill>
            <a:srgbClr val="ED126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Freeform 97">
            <a:extLst>
              <a:ext uri="{FF2B5EF4-FFF2-40B4-BE49-F238E27FC236}">
                <a16:creationId xmlns:a16="http://schemas.microsoft.com/office/drawing/2014/main" id="{602E9A8A-AB22-460C-9FE2-7A56F843BFE8}"/>
              </a:ext>
            </a:extLst>
          </p:cNvPr>
          <p:cNvSpPr>
            <a:spLocks noEditPoints="1"/>
          </p:cNvSpPr>
          <p:nvPr/>
        </p:nvSpPr>
        <p:spPr bwMode="auto">
          <a:xfrm>
            <a:off x="1855193" y="1414199"/>
            <a:ext cx="427037" cy="342900"/>
          </a:xfrm>
          <a:custGeom>
            <a:avLst/>
            <a:gdLst>
              <a:gd name="T0" fmla="*/ 156 w 164"/>
              <a:gd name="T1" fmla="*/ 107 h 132"/>
              <a:gd name="T2" fmla="*/ 164 w 164"/>
              <a:gd name="T3" fmla="*/ 86 h 132"/>
              <a:gd name="T4" fmla="*/ 131 w 164"/>
              <a:gd name="T5" fmla="*/ 52 h 132"/>
              <a:gd name="T6" fmla="*/ 65 w 164"/>
              <a:gd name="T7" fmla="*/ 0 h 132"/>
              <a:gd name="T8" fmla="*/ 0 w 164"/>
              <a:gd name="T9" fmla="*/ 54 h 132"/>
              <a:gd name="T10" fmla="*/ 13 w 164"/>
              <a:gd name="T11" fmla="*/ 86 h 132"/>
              <a:gd name="T12" fmla="*/ 3 w 164"/>
              <a:gd name="T13" fmla="*/ 114 h 132"/>
              <a:gd name="T14" fmla="*/ 3 w 164"/>
              <a:gd name="T15" fmla="*/ 120 h 132"/>
              <a:gd name="T16" fmla="*/ 7 w 164"/>
              <a:gd name="T17" fmla="*/ 123 h 132"/>
              <a:gd name="T18" fmla="*/ 8 w 164"/>
              <a:gd name="T19" fmla="*/ 123 h 132"/>
              <a:gd name="T20" fmla="*/ 48 w 164"/>
              <a:gd name="T21" fmla="*/ 105 h 132"/>
              <a:gd name="T22" fmla="*/ 65 w 164"/>
              <a:gd name="T23" fmla="*/ 107 h 132"/>
              <a:gd name="T24" fmla="*/ 85 w 164"/>
              <a:gd name="T25" fmla="*/ 105 h 132"/>
              <a:gd name="T26" fmla="*/ 121 w 164"/>
              <a:gd name="T27" fmla="*/ 121 h 132"/>
              <a:gd name="T28" fmla="*/ 133 w 164"/>
              <a:gd name="T29" fmla="*/ 120 h 132"/>
              <a:gd name="T30" fmla="*/ 160 w 164"/>
              <a:gd name="T31" fmla="*/ 132 h 132"/>
              <a:gd name="T32" fmla="*/ 160 w 164"/>
              <a:gd name="T33" fmla="*/ 132 h 132"/>
              <a:gd name="T34" fmla="*/ 162 w 164"/>
              <a:gd name="T35" fmla="*/ 130 h 132"/>
              <a:gd name="T36" fmla="*/ 162 w 164"/>
              <a:gd name="T37" fmla="*/ 127 h 132"/>
              <a:gd name="T38" fmla="*/ 156 w 164"/>
              <a:gd name="T39" fmla="*/ 107 h 132"/>
              <a:gd name="T40" fmla="*/ 48 w 164"/>
              <a:gd name="T41" fmla="*/ 94 h 132"/>
              <a:gd name="T42" fmla="*/ 42 w 164"/>
              <a:gd name="T43" fmla="*/ 96 h 132"/>
              <a:gd name="T44" fmla="*/ 19 w 164"/>
              <a:gd name="T45" fmla="*/ 110 h 132"/>
              <a:gd name="T46" fmla="*/ 23 w 164"/>
              <a:gd name="T47" fmla="*/ 82 h 132"/>
              <a:gd name="T48" fmla="*/ 22 w 164"/>
              <a:gd name="T49" fmla="*/ 80 h 132"/>
              <a:gd name="T50" fmla="*/ 10 w 164"/>
              <a:gd name="T51" fmla="*/ 54 h 132"/>
              <a:gd name="T52" fmla="*/ 65 w 164"/>
              <a:gd name="T53" fmla="*/ 11 h 132"/>
              <a:gd name="T54" fmla="*/ 121 w 164"/>
              <a:gd name="T55" fmla="*/ 54 h 132"/>
              <a:gd name="T56" fmla="*/ 65 w 164"/>
              <a:gd name="T57" fmla="*/ 97 h 132"/>
              <a:gd name="T58" fmla="*/ 48 w 164"/>
              <a:gd name="T59" fmla="*/ 9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64" h="132">
                <a:moveTo>
                  <a:pt x="156" y="107"/>
                </a:moveTo>
                <a:cubicBezTo>
                  <a:pt x="161" y="101"/>
                  <a:pt x="164" y="94"/>
                  <a:pt x="164" y="86"/>
                </a:cubicBezTo>
                <a:cubicBezTo>
                  <a:pt x="164" y="70"/>
                  <a:pt x="150" y="56"/>
                  <a:pt x="131" y="52"/>
                </a:cubicBezTo>
                <a:cubicBezTo>
                  <a:pt x="130" y="23"/>
                  <a:pt x="101" y="0"/>
                  <a:pt x="65" y="0"/>
                </a:cubicBezTo>
                <a:cubicBezTo>
                  <a:pt x="29" y="0"/>
                  <a:pt x="0" y="24"/>
                  <a:pt x="0" y="54"/>
                </a:cubicBezTo>
                <a:cubicBezTo>
                  <a:pt x="0" y="65"/>
                  <a:pt x="4" y="76"/>
                  <a:pt x="13" y="86"/>
                </a:cubicBezTo>
                <a:cubicBezTo>
                  <a:pt x="14" y="95"/>
                  <a:pt x="10" y="108"/>
                  <a:pt x="3" y="114"/>
                </a:cubicBezTo>
                <a:cubicBezTo>
                  <a:pt x="2" y="116"/>
                  <a:pt x="2" y="118"/>
                  <a:pt x="3" y="120"/>
                </a:cubicBezTo>
                <a:cubicBezTo>
                  <a:pt x="4" y="122"/>
                  <a:pt x="5" y="123"/>
                  <a:pt x="7" y="123"/>
                </a:cubicBezTo>
                <a:cubicBezTo>
                  <a:pt x="8" y="123"/>
                  <a:pt x="8" y="123"/>
                  <a:pt x="8" y="123"/>
                </a:cubicBezTo>
                <a:cubicBezTo>
                  <a:pt x="23" y="122"/>
                  <a:pt x="37" y="116"/>
                  <a:pt x="48" y="105"/>
                </a:cubicBezTo>
                <a:cubicBezTo>
                  <a:pt x="54" y="107"/>
                  <a:pt x="60" y="107"/>
                  <a:pt x="65" y="107"/>
                </a:cubicBezTo>
                <a:cubicBezTo>
                  <a:pt x="72" y="107"/>
                  <a:pt x="79" y="106"/>
                  <a:pt x="85" y="105"/>
                </a:cubicBezTo>
                <a:cubicBezTo>
                  <a:pt x="92" y="115"/>
                  <a:pt x="106" y="121"/>
                  <a:pt x="121" y="121"/>
                </a:cubicBezTo>
                <a:cubicBezTo>
                  <a:pt x="125" y="121"/>
                  <a:pt x="129" y="121"/>
                  <a:pt x="133" y="120"/>
                </a:cubicBezTo>
                <a:cubicBezTo>
                  <a:pt x="140" y="127"/>
                  <a:pt x="150" y="131"/>
                  <a:pt x="160" y="132"/>
                </a:cubicBezTo>
                <a:cubicBezTo>
                  <a:pt x="160" y="132"/>
                  <a:pt x="160" y="132"/>
                  <a:pt x="160" y="132"/>
                </a:cubicBezTo>
                <a:cubicBezTo>
                  <a:pt x="161" y="132"/>
                  <a:pt x="162" y="131"/>
                  <a:pt x="162" y="130"/>
                </a:cubicBezTo>
                <a:cubicBezTo>
                  <a:pt x="163" y="129"/>
                  <a:pt x="163" y="128"/>
                  <a:pt x="162" y="127"/>
                </a:cubicBezTo>
                <a:cubicBezTo>
                  <a:pt x="158" y="123"/>
                  <a:pt x="155" y="114"/>
                  <a:pt x="156" y="107"/>
                </a:cubicBezTo>
                <a:close/>
                <a:moveTo>
                  <a:pt x="48" y="94"/>
                </a:moveTo>
                <a:cubicBezTo>
                  <a:pt x="46" y="94"/>
                  <a:pt x="44" y="94"/>
                  <a:pt x="42" y="96"/>
                </a:cubicBezTo>
                <a:cubicBezTo>
                  <a:pt x="36" y="102"/>
                  <a:pt x="28" y="108"/>
                  <a:pt x="19" y="110"/>
                </a:cubicBezTo>
                <a:cubicBezTo>
                  <a:pt x="23" y="101"/>
                  <a:pt x="25" y="91"/>
                  <a:pt x="23" y="82"/>
                </a:cubicBezTo>
                <a:cubicBezTo>
                  <a:pt x="23" y="81"/>
                  <a:pt x="22" y="80"/>
                  <a:pt x="22" y="80"/>
                </a:cubicBezTo>
                <a:cubicBezTo>
                  <a:pt x="14" y="72"/>
                  <a:pt x="10" y="63"/>
                  <a:pt x="10" y="54"/>
                </a:cubicBezTo>
                <a:cubicBezTo>
                  <a:pt x="10" y="30"/>
                  <a:pt x="35" y="11"/>
                  <a:pt x="65" y="11"/>
                </a:cubicBezTo>
                <a:cubicBezTo>
                  <a:pt x="96" y="11"/>
                  <a:pt x="121" y="30"/>
                  <a:pt x="121" y="54"/>
                </a:cubicBezTo>
                <a:cubicBezTo>
                  <a:pt x="121" y="77"/>
                  <a:pt x="96" y="97"/>
                  <a:pt x="65" y="97"/>
                </a:cubicBezTo>
                <a:cubicBezTo>
                  <a:pt x="59" y="97"/>
                  <a:pt x="53" y="96"/>
                  <a:pt x="4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7" name="TextBox 126">
            <a:extLst>
              <a:ext uri="{FF2B5EF4-FFF2-40B4-BE49-F238E27FC236}">
                <a16:creationId xmlns:a16="http://schemas.microsoft.com/office/drawing/2014/main" id="{C52FD9EA-5069-406C-ADCB-95C7BD318641}"/>
              </a:ext>
            </a:extLst>
          </p:cNvPr>
          <p:cNvSpPr txBox="1"/>
          <p:nvPr/>
        </p:nvSpPr>
        <p:spPr>
          <a:xfrm>
            <a:off x="8983038" y="4911996"/>
            <a:ext cx="2480547" cy="1103696"/>
          </a:xfrm>
          <a:prstGeom prst="roundRect">
            <a:avLst>
              <a:gd name="adj" fmla="val 6143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nnovate around girl-initiated demand</a:t>
            </a:r>
          </a:p>
        </p:txBody>
      </p:sp>
      <p:sp>
        <p:nvSpPr>
          <p:cNvPr id="133" name="Rectangle 132">
            <a:extLst>
              <a:ext uri="{FF2B5EF4-FFF2-40B4-BE49-F238E27FC236}">
                <a16:creationId xmlns:a16="http://schemas.microsoft.com/office/drawing/2014/main" id="{875BFA85-124D-478C-AA6A-0AFB623714FD}"/>
              </a:ext>
            </a:extLst>
          </p:cNvPr>
          <p:cNvSpPr/>
          <p:nvPr/>
        </p:nvSpPr>
        <p:spPr>
          <a:xfrm>
            <a:off x="8983038" y="4911996"/>
            <a:ext cx="36234" cy="1104309"/>
          </a:xfrm>
          <a:prstGeom prst="rect">
            <a:avLst/>
          </a:prstGeom>
          <a:solidFill>
            <a:srgbClr val="D61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26" name="TextBox 125">
            <a:extLst>
              <a:ext uri="{FF2B5EF4-FFF2-40B4-BE49-F238E27FC236}">
                <a16:creationId xmlns:a16="http://schemas.microsoft.com/office/drawing/2014/main" id="{568EEA0A-98BE-4677-9078-0CFF06137595}"/>
              </a:ext>
            </a:extLst>
          </p:cNvPr>
          <p:cNvSpPr txBox="1"/>
          <p:nvPr/>
        </p:nvSpPr>
        <p:spPr>
          <a:xfrm>
            <a:off x="8983038" y="3722431"/>
            <a:ext cx="2480547" cy="1102338"/>
          </a:xfrm>
          <a:prstGeom prst="roundRect">
            <a:avLst>
              <a:gd name="adj" fmla="val 8571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mprove availability of self-care options that meet girls’ needs</a:t>
            </a:r>
          </a:p>
        </p:txBody>
      </p:sp>
      <p:sp>
        <p:nvSpPr>
          <p:cNvPr id="134" name="Rectangle 133">
            <a:extLst>
              <a:ext uri="{FF2B5EF4-FFF2-40B4-BE49-F238E27FC236}">
                <a16:creationId xmlns:a16="http://schemas.microsoft.com/office/drawing/2014/main" id="{F9DFAB8A-E46E-434E-82AE-9D09EC68DDF5}"/>
              </a:ext>
            </a:extLst>
          </p:cNvPr>
          <p:cNvSpPr/>
          <p:nvPr/>
        </p:nvSpPr>
        <p:spPr>
          <a:xfrm>
            <a:off x="8983038" y="3722431"/>
            <a:ext cx="36234" cy="1102950"/>
          </a:xfrm>
          <a:prstGeom prst="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43" name="Group 142">
            <a:extLst>
              <a:ext uri="{FF2B5EF4-FFF2-40B4-BE49-F238E27FC236}">
                <a16:creationId xmlns:a16="http://schemas.microsoft.com/office/drawing/2014/main" id="{8474991F-2A69-490B-954E-55C53F0A1B1C}"/>
              </a:ext>
            </a:extLst>
          </p:cNvPr>
          <p:cNvGrpSpPr/>
          <p:nvPr/>
        </p:nvGrpSpPr>
        <p:grpSpPr>
          <a:xfrm>
            <a:off x="3561955" y="1839468"/>
            <a:ext cx="7899231" cy="1614887"/>
            <a:chOff x="3698065" y="1615202"/>
            <a:chExt cx="7762098" cy="1614887"/>
          </a:xfrm>
        </p:grpSpPr>
        <p:sp>
          <p:nvSpPr>
            <p:cNvPr id="144" name="Rectangle: Top Corners Rounded 143">
              <a:extLst>
                <a:ext uri="{FF2B5EF4-FFF2-40B4-BE49-F238E27FC236}">
                  <a16:creationId xmlns:a16="http://schemas.microsoft.com/office/drawing/2014/main" id="{47201C8B-2E1D-4CE4-A3D7-2469599F706C}"/>
                </a:ext>
              </a:extLst>
            </p:cNvPr>
            <p:cNvSpPr/>
            <p:nvPr/>
          </p:nvSpPr>
          <p:spPr>
            <a:xfrm rot="10800000">
              <a:off x="3698065" y="2069131"/>
              <a:ext cx="7762095" cy="1160958"/>
            </a:xfrm>
            <a:prstGeom prst="round2SameRect">
              <a:avLst>
                <a:gd name="adj1" fmla="val 10851"/>
                <a:gd name="adj2" fmla="val 0"/>
              </a:avLst>
            </a:prstGeom>
            <a:solidFill>
              <a:srgbClr val="FAB7D1">
                <a:alpha val="56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5" name="Rectangle: Top Corners Rounded 144">
              <a:extLst>
                <a:ext uri="{FF2B5EF4-FFF2-40B4-BE49-F238E27FC236}">
                  <a16:creationId xmlns:a16="http://schemas.microsoft.com/office/drawing/2014/main" id="{5967E6D7-2DC9-44AA-856C-8AA226C85C08}"/>
                </a:ext>
              </a:extLst>
            </p:cNvPr>
            <p:cNvSpPr/>
            <p:nvPr/>
          </p:nvSpPr>
          <p:spPr>
            <a:xfrm>
              <a:off x="3698069" y="1615202"/>
              <a:ext cx="7762094" cy="455631"/>
            </a:xfrm>
            <a:prstGeom prst="round2SameRect">
              <a:avLst/>
            </a:prstGeom>
            <a:solidFill>
              <a:srgbClr val="ED1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48" name="TextBox 147">
            <a:extLst>
              <a:ext uri="{FF2B5EF4-FFF2-40B4-BE49-F238E27FC236}">
                <a16:creationId xmlns:a16="http://schemas.microsoft.com/office/drawing/2014/main" id="{D562D35E-34B6-47B9-B14F-998CDF9A0860}"/>
              </a:ext>
            </a:extLst>
          </p:cNvPr>
          <p:cNvSpPr txBox="1"/>
          <p:nvPr/>
        </p:nvSpPr>
        <p:spPr>
          <a:xfrm>
            <a:off x="6344880" y="2294998"/>
            <a:ext cx="2353166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unmarried 15-19 y/o in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SSA have unmet contraceptive need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9842B22-9714-46E1-B3C1-161F7830A226}"/>
              </a:ext>
            </a:extLst>
          </p:cNvPr>
          <p:cNvSpPr txBox="1"/>
          <p:nvPr/>
        </p:nvSpPr>
        <p:spPr>
          <a:xfrm>
            <a:off x="8853391" y="2294998"/>
            <a:ext cx="257184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People living with HIV in Africa, where there are 1.2M new infections each year – 70% amongst girls &amp; women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42AD5D-AE01-4050-AA7B-3ABB8A2F8B93}"/>
              </a:ext>
            </a:extLst>
          </p:cNvPr>
          <p:cNvSpPr txBox="1"/>
          <p:nvPr/>
        </p:nvSpPr>
        <p:spPr>
          <a:xfrm>
            <a:off x="3920044" y="2294998"/>
            <a:ext cx="1930251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nnually, 14M pregnancies in SSA are unintended (almost 1/3 of all pregnancie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3593138-B99D-47D6-8202-8AB2EC903617}"/>
              </a:ext>
            </a:extLst>
          </p:cNvPr>
          <p:cNvCxnSpPr/>
          <p:nvPr/>
        </p:nvCxnSpPr>
        <p:spPr>
          <a:xfrm>
            <a:off x="6207910" y="1965796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867B366-C1F6-4CE1-AA23-800CC7AD5075}"/>
              </a:ext>
            </a:extLst>
          </p:cNvPr>
          <p:cNvCxnSpPr/>
          <p:nvPr/>
        </p:nvCxnSpPr>
        <p:spPr>
          <a:xfrm>
            <a:off x="8834547" y="1965796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Freeform: Shape 161">
            <a:extLst>
              <a:ext uri="{FF2B5EF4-FFF2-40B4-BE49-F238E27FC236}">
                <a16:creationId xmlns:a16="http://schemas.microsoft.com/office/drawing/2014/main" id="{138DF561-E58A-40A9-86CC-7DECE6D790C5}"/>
              </a:ext>
            </a:extLst>
          </p:cNvPr>
          <p:cNvSpPr/>
          <p:nvPr/>
        </p:nvSpPr>
        <p:spPr>
          <a:xfrm>
            <a:off x="6901457" y="1737698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9503A564-3BF9-452B-8CC6-DFFC1DA551BF}"/>
              </a:ext>
            </a:extLst>
          </p:cNvPr>
          <p:cNvSpPr txBox="1"/>
          <p:nvPr/>
        </p:nvSpPr>
        <p:spPr>
          <a:xfrm>
            <a:off x="6955637" y="1821122"/>
            <a:ext cx="1131183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50%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4" name="Freeform: Shape 153">
            <a:extLst>
              <a:ext uri="{FF2B5EF4-FFF2-40B4-BE49-F238E27FC236}">
                <a16:creationId xmlns:a16="http://schemas.microsoft.com/office/drawing/2014/main" id="{37C6DD32-5ABE-4D38-919B-28E62F084D07}"/>
              </a:ext>
            </a:extLst>
          </p:cNvPr>
          <p:cNvSpPr/>
          <p:nvPr/>
        </p:nvSpPr>
        <p:spPr>
          <a:xfrm>
            <a:off x="9528093" y="1737698"/>
            <a:ext cx="1239542" cy="306770"/>
          </a:xfrm>
          <a:custGeom>
            <a:avLst/>
            <a:gdLst>
              <a:gd name="connsiteX0" fmla="*/ 443243 w 886486"/>
              <a:gd name="connsiteY0" fmla="*/ 0 h 219394"/>
              <a:gd name="connsiteX1" fmla="*/ 841617 w 886486"/>
              <a:gd name="connsiteY1" fmla="*/ 165012 h 219394"/>
              <a:gd name="connsiteX2" fmla="*/ 886486 w 886486"/>
              <a:gd name="connsiteY2" fmla="*/ 219394 h 219394"/>
              <a:gd name="connsiteX3" fmla="*/ 0 w 886486"/>
              <a:gd name="connsiteY3" fmla="*/ 219394 h 219394"/>
              <a:gd name="connsiteX4" fmla="*/ 44869 w 886486"/>
              <a:gd name="connsiteY4" fmla="*/ 165012 h 219394"/>
              <a:gd name="connsiteX5" fmla="*/ 443243 w 886486"/>
              <a:gd name="connsiteY5" fmla="*/ 0 h 2193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86486" h="219394">
                <a:moveTo>
                  <a:pt x="443243" y="0"/>
                </a:moveTo>
                <a:cubicBezTo>
                  <a:pt x="598818" y="0"/>
                  <a:pt x="739664" y="63059"/>
                  <a:pt x="841617" y="165012"/>
                </a:cubicBezTo>
                <a:lnTo>
                  <a:pt x="886486" y="219394"/>
                </a:lnTo>
                <a:lnTo>
                  <a:pt x="0" y="219394"/>
                </a:lnTo>
                <a:lnTo>
                  <a:pt x="44869" y="165012"/>
                </a:lnTo>
                <a:cubicBezTo>
                  <a:pt x="146822" y="63059"/>
                  <a:pt x="287669" y="0"/>
                  <a:pt x="443243" y="0"/>
                </a:cubicBezTo>
                <a:close/>
              </a:path>
            </a:pathLst>
          </a:custGeom>
          <a:solidFill>
            <a:srgbClr val="ED1267"/>
          </a:solidFill>
          <a:ln>
            <a:noFill/>
          </a:ln>
          <a:effectLst>
            <a:outerShdw blurRad="50800" dist="38100" dir="16200000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64" name="TextBox 163">
            <a:extLst>
              <a:ext uri="{FF2B5EF4-FFF2-40B4-BE49-F238E27FC236}">
                <a16:creationId xmlns:a16="http://schemas.microsoft.com/office/drawing/2014/main" id="{9006C19C-E2F3-4F1C-AACF-A637E29C693D}"/>
              </a:ext>
            </a:extLst>
          </p:cNvPr>
          <p:cNvSpPr txBox="1"/>
          <p:nvPr/>
        </p:nvSpPr>
        <p:spPr>
          <a:xfrm>
            <a:off x="9512568" y="1821122"/>
            <a:ext cx="1270593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26m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grpSp>
        <p:nvGrpSpPr>
          <p:cNvPr id="4" name="Group 3"/>
          <p:cNvGrpSpPr/>
          <p:nvPr/>
        </p:nvGrpSpPr>
        <p:grpSpPr>
          <a:xfrm>
            <a:off x="4186664" y="1737698"/>
            <a:ext cx="1415854" cy="606644"/>
            <a:chOff x="4319528" y="1360193"/>
            <a:chExt cx="1415854" cy="606644"/>
          </a:xfrm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974497B-9144-409C-808F-DC6D06FBCD33}"/>
                </a:ext>
              </a:extLst>
            </p:cNvPr>
            <p:cNvSpPr/>
            <p:nvPr/>
          </p:nvSpPr>
          <p:spPr>
            <a:xfrm>
              <a:off x="4407684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CFD83849-E3B5-4DC3-BC69-6541C2BA83D1}"/>
                </a:ext>
              </a:extLst>
            </p:cNvPr>
            <p:cNvSpPr txBox="1"/>
            <p:nvPr/>
          </p:nvSpPr>
          <p:spPr>
            <a:xfrm>
              <a:off x="4319528" y="1443617"/>
              <a:ext cx="14158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14M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54" name="Oval 53">
            <a:extLst>
              <a:ext uri="{FF2B5EF4-FFF2-40B4-BE49-F238E27FC236}">
                <a16:creationId xmlns:a16="http://schemas.microsoft.com/office/drawing/2014/main" id="{793046FD-AD4A-45F0-A396-EFE320AF01C8}"/>
              </a:ext>
            </a:extLst>
          </p:cNvPr>
          <p:cNvSpPr/>
          <p:nvPr/>
        </p:nvSpPr>
        <p:spPr>
          <a:xfrm>
            <a:off x="6391491" y="3751116"/>
            <a:ext cx="2260519" cy="2260515"/>
          </a:xfrm>
          <a:prstGeom prst="ellipse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107F7E0F-E49B-4C98-85B8-2FB77432C60D}"/>
              </a:ext>
            </a:extLst>
          </p:cNvPr>
          <p:cNvSpPr txBox="1"/>
          <p:nvPr/>
        </p:nvSpPr>
        <p:spPr>
          <a:xfrm>
            <a:off x="6537126" y="4142843"/>
            <a:ext cx="1969249" cy="156966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Provide girls with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the knowledge and tools they need to make independent, informed choices around fertility and health – for themselves and their children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56" name="Rectangle 23">
            <a:extLst>
              <a:ext uri="{FF2B5EF4-FFF2-40B4-BE49-F238E27FC236}">
                <a16:creationId xmlns:a16="http://schemas.microsoft.com/office/drawing/2014/main" id="{27F2A09A-C041-4696-8A3F-0A83A32FF9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97206" y="3446670"/>
            <a:ext cx="1649089" cy="37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ISSION</a:t>
            </a:r>
          </a:p>
        </p:txBody>
      </p:sp>
      <p:grpSp>
        <p:nvGrpSpPr>
          <p:cNvPr id="2" name="Group 1"/>
          <p:cNvGrpSpPr/>
          <p:nvPr/>
        </p:nvGrpSpPr>
        <p:grpSpPr>
          <a:xfrm flipH="1">
            <a:off x="3561955" y="3722431"/>
            <a:ext cx="2480547" cy="2293874"/>
            <a:chOff x="9135438" y="3497326"/>
            <a:chExt cx="2480547" cy="2293874"/>
          </a:xfrm>
        </p:grpSpPr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C52FD9EA-5069-406C-ADCB-95C7BD318641}"/>
                </a:ext>
              </a:extLst>
            </p:cNvPr>
            <p:cNvSpPr txBox="1"/>
            <p:nvPr/>
          </p:nvSpPr>
          <p:spPr>
            <a:xfrm>
              <a:off x="9135438" y="4686891"/>
              <a:ext cx="2480547" cy="1103696"/>
            </a:xfrm>
            <a:prstGeom prst="roundRect">
              <a:avLst>
                <a:gd name="adj" fmla="val 6143"/>
              </a:avLst>
            </a:prstGeom>
            <a:solidFill>
              <a:srgbClr val="F2F2F2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Leverage digital to reach girls at scale to generate demand</a:t>
              </a:r>
            </a:p>
          </p:txBody>
        </p:sp>
        <p:sp>
          <p:nvSpPr>
            <p:cNvPr id="50" name="Rectangle 49">
              <a:extLst>
                <a:ext uri="{FF2B5EF4-FFF2-40B4-BE49-F238E27FC236}">
                  <a16:creationId xmlns:a16="http://schemas.microsoft.com/office/drawing/2014/main" id="{875BFA85-124D-478C-AA6A-0AFB623714FD}"/>
                </a:ext>
              </a:extLst>
            </p:cNvPr>
            <p:cNvSpPr/>
            <p:nvPr/>
          </p:nvSpPr>
          <p:spPr>
            <a:xfrm>
              <a:off x="9135438" y="4686891"/>
              <a:ext cx="36234" cy="1104309"/>
            </a:xfrm>
            <a:prstGeom prst="rect">
              <a:avLst/>
            </a:prstGeom>
            <a:solidFill>
              <a:srgbClr val="D6105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568EEA0A-98BE-4677-9078-0CFF06137595}"/>
                </a:ext>
              </a:extLst>
            </p:cNvPr>
            <p:cNvSpPr txBox="1"/>
            <p:nvPr/>
          </p:nvSpPr>
          <p:spPr>
            <a:xfrm>
              <a:off x="9135438" y="3497326"/>
              <a:ext cx="2480547" cy="1102338"/>
            </a:xfrm>
            <a:prstGeom prst="roundRect">
              <a:avLst>
                <a:gd name="adj" fmla="val 8571"/>
              </a:avLst>
            </a:prstGeom>
            <a:solidFill>
              <a:srgbClr val="F2F2F2"/>
            </a:solidFill>
          </p:spPr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Continue to empower girls to manage their own fertility and avoid exposure to HIV</a:t>
              </a:r>
            </a:p>
          </p:txBody>
        </p:sp>
        <p:sp>
          <p:nvSpPr>
            <p:cNvPr id="52" name="Rectangle 51">
              <a:extLst>
                <a:ext uri="{FF2B5EF4-FFF2-40B4-BE49-F238E27FC236}">
                  <a16:creationId xmlns:a16="http://schemas.microsoft.com/office/drawing/2014/main" id="{F9DFAB8A-E46E-434E-82AE-9D09EC68DDF5}"/>
                </a:ext>
              </a:extLst>
            </p:cNvPr>
            <p:cNvSpPr/>
            <p:nvPr/>
          </p:nvSpPr>
          <p:spPr>
            <a:xfrm>
              <a:off x="9135438" y="3497326"/>
              <a:ext cx="36234" cy="1102950"/>
            </a:xfrm>
            <a:prstGeom prst="rect">
              <a:avLst/>
            </a:prstGeom>
            <a:solidFill>
              <a:srgbClr val="ED126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55" name="Shape 121"/>
          <p:cNvSpPr txBox="1">
            <a:spLocks/>
          </p:cNvSpPr>
          <p:nvPr/>
        </p:nvSpPr>
        <p:spPr>
          <a:xfrm>
            <a:off x="605592" y="140052"/>
            <a:ext cx="10801351" cy="34590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srgbClr val="DA3568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Priority investment area: </a:t>
            </a:r>
            <a:r>
              <a:rPr kumimoji="0" lang="en-GB" sz="2100" b="1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Girl Capital  </a:t>
            </a:r>
            <a:r>
              <a:rPr kumimoji="0" lang="en-GB" sz="2100" b="0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– empowering girls and young women to make and execute their own decisions on health and bearing and raising children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2333645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B9C55581-9CCB-4285-B81C-32ECF09E5AA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-1" b="7420"/>
          <a:stretch/>
        </p:blipFill>
        <p:spPr>
          <a:xfrm>
            <a:off x="320040" y="452392"/>
            <a:ext cx="11548872" cy="4303462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877F345A-C079-498C-88ED-E0AAE7AFC7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5152" y="4888767"/>
            <a:ext cx="2889504" cy="1345997"/>
          </a:xfrm>
        </p:spPr>
        <p:txBody>
          <a:bodyPr anchor="ctr">
            <a:normAutofit/>
          </a:bodyPr>
          <a:lstStyle/>
          <a:p>
            <a:r>
              <a:rPr lang="en-GB" sz="2600" b="1" dirty="0">
                <a:latin typeface="Arial" panose="020B0604020202020204" pitchFamily="34" charset="0"/>
                <a:cs typeface="Arial" panose="020B0604020202020204" pitchFamily="34" charset="0"/>
              </a:rPr>
              <a:t>Geographic focus 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5856A34B-6029-4A27-8F54-D1E85B1B6D9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79976" y="5009083"/>
            <a:ext cx="6976872" cy="1345997"/>
          </a:xfrm>
        </p:spPr>
        <p:txBody>
          <a:bodyPr anchor="ctr">
            <a:noAutofit/>
          </a:bodyPr>
          <a:lstStyle/>
          <a:p>
            <a:r>
              <a:rPr lang="en-GB" sz="1800" b="1" dirty="0"/>
              <a:t>Nigeria</a:t>
            </a:r>
          </a:p>
          <a:p>
            <a:r>
              <a:rPr lang="en-GB" sz="1800" b="1" dirty="0"/>
              <a:t>Kenya </a:t>
            </a:r>
          </a:p>
          <a:p>
            <a:r>
              <a:rPr lang="en-GB" sz="1800" b="1" dirty="0"/>
              <a:t>Ethiopia</a:t>
            </a:r>
          </a:p>
          <a:p>
            <a:r>
              <a:rPr lang="en-GB" sz="1800" b="1" dirty="0"/>
              <a:t>Francophone West Africa Country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0D4EB43-9CBD-46E9-8B51-0417A2311092}"/>
              </a:ext>
            </a:extLst>
          </p:cNvPr>
          <p:cNvCxnSpPr/>
          <p:nvPr/>
        </p:nvCxnSpPr>
        <p:spPr>
          <a:xfrm>
            <a:off x="3447930" y="4888767"/>
            <a:ext cx="0" cy="1466313"/>
          </a:xfrm>
          <a:prstGeom prst="line">
            <a:avLst/>
          </a:prstGeom>
          <a:ln w="28575">
            <a:solidFill>
              <a:srgbClr val="ED1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690260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1" name="Shape 121"/>
          <p:cNvSpPr txBox="1">
            <a:spLocks/>
          </p:cNvSpPr>
          <p:nvPr/>
        </p:nvSpPr>
        <p:spPr>
          <a:xfrm>
            <a:off x="329406" y="468367"/>
            <a:ext cx="11533188" cy="297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algn="ctr"/>
            <a:r>
              <a:rPr lang="en-GB" sz="2100" b="1" i="1" dirty="0">
                <a:latin typeface="Calibri"/>
                <a:cs typeface="Calibri"/>
              </a:rPr>
              <a:t>For Africa by Africa: Harnessing the power of African giving and African-led institutions in championing the African development agenda</a:t>
            </a:r>
            <a:endParaRPr lang="en-US" sz="2100" b="1" kern="0" dirty="0">
              <a:latin typeface="Calibri"/>
              <a:cs typeface="Calibri"/>
            </a:endParaRPr>
          </a:p>
          <a:p>
            <a:pPr algn="ctr"/>
            <a:endParaRPr lang="en-US" sz="2100" b="1" kern="0" dirty="0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34F17438-F97A-45A7-8E19-C47B8D9CBD87}"/>
              </a:ext>
            </a:extLst>
          </p:cNvPr>
          <p:cNvSpPr/>
          <p:nvPr/>
        </p:nvSpPr>
        <p:spPr>
          <a:xfrm>
            <a:off x="6926493" y="4007284"/>
            <a:ext cx="2105936" cy="16004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Strong relations with governments, active support and co-investment within CIFF’s priority areas​</a:t>
            </a: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600DECE3-3DB4-4724-839F-31F52D154C43}"/>
              </a:ext>
            </a:extLst>
          </p:cNvPr>
          <p:cNvSpPr/>
          <p:nvPr/>
        </p:nvSpPr>
        <p:spPr>
          <a:xfrm>
            <a:off x="2174874" y="4020220"/>
            <a:ext cx="2105935" cy="16004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Transparent platform for diaspora investment and community ownership in development​</a:t>
            </a: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472B5F5-DED3-4903-B353-CC5F10DE9770}"/>
              </a:ext>
            </a:extLst>
          </p:cNvPr>
          <p:cNvSpPr/>
          <p:nvPr/>
        </p:nvSpPr>
        <p:spPr>
          <a:xfrm>
            <a:off x="4422550" y="4020220"/>
            <a:ext cx="2370138" cy="16004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Enhanced capacity of civil society in holding government accountable and sustaining momentum around CIFF’s priorities</a:t>
            </a: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endParaRPr lang="en-GB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0A817E03-F580-4E0D-BFC6-C09F11265759}"/>
              </a:ext>
            </a:extLst>
          </p:cNvPr>
          <p:cNvSpPr/>
          <p:nvPr/>
        </p:nvSpPr>
        <p:spPr>
          <a:xfrm>
            <a:off x="9160333" y="3999120"/>
            <a:ext cx="2139038" cy="1600438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en-GB" sz="1400" dirty="0">
                <a:latin typeface="Arial" panose="020B0604020202020204" pitchFamily="34" charset="0"/>
                <a:cs typeface="Arial" panose="020B0604020202020204" pitchFamily="34" charset="0"/>
              </a:rPr>
              <a:t>Partnerships and co-design of development solutions with African institutions (incl. government agencies, CSOs, and private sector)​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84F3624-FB7F-4059-A970-32DC8C779FC7}"/>
              </a:ext>
            </a:extLst>
          </p:cNvPr>
          <p:cNvSpPr/>
          <p:nvPr/>
        </p:nvSpPr>
        <p:spPr>
          <a:xfrm>
            <a:off x="2188028" y="2483501"/>
            <a:ext cx="9111343" cy="120032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>
            <a:spAutoFit/>
          </a:bodyPr>
          <a:lstStyle/>
          <a:p>
            <a:pPr algn="ctr" fontAlgn="base"/>
            <a:r>
              <a:rPr lang="en-US" b="1" u="sng" dirty="0">
                <a:latin typeface="Arial" panose="020B0604020202020204" pitchFamily="34" charset="0"/>
              </a:rPr>
              <a:t>Increased</a:t>
            </a:r>
            <a:r>
              <a:rPr lang="en-US" dirty="0">
                <a:latin typeface="Arial" panose="020B0604020202020204" pitchFamily="34" charset="0"/>
              </a:rPr>
              <a:t> African giving &amp; government funding for development; ​</a:t>
            </a:r>
            <a:endParaRPr lang="en-US" dirty="0">
              <a:latin typeface="Segoe UI" panose="020B0502040204020203" pitchFamily="34" charset="0"/>
            </a:endParaRPr>
          </a:p>
          <a:p>
            <a:pPr algn="ctr" fontAlgn="base"/>
            <a:r>
              <a:rPr lang="en-US" b="1" u="sng" dirty="0">
                <a:latin typeface="Arial" panose="020B0604020202020204" pitchFamily="34" charset="0"/>
              </a:rPr>
              <a:t>More</a:t>
            </a:r>
            <a:r>
              <a:rPr lang="en-US" dirty="0">
                <a:latin typeface="Arial" panose="020B0604020202020204" pitchFamily="34" charset="0"/>
              </a:rPr>
              <a:t> African-led institutions championing the African investment agenda; ​</a:t>
            </a:r>
            <a:endParaRPr lang="en-US" dirty="0">
              <a:latin typeface="Segoe UI" panose="020B0502040204020203" pitchFamily="34" charset="0"/>
            </a:endParaRPr>
          </a:p>
          <a:p>
            <a:pPr algn="ctr" fontAlgn="base"/>
            <a:r>
              <a:rPr lang="en-US" b="1" u="sng" dirty="0">
                <a:latin typeface="Arial" panose="020B0604020202020204" pitchFamily="34" charset="0"/>
              </a:rPr>
              <a:t>Increased</a:t>
            </a:r>
            <a:r>
              <a:rPr lang="en-US" dirty="0">
                <a:latin typeface="Arial" panose="020B0604020202020204" pitchFamily="34" charset="0"/>
              </a:rPr>
              <a:t> ownership of the development agenda by African communities, governments &amp; institutions ​</a:t>
            </a:r>
            <a:endParaRPr lang="en-US" b="0" i="0" dirty="0">
              <a:effectLst/>
              <a:latin typeface="Segoe UI" panose="020B0502040204020203" pitchFamily="34" charset="0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4BE19167-64DF-4B6B-8FEF-07F684A9F576}"/>
              </a:ext>
            </a:extLst>
          </p:cNvPr>
          <p:cNvSpPr txBox="1"/>
          <p:nvPr/>
        </p:nvSpPr>
        <p:spPr>
          <a:xfrm>
            <a:off x="174284" y="2791277"/>
            <a:ext cx="1768816" cy="5847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ONG-TERM OUTCOMES</a:t>
            </a:r>
          </a:p>
        </p:txBody>
      </p:sp>
      <p:sp>
        <p:nvSpPr>
          <p:cNvPr id="56" name="TextBox 55">
            <a:extLst>
              <a:ext uri="{FF2B5EF4-FFF2-40B4-BE49-F238E27FC236}">
                <a16:creationId xmlns:a16="http://schemas.microsoft.com/office/drawing/2014/main" id="{0D661A64-B274-4D56-B6A0-4C2DABAC9218}"/>
              </a:ext>
            </a:extLst>
          </p:cNvPr>
          <p:cNvSpPr txBox="1"/>
          <p:nvPr/>
        </p:nvSpPr>
        <p:spPr>
          <a:xfrm>
            <a:off x="174284" y="4515115"/>
            <a:ext cx="1768816" cy="584775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UM-TERM OUTCOMES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8C25A259-6D5D-4B85-9220-A147E6F1556A}"/>
              </a:ext>
            </a:extLst>
          </p:cNvPr>
          <p:cNvSpPr txBox="1"/>
          <p:nvPr/>
        </p:nvSpPr>
        <p:spPr>
          <a:xfrm>
            <a:off x="174284" y="1607430"/>
            <a:ext cx="1768816" cy="338554"/>
          </a:xfrm>
          <a:prstGeom prst="rect">
            <a:avLst/>
          </a:prstGeom>
          <a:solidFill>
            <a:schemeClr val="tx1">
              <a:lumMod val="50000"/>
              <a:lumOff val="50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en-GB" sz="1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MPAC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66626B17-55FC-479F-8C1C-7272DE6AD5E1}"/>
              </a:ext>
            </a:extLst>
          </p:cNvPr>
          <p:cNvSpPr/>
          <p:nvPr/>
        </p:nvSpPr>
        <p:spPr>
          <a:xfrm>
            <a:off x="2188028" y="1537085"/>
            <a:ext cx="911134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GB" b="1" dirty="0">
                <a:solidFill>
                  <a:srgbClr val="545454"/>
                </a:solidFill>
                <a:latin typeface="Arial Black" panose="020B0A04020102020204" pitchFamily="34" charset="0"/>
              </a:rPr>
              <a:t>SUSTAINABLE SOLUTIONS THAT IMPROVE THE LIVES OF CHILDREN AND ADOLESCENTS</a:t>
            </a:r>
            <a:r>
              <a:rPr lang="en-GB" dirty="0">
                <a:solidFill>
                  <a:srgbClr val="000000"/>
                </a:solidFill>
                <a:latin typeface="Arial Black" panose="020B0A04020102020204" pitchFamily="34" charset="0"/>
              </a:rPr>
              <a:t>​</a:t>
            </a:r>
            <a:endParaRPr lang="en-GB" dirty="0"/>
          </a:p>
        </p:txBody>
      </p:sp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52ABA088-2A71-4B98-8284-1AD07F68A8C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830042" y="6642177"/>
            <a:ext cx="3206941" cy="167621"/>
          </a:xfrm>
        </p:spPr>
        <p:txBody>
          <a:bodyPr/>
          <a:lstStyle/>
          <a:p>
            <a:r>
              <a:rPr lang="en-GB" dirty="0"/>
              <a:t>Copyright © Children’s Investment Fund Foundation 2021 | </a:t>
            </a:r>
            <a:fld id="{A11913C4-23BE-4637-B15B-AFA213ABE320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21229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A2B0BD49-8620-472C-9CB8-4BD5C13AA8B6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427" b="9427"/>
          <a:stretch>
            <a:fillRect/>
          </a:stretch>
        </p:blipFill>
        <p:spPr>
          <a:xfrm>
            <a:off x="-146050" y="0"/>
            <a:ext cx="12338050" cy="6858000"/>
          </a:xfrm>
        </p:spPr>
      </p:pic>
      <p:sp>
        <p:nvSpPr>
          <p:cNvPr id="3" name="Frame 2">
            <a:extLst>
              <a:ext uri="{FF2B5EF4-FFF2-40B4-BE49-F238E27FC236}">
                <a16:creationId xmlns:a16="http://schemas.microsoft.com/office/drawing/2014/main" id="{06CB60BA-56E7-4E23-8FA4-734B1DE6EE76}"/>
              </a:ext>
            </a:extLst>
          </p:cNvPr>
          <p:cNvSpPr/>
          <p:nvPr/>
        </p:nvSpPr>
        <p:spPr>
          <a:xfrm>
            <a:off x="0" y="241300"/>
            <a:ext cx="4823986" cy="6426200"/>
          </a:xfrm>
          <a:prstGeom prst="frame">
            <a:avLst>
              <a:gd name="adj1" fmla="val 2613"/>
            </a:avLst>
          </a:prstGeom>
          <a:solidFill>
            <a:srgbClr val="D9187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id-ID" sz="1800" b="0" i="0" u="none" strike="noStrike" kern="1200" cap="none" spc="0" normalizeH="0" baseline="0" noProof="0" dirty="0">
              <a:ln>
                <a:noFill/>
              </a:ln>
              <a:solidFill>
                <a:srgbClr val="ED1267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7983099-C2DB-4D22-9AF0-4DDF10B0B205}"/>
              </a:ext>
            </a:extLst>
          </p:cNvPr>
          <p:cNvSpPr/>
          <p:nvPr/>
        </p:nvSpPr>
        <p:spPr>
          <a:xfrm>
            <a:off x="254000" y="431800"/>
            <a:ext cx="4254500" cy="5969000"/>
          </a:xfrm>
          <a:prstGeom prst="rect">
            <a:avLst/>
          </a:prstGeom>
          <a:solidFill>
            <a:srgbClr val="595959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98169B0D-1B29-430B-AEA8-BDE406E6121A}"/>
              </a:ext>
            </a:extLst>
          </p:cNvPr>
          <p:cNvGrpSpPr/>
          <p:nvPr/>
        </p:nvGrpSpPr>
        <p:grpSpPr>
          <a:xfrm>
            <a:off x="563562" y="2954598"/>
            <a:ext cx="1889519" cy="438358"/>
            <a:chOff x="6850062" y="3881698"/>
            <a:chExt cx="1889519" cy="438358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1B1955B9-330A-4998-9A9D-066CD90E858A}"/>
                </a:ext>
              </a:extLst>
            </p:cNvPr>
            <p:cNvGrpSpPr/>
            <p:nvPr/>
          </p:nvGrpSpPr>
          <p:grpSpPr>
            <a:xfrm>
              <a:off x="6850062" y="3881698"/>
              <a:ext cx="438358" cy="438358"/>
              <a:chOff x="6850062" y="3881698"/>
              <a:chExt cx="438358" cy="438358"/>
            </a:xfrm>
          </p:grpSpPr>
          <p:sp>
            <p:nvSpPr>
              <p:cNvPr id="14" name="Freeform 306">
                <a:extLst>
                  <a:ext uri="{FF2B5EF4-FFF2-40B4-BE49-F238E27FC236}">
                    <a16:creationId xmlns:a16="http://schemas.microsoft.com/office/drawing/2014/main" id="{BC0B6FCF-9AA2-4E92-869B-1967697287C5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0062" y="3881698"/>
                <a:ext cx="438358" cy="438358"/>
              </a:xfrm>
              <a:custGeom>
                <a:avLst/>
                <a:gdLst>
                  <a:gd name="T0" fmla="*/ 147 w 292"/>
                  <a:gd name="T1" fmla="*/ 0 h 292"/>
                  <a:gd name="T2" fmla="*/ 176 w 292"/>
                  <a:gd name="T3" fmla="*/ 2 h 292"/>
                  <a:gd name="T4" fmla="*/ 204 w 292"/>
                  <a:gd name="T5" fmla="*/ 9 h 292"/>
                  <a:gd name="T6" fmla="*/ 227 w 292"/>
                  <a:gd name="T7" fmla="*/ 23 h 292"/>
                  <a:gd name="T8" fmla="*/ 249 w 292"/>
                  <a:gd name="T9" fmla="*/ 41 h 292"/>
                  <a:gd name="T10" fmla="*/ 266 w 292"/>
                  <a:gd name="T11" fmla="*/ 64 h 292"/>
                  <a:gd name="T12" fmla="*/ 280 w 292"/>
                  <a:gd name="T13" fmla="*/ 88 h 292"/>
                  <a:gd name="T14" fmla="*/ 290 w 292"/>
                  <a:gd name="T15" fmla="*/ 115 h 292"/>
                  <a:gd name="T16" fmla="*/ 292 w 292"/>
                  <a:gd name="T17" fmla="*/ 145 h 292"/>
                  <a:gd name="T18" fmla="*/ 292 w 292"/>
                  <a:gd name="T19" fmla="*/ 160 h 292"/>
                  <a:gd name="T20" fmla="*/ 286 w 292"/>
                  <a:gd name="T21" fmla="*/ 188 h 292"/>
                  <a:gd name="T22" fmla="*/ 274 w 292"/>
                  <a:gd name="T23" fmla="*/ 215 h 292"/>
                  <a:gd name="T24" fmla="*/ 259 w 292"/>
                  <a:gd name="T25" fmla="*/ 239 h 292"/>
                  <a:gd name="T26" fmla="*/ 239 w 292"/>
                  <a:gd name="T27" fmla="*/ 258 h 292"/>
                  <a:gd name="T28" fmla="*/ 215 w 292"/>
                  <a:gd name="T29" fmla="*/ 274 h 292"/>
                  <a:gd name="T30" fmla="*/ 190 w 292"/>
                  <a:gd name="T31" fmla="*/ 286 h 292"/>
                  <a:gd name="T32" fmla="*/ 161 w 292"/>
                  <a:gd name="T33" fmla="*/ 292 h 292"/>
                  <a:gd name="T34" fmla="*/ 147 w 292"/>
                  <a:gd name="T35" fmla="*/ 292 h 292"/>
                  <a:gd name="T36" fmla="*/ 116 w 292"/>
                  <a:gd name="T37" fmla="*/ 288 h 292"/>
                  <a:gd name="T38" fmla="*/ 88 w 292"/>
                  <a:gd name="T39" fmla="*/ 280 h 292"/>
                  <a:gd name="T40" fmla="*/ 65 w 292"/>
                  <a:gd name="T41" fmla="*/ 266 h 292"/>
                  <a:gd name="T42" fmla="*/ 43 w 292"/>
                  <a:gd name="T43" fmla="*/ 249 h 292"/>
                  <a:gd name="T44" fmla="*/ 25 w 292"/>
                  <a:gd name="T45" fmla="*/ 227 h 292"/>
                  <a:gd name="T46" fmla="*/ 12 w 292"/>
                  <a:gd name="T47" fmla="*/ 202 h 292"/>
                  <a:gd name="T48" fmla="*/ 2 w 292"/>
                  <a:gd name="T49" fmla="*/ 174 h 292"/>
                  <a:gd name="T50" fmla="*/ 0 w 292"/>
                  <a:gd name="T51" fmla="*/ 145 h 292"/>
                  <a:gd name="T52" fmla="*/ 0 w 292"/>
                  <a:gd name="T53" fmla="*/ 131 h 292"/>
                  <a:gd name="T54" fmla="*/ 6 w 292"/>
                  <a:gd name="T55" fmla="*/ 102 h 292"/>
                  <a:gd name="T56" fmla="*/ 18 w 292"/>
                  <a:gd name="T57" fmla="*/ 76 h 292"/>
                  <a:gd name="T58" fmla="*/ 33 w 292"/>
                  <a:gd name="T59" fmla="*/ 53 h 292"/>
                  <a:gd name="T60" fmla="*/ 53 w 292"/>
                  <a:gd name="T61" fmla="*/ 33 h 292"/>
                  <a:gd name="T62" fmla="*/ 76 w 292"/>
                  <a:gd name="T63" fmla="*/ 17 h 292"/>
                  <a:gd name="T64" fmla="*/ 102 w 292"/>
                  <a:gd name="T65" fmla="*/ 6 h 292"/>
                  <a:gd name="T66" fmla="*/ 131 w 292"/>
                  <a:gd name="T67" fmla="*/ 0 h 292"/>
                  <a:gd name="T68" fmla="*/ 147 w 292"/>
                  <a:gd name="T69" fmla="*/ 0 h 292"/>
                  <a:gd name="T70" fmla="*/ 147 w 292"/>
                  <a:gd name="T71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2" h="292">
                    <a:moveTo>
                      <a:pt x="147" y="0"/>
                    </a:moveTo>
                    <a:lnTo>
                      <a:pt x="147" y="0"/>
                    </a:lnTo>
                    <a:lnTo>
                      <a:pt x="161" y="0"/>
                    </a:lnTo>
                    <a:lnTo>
                      <a:pt x="176" y="2"/>
                    </a:lnTo>
                    <a:lnTo>
                      <a:pt x="190" y="6"/>
                    </a:lnTo>
                    <a:lnTo>
                      <a:pt x="204" y="9"/>
                    </a:lnTo>
                    <a:lnTo>
                      <a:pt x="215" y="17"/>
                    </a:lnTo>
                    <a:lnTo>
                      <a:pt x="227" y="23"/>
                    </a:lnTo>
                    <a:lnTo>
                      <a:pt x="239" y="33"/>
                    </a:lnTo>
                    <a:lnTo>
                      <a:pt x="249" y="41"/>
                    </a:lnTo>
                    <a:lnTo>
                      <a:pt x="259" y="53"/>
                    </a:lnTo>
                    <a:lnTo>
                      <a:pt x="266" y="64"/>
                    </a:lnTo>
                    <a:lnTo>
                      <a:pt x="274" y="76"/>
                    </a:lnTo>
                    <a:lnTo>
                      <a:pt x="280" y="88"/>
                    </a:lnTo>
                    <a:lnTo>
                      <a:pt x="286" y="102"/>
                    </a:lnTo>
                    <a:lnTo>
                      <a:pt x="290" y="115"/>
                    </a:lnTo>
                    <a:lnTo>
                      <a:pt x="292" y="131"/>
                    </a:lnTo>
                    <a:lnTo>
                      <a:pt x="292" y="145"/>
                    </a:lnTo>
                    <a:lnTo>
                      <a:pt x="292" y="145"/>
                    </a:lnTo>
                    <a:lnTo>
                      <a:pt x="292" y="160"/>
                    </a:lnTo>
                    <a:lnTo>
                      <a:pt x="290" y="174"/>
                    </a:lnTo>
                    <a:lnTo>
                      <a:pt x="286" y="188"/>
                    </a:lnTo>
                    <a:lnTo>
                      <a:pt x="280" y="202"/>
                    </a:lnTo>
                    <a:lnTo>
                      <a:pt x="274" y="215"/>
                    </a:lnTo>
                    <a:lnTo>
                      <a:pt x="266" y="227"/>
                    </a:lnTo>
                    <a:lnTo>
                      <a:pt x="259" y="239"/>
                    </a:lnTo>
                    <a:lnTo>
                      <a:pt x="249" y="249"/>
                    </a:lnTo>
                    <a:lnTo>
                      <a:pt x="239" y="258"/>
                    </a:lnTo>
                    <a:lnTo>
                      <a:pt x="227" y="266"/>
                    </a:lnTo>
                    <a:lnTo>
                      <a:pt x="215" y="274"/>
                    </a:lnTo>
                    <a:lnTo>
                      <a:pt x="204" y="280"/>
                    </a:lnTo>
                    <a:lnTo>
                      <a:pt x="190" y="286"/>
                    </a:lnTo>
                    <a:lnTo>
                      <a:pt x="176" y="288"/>
                    </a:lnTo>
                    <a:lnTo>
                      <a:pt x="161" y="292"/>
                    </a:lnTo>
                    <a:lnTo>
                      <a:pt x="147" y="292"/>
                    </a:lnTo>
                    <a:lnTo>
                      <a:pt x="147" y="292"/>
                    </a:lnTo>
                    <a:lnTo>
                      <a:pt x="131" y="292"/>
                    </a:lnTo>
                    <a:lnTo>
                      <a:pt x="116" y="288"/>
                    </a:lnTo>
                    <a:lnTo>
                      <a:pt x="102" y="286"/>
                    </a:lnTo>
                    <a:lnTo>
                      <a:pt x="88" y="280"/>
                    </a:lnTo>
                    <a:lnTo>
                      <a:pt x="76" y="274"/>
                    </a:lnTo>
                    <a:lnTo>
                      <a:pt x="65" y="266"/>
                    </a:lnTo>
                    <a:lnTo>
                      <a:pt x="53" y="258"/>
                    </a:lnTo>
                    <a:lnTo>
                      <a:pt x="43" y="249"/>
                    </a:lnTo>
                    <a:lnTo>
                      <a:pt x="33" y="239"/>
                    </a:lnTo>
                    <a:lnTo>
                      <a:pt x="25" y="227"/>
                    </a:lnTo>
                    <a:lnTo>
                      <a:pt x="18" y="215"/>
                    </a:lnTo>
                    <a:lnTo>
                      <a:pt x="12" y="202"/>
                    </a:lnTo>
                    <a:lnTo>
                      <a:pt x="6" y="188"/>
                    </a:lnTo>
                    <a:lnTo>
                      <a:pt x="2" y="174"/>
                    </a:lnTo>
                    <a:lnTo>
                      <a:pt x="0" y="160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2" y="115"/>
                    </a:lnTo>
                    <a:lnTo>
                      <a:pt x="6" y="102"/>
                    </a:lnTo>
                    <a:lnTo>
                      <a:pt x="12" y="88"/>
                    </a:lnTo>
                    <a:lnTo>
                      <a:pt x="18" y="76"/>
                    </a:lnTo>
                    <a:lnTo>
                      <a:pt x="25" y="64"/>
                    </a:lnTo>
                    <a:lnTo>
                      <a:pt x="33" y="53"/>
                    </a:lnTo>
                    <a:lnTo>
                      <a:pt x="43" y="41"/>
                    </a:lnTo>
                    <a:lnTo>
                      <a:pt x="53" y="33"/>
                    </a:lnTo>
                    <a:lnTo>
                      <a:pt x="65" y="23"/>
                    </a:lnTo>
                    <a:lnTo>
                      <a:pt x="76" y="17"/>
                    </a:lnTo>
                    <a:lnTo>
                      <a:pt x="88" y="9"/>
                    </a:lnTo>
                    <a:lnTo>
                      <a:pt x="102" y="6"/>
                    </a:lnTo>
                    <a:lnTo>
                      <a:pt x="116" y="2"/>
                    </a:lnTo>
                    <a:lnTo>
                      <a:pt x="131" y="0"/>
                    </a:lnTo>
                    <a:lnTo>
                      <a:pt x="147" y="0"/>
                    </a:lnTo>
                    <a:lnTo>
                      <a:pt x="147" y="0"/>
                    </a:lnTo>
                    <a:close/>
                    <a:moveTo>
                      <a:pt x="147" y="0"/>
                    </a:moveTo>
                    <a:lnTo>
                      <a:pt x="147" y="0"/>
                    </a:lnTo>
                    <a:close/>
                  </a:path>
                </a:pathLst>
              </a:custGeom>
              <a:solidFill>
                <a:schemeClr val="bg1">
                  <a:lumMod val="8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5" name="Freeform 307">
                <a:extLst>
                  <a:ext uri="{FF2B5EF4-FFF2-40B4-BE49-F238E27FC236}">
                    <a16:creationId xmlns:a16="http://schemas.microsoft.com/office/drawing/2014/main" id="{06FADC5A-5657-4A4B-BF9E-C04E8F32AA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062" y="3881698"/>
                <a:ext cx="438358" cy="438358"/>
              </a:xfrm>
              <a:custGeom>
                <a:avLst/>
                <a:gdLst>
                  <a:gd name="T0" fmla="*/ 147 w 292"/>
                  <a:gd name="T1" fmla="*/ 0 h 292"/>
                  <a:gd name="T2" fmla="*/ 176 w 292"/>
                  <a:gd name="T3" fmla="*/ 2 h 292"/>
                  <a:gd name="T4" fmla="*/ 204 w 292"/>
                  <a:gd name="T5" fmla="*/ 9 h 292"/>
                  <a:gd name="T6" fmla="*/ 227 w 292"/>
                  <a:gd name="T7" fmla="*/ 23 h 292"/>
                  <a:gd name="T8" fmla="*/ 249 w 292"/>
                  <a:gd name="T9" fmla="*/ 41 h 292"/>
                  <a:gd name="T10" fmla="*/ 266 w 292"/>
                  <a:gd name="T11" fmla="*/ 64 h 292"/>
                  <a:gd name="T12" fmla="*/ 280 w 292"/>
                  <a:gd name="T13" fmla="*/ 88 h 292"/>
                  <a:gd name="T14" fmla="*/ 290 w 292"/>
                  <a:gd name="T15" fmla="*/ 115 h 292"/>
                  <a:gd name="T16" fmla="*/ 292 w 292"/>
                  <a:gd name="T17" fmla="*/ 145 h 292"/>
                  <a:gd name="T18" fmla="*/ 292 w 292"/>
                  <a:gd name="T19" fmla="*/ 160 h 292"/>
                  <a:gd name="T20" fmla="*/ 286 w 292"/>
                  <a:gd name="T21" fmla="*/ 188 h 292"/>
                  <a:gd name="T22" fmla="*/ 274 w 292"/>
                  <a:gd name="T23" fmla="*/ 215 h 292"/>
                  <a:gd name="T24" fmla="*/ 259 w 292"/>
                  <a:gd name="T25" fmla="*/ 239 h 292"/>
                  <a:gd name="T26" fmla="*/ 239 w 292"/>
                  <a:gd name="T27" fmla="*/ 258 h 292"/>
                  <a:gd name="T28" fmla="*/ 215 w 292"/>
                  <a:gd name="T29" fmla="*/ 274 h 292"/>
                  <a:gd name="T30" fmla="*/ 190 w 292"/>
                  <a:gd name="T31" fmla="*/ 286 h 292"/>
                  <a:gd name="T32" fmla="*/ 161 w 292"/>
                  <a:gd name="T33" fmla="*/ 292 h 292"/>
                  <a:gd name="T34" fmla="*/ 147 w 292"/>
                  <a:gd name="T35" fmla="*/ 292 h 292"/>
                  <a:gd name="T36" fmla="*/ 116 w 292"/>
                  <a:gd name="T37" fmla="*/ 288 h 292"/>
                  <a:gd name="T38" fmla="*/ 88 w 292"/>
                  <a:gd name="T39" fmla="*/ 280 h 292"/>
                  <a:gd name="T40" fmla="*/ 65 w 292"/>
                  <a:gd name="T41" fmla="*/ 266 h 292"/>
                  <a:gd name="T42" fmla="*/ 43 w 292"/>
                  <a:gd name="T43" fmla="*/ 249 h 292"/>
                  <a:gd name="T44" fmla="*/ 25 w 292"/>
                  <a:gd name="T45" fmla="*/ 227 h 292"/>
                  <a:gd name="T46" fmla="*/ 12 w 292"/>
                  <a:gd name="T47" fmla="*/ 202 h 292"/>
                  <a:gd name="T48" fmla="*/ 2 w 292"/>
                  <a:gd name="T49" fmla="*/ 174 h 292"/>
                  <a:gd name="T50" fmla="*/ 0 w 292"/>
                  <a:gd name="T51" fmla="*/ 145 h 292"/>
                  <a:gd name="T52" fmla="*/ 0 w 292"/>
                  <a:gd name="T53" fmla="*/ 131 h 292"/>
                  <a:gd name="T54" fmla="*/ 6 w 292"/>
                  <a:gd name="T55" fmla="*/ 102 h 292"/>
                  <a:gd name="T56" fmla="*/ 18 w 292"/>
                  <a:gd name="T57" fmla="*/ 76 h 292"/>
                  <a:gd name="T58" fmla="*/ 33 w 292"/>
                  <a:gd name="T59" fmla="*/ 53 h 292"/>
                  <a:gd name="T60" fmla="*/ 53 w 292"/>
                  <a:gd name="T61" fmla="*/ 33 h 292"/>
                  <a:gd name="T62" fmla="*/ 76 w 292"/>
                  <a:gd name="T63" fmla="*/ 17 h 292"/>
                  <a:gd name="T64" fmla="*/ 102 w 292"/>
                  <a:gd name="T65" fmla="*/ 6 h 292"/>
                  <a:gd name="T66" fmla="*/ 131 w 292"/>
                  <a:gd name="T67" fmla="*/ 0 h 292"/>
                  <a:gd name="T68" fmla="*/ 147 w 292"/>
                  <a:gd name="T69" fmla="*/ 0 h 29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2" h="292">
                    <a:moveTo>
                      <a:pt x="147" y="0"/>
                    </a:moveTo>
                    <a:lnTo>
                      <a:pt x="147" y="0"/>
                    </a:lnTo>
                    <a:lnTo>
                      <a:pt x="161" y="0"/>
                    </a:lnTo>
                    <a:lnTo>
                      <a:pt x="176" y="2"/>
                    </a:lnTo>
                    <a:lnTo>
                      <a:pt x="190" y="6"/>
                    </a:lnTo>
                    <a:lnTo>
                      <a:pt x="204" y="9"/>
                    </a:lnTo>
                    <a:lnTo>
                      <a:pt x="215" y="17"/>
                    </a:lnTo>
                    <a:lnTo>
                      <a:pt x="227" y="23"/>
                    </a:lnTo>
                    <a:lnTo>
                      <a:pt x="239" y="33"/>
                    </a:lnTo>
                    <a:lnTo>
                      <a:pt x="249" y="41"/>
                    </a:lnTo>
                    <a:lnTo>
                      <a:pt x="259" y="53"/>
                    </a:lnTo>
                    <a:lnTo>
                      <a:pt x="266" y="64"/>
                    </a:lnTo>
                    <a:lnTo>
                      <a:pt x="274" y="76"/>
                    </a:lnTo>
                    <a:lnTo>
                      <a:pt x="280" y="88"/>
                    </a:lnTo>
                    <a:lnTo>
                      <a:pt x="286" y="102"/>
                    </a:lnTo>
                    <a:lnTo>
                      <a:pt x="290" y="115"/>
                    </a:lnTo>
                    <a:lnTo>
                      <a:pt x="292" y="131"/>
                    </a:lnTo>
                    <a:lnTo>
                      <a:pt x="292" y="145"/>
                    </a:lnTo>
                    <a:lnTo>
                      <a:pt x="292" y="145"/>
                    </a:lnTo>
                    <a:lnTo>
                      <a:pt x="292" y="160"/>
                    </a:lnTo>
                    <a:lnTo>
                      <a:pt x="290" y="174"/>
                    </a:lnTo>
                    <a:lnTo>
                      <a:pt x="286" y="188"/>
                    </a:lnTo>
                    <a:lnTo>
                      <a:pt x="280" y="202"/>
                    </a:lnTo>
                    <a:lnTo>
                      <a:pt x="274" y="215"/>
                    </a:lnTo>
                    <a:lnTo>
                      <a:pt x="266" y="227"/>
                    </a:lnTo>
                    <a:lnTo>
                      <a:pt x="259" y="239"/>
                    </a:lnTo>
                    <a:lnTo>
                      <a:pt x="249" y="249"/>
                    </a:lnTo>
                    <a:lnTo>
                      <a:pt x="239" y="258"/>
                    </a:lnTo>
                    <a:lnTo>
                      <a:pt x="227" y="266"/>
                    </a:lnTo>
                    <a:lnTo>
                      <a:pt x="215" y="274"/>
                    </a:lnTo>
                    <a:lnTo>
                      <a:pt x="204" y="280"/>
                    </a:lnTo>
                    <a:lnTo>
                      <a:pt x="190" y="286"/>
                    </a:lnTo>
                    <a:lnTo>
                      <a:pt x="176" y="288"/>
                    </a:lnTo>
                    <a:lnTo>
                      <a:pt x="161" y="292"/>
                    </a:lnTo>
                    <a:lnTo>
                      <a:pt x="147" y="292"/>
                    </a:lnTo>
                    <a:lnTo>
                      <a:pt x="147" y="292"/>
                    </a:lnTo>
                    <a:lnTo>
                      <a:pt x="131" y="292"/>
                    </a:lnTo>
                    <a:lnTo>
                      <a:pt x="116" y="288"/>
                    </a:lnTo>
                    <a:lnTo>
                      <a:pt x="102" y="286"/>
                    </a:lnTo>
                    <a:lnTo>
                      <a:pt x="88" y="280"/>
                    </a:lnTo>
                    <a:lnTo>
                      <a:pt x="76" y="274"/>
                    </a:lnTo>
                    <a:lnTo>
                      <a:pt x="65" y="266"/>
                    </a:lnTo>
                    <a:lnTo>
                      <a:pt x="53" y="258"/>
                    </a:lnTo>
                    <a:lnTo>
                      <a:pt x="43" y="249"/>
                    </a:lnTo>
                    <a:lnTo>
                      <a:pt x="33" y="239"/>
                    </a:lnTo>
                    <a:lnTo>
                      <a:pt x="25" y="227"/>
                    </a:lnTo>
                    <a:lnTo>
                      <a:pt x="18" y="215"/>
                    </a:lnTo>
                    <a:lnTo>
                      <a:pt x="12" y="202"/>
                    </a:lnTo>
                    <a:lnTo>
                      <a:pt x="6" y="188"/>
                    </a:lnTo>
                    <a:lnTo>
                      <a:pt x="2" y="174"/>
                    </a:lnTo>
                    <a:lnTo>
                      <a:pt x="0" y="160"/>
                    </a:lnTo>
                    <a:lnTo>
                      <a:pt x="0" y="145"/>
                    </a:lnTo>
                    <a:lnTo>
                      <a:pt x="0" y="145"/>
                    </a:lnTo>
                    <a:lnTo>
                      <a:pt x="0" y="131"/>
                    </a:lnTo>
                    <a:lnTo>
                      <a:pt x="2" y="115"/>
                    </a:lnTo>
                    <a:lnTo>
                      <a:pt x="6" y="102"/>
                    </a:lnTo>
                    <a:lnTo>
                      <a:pt x="12" y="88"/>
                    </a:lnTo>
                    <a:lnTo>
                      <a:pt x="18" y="76"/>
                    </a:lnTo>
                    <a:lnTo>
                      <a:pt x="25" y="64"/>
                    </a:lnTo>
                    <a:lnTo>
                      <a:pt x="33" y="53"/>
                    </a:lnTo>
                    <a:lnTo>
                      <a:pt x="43" y="41"/>
                    </a:lnTo>
                    <a:lnTo>
                      <a:pt x="53" y="33"/>
                    </a:lnTo>
                    <a:lnTo>
                      <a:pt x="65" y="23"/>
                    </a:lnTo>
                    <a:lnTo>
                      <a:pt x="76" y="17"/>
                    </a:lnTo>
                    <a:lnTo>
                      <a:pt x="88" y="9"/>
                    </a:lnTo>
                    <a:lnTo>
                      <a:pt x="102" y="6"/>
                    </a:lnTo>
                    <a:lnTo>
                      <a:pt x="116" y="2"/>
                    </a:lnTo>
                    <a:lnTo>
                      <a:pt x="131" y="0"/>
                    </a:lnTo>
                    <a:lnTo>
                      <a:pt x="147" y="0"/>
                    </a:lnTo>
                    <a:lnTo>
                      <a:pt x="14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6" name="Line 308">
                <a:extLst>
                  <a:ext uri="{FF2B5EF4-FFF2-40B4-BE49-F238E27FC236}">
                    <a16:creationId xmlns:a16="http://schemas.microsoft.com/office/drawing/2014/main" id="{DDA9F558-700D-408A-B241-528BB3D1E3BF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70742" y="388169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7" name="Freeform 309">
                <a:extLst>
                  <a:ext uri="{FF2B5EF4-FFF2-40B4-BE49-F238E27FC236}">
                    <a16:creationId xmlns:a16="http://schemas.microsoft.com/office/drawing/2014/main" id="{E544AAA7-C69C-4880-B540-1A3DAE1C2592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947641" y="4004799"/>
                <a:ext cx="258211" cy="205668"/>
              </a:xfrm>
              <a:custGeom>
                <a:avLst/>
                <a:gdLst>
                  <a:gd name="T0" fmla="*/ 172 w 172"/>
                  <a:gd name="T1" fmla="*/ 16 h 137"/>
                  <a:gd name="T2" fmla="*/ 152 w 172"/>
                  <a:gd name="T3" fmla="*/ 22 h 137"/>
                  <a:gd name="T4" fmla="*/ 162 w 172"/>
                  <a:gd name="T5" fmla="*/ 14 h 137"/>
                  <a:gd name="T6" fmla="*/ 168 w 172"/>
                  <a:gd name="T7" fmla="*/ 2 h 137"/>
                  <a:gd name="T8" fmla="*/ 156 w 172"/>
                  <a:gd name="T9" fmla="*/ 8 h 137"/>
                  <a:gd name="T10" fmla="*/ 145 w 172"/>
                  <a:gd name="T11" fmla="*/ 10 h 137"/>
                  <a:gd name="T12" fmla="*/ 133 w 172"/>
                  <a:gd name="T13" fmla="*/ 2 h 137"/>
                  <a:gd name="T14" fmla="*/ 119 w 172"/>
                  <a:gd name="T15" fmla="*/ 0 h 137"/>
                  <a:gd name="T16" fmla="*/ 111 w 172"/>
                  <a:gd name="T17" fmla="*/ 0 h 137"/>
                  <a:gd name="T18" fmla="*/ 100 w 172"/>
                  <a:gd name="T19" fmla="*/ 6 h 137"/>
                  <a:gd name="T20" fmla="*/ 90 w 172"/>
                  <a:gd name="T21" fmla="*/ 14 h 137"/>
                  <a:gd name="T22" fmla="*/ 84 w 172"/>
                  <a:gd name="T23" fmla="*/ 27 h 137"/>
                  <a:gd name="T24" fmla="*/ 84 w 172"/>
                  <a:gd name="T25" fmla="*/ 33 h 137"/>
                  <a:gd name="T26" fmla="*/ 84 w 172"/>
                  <a:gd name="T27" fmla="*/ 41 h 137"/>
                  <a:gd name="T28" fmla="*/ 43 w 172"/>
                  <a:gd name="T29" fmla="*/ 31 h 137"/>
                  <a:gd name="T30" fmla="*/ 11 w 172"/>
                  <a:gd name="T31" fmla="*/ 6 h 137"/>
                  <a:gd name="T32" fmla="*/ 7 w 172"/>
                  <a:gd name="T33" fmla="*/ 14 h 137"/>
                  <a:gd name="T34" fmla="*/ 5 w 172"/>
                  <a:gd name="T35" fmla="*/ 24 h 137"/>
                  <a:gd name="T36" fmla="*/ 9 w 172"/>
                  <a:gd name="T37" fmla="*/ 39 h 137"/>
                  <a:gd name="T38" fmla="*/ 21 w 172"/>
                  <a:gd name="T39" fmla="*/ 51 h 137"/>
                  <a:gd name="T40" fmla="*/ 13 w 172"/>
                  <a:gd name="T41" fmla="*/ 51 h 137"/>
                  <a:gd name="T42" fmla="*/ 5 w 172"/>
                  <a:gd name="T43" fmla="*/ 47 h 137"/>
                  <a:gd name="T44" fmla="*/ 7 w 172"/>
                  <a:gd name="T45" fmla="*/ 61 h 137"/>
                  <a:gd name="T46" fmla="*/ 23 w 172"/>
                  <a:gd name="T47" fmla="*/ 78 h 137"/>
                  <a:gd name="T48" fmla="*/ 35 w 172"/>
                  <a:gd name="T49" fmla="*/ 82 h 137"/>
                  <a:gd name="T50" fmla="*/ 25 w 172"/>
                  <a:gd name="T51" fmla="*/ 82 h 137"/>
                  <a:gd name="T52" fmla="*/ 17 w 172"/>
                  <a:gd name="T53" fmla="*/ 82 h 137"/>
                  <a:gd name="T54" fmla="*/ 31 w 172"/>
                  <a:gd name="T55" fmla="*/ 100 h 137"/>
                  <a:gd name="T56" fmla="*/ 51 w 172"/>
                  <a:gd name="T57" fmla="*/ 106 h 137"/>
                  <a:gd name="T58" fmla="*/ 43 w 172"/>
                  <a:gd name="T59" fmla="*/ 114 h 137"/>
                  <a:gd name="T60" fmla="*/ 19 w 172"/>
                  <a:gd name="T61" fmla="*/ 120 h 137"/>
                  <a:gd name="T62" fmla="*/ 7 w 172"/>
                  <a:gd name="T63" fmla="*/ 122 h 137"/>
                  <a:gd name="T64" fmla="*/ 0 w 172"/>
                  <a:gd name="T65" fmla="*/ 122 h 137"/>
                  <a:gd name="T66" fmla="*/ 25 w 172"/>
                  <a:gd name="T67" fmla="*/ 133 h 137"/>
                  <a:gd name="T68" fmla="*/ 52 w 172"/>
                  <a:gd name="T69" fmla="*/ 137 h 137"/>
                  <a:gd name="T70" fmla="*/ 66 w 172"/>
                  <a:gd name="T71" fmla="*/ 135 h 137"/>
                  <a:gd name="T72" fmla="*/ 88 w 172"/>
                  <a:gd name="T73" fmla="*/ 131 h 137"/>
                  <a:gd name="T74" fmla="*/ 115 w 172"/>
                  <a:gd name="T75" fmla="*/ 118 h 137"/>
                  <a:gd name="T76" fmla="*/ 141 w 172"/>
                  <a:gd name="T77" fmla="*/ 88 h 137"/>
                  <a:gd name="T78" fmla="*/ 152 w 172"/>
                  <a:gd name="T79" fmla="*/ 55 h 137"/>
                  <a:gd name="T80" fmla="*/ 154 w 172"/>
                  <a:gd name="T81" fmla="*/ 33 h 137"/>
                  <a:gd name="T82" fmla="*/ 164 w 172"/>
                  <a:gd name="T83" fmla="*/ 25 h 137"/>
                  <a:gd name="T84" fmla="*/ 172 w 172"/>
                  <a:gd name="T85" fmla="*/ 16 h 137"/>
                  <a:gd name="T86" fmla="*/ 172 w 172"/>
                  <a:gd name="T87" fmla="*/ 1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</a:cxnLst>
                <a:rect l="0" t="0" r="r" b="b"/>
                <a:pathLst>
                  <a:path w="172" h="137">
                    <a:moveTo>
                      <a:pt x="172" y="16"/>
                    </a:moveTo>
                    <a:lnTo>
                      <a:pt x="172" y="16"/>
                    </a:lnTo>
                    <a:lnTo>
                      <a:pt x="162" y="20"/>
                    </a:lnTo>
                    <a:lnTo>
                      <a:pt x="152" y="22"/>
                    </a:lnTo>
                    <a:lnTo>
                      <a:pt x="152" y="22"/>
                    </a:lnTo>
                    <a:lnTo>
                      <a:pt x="162" y="14"/>
                    </a:lnTo>
                    <a:lnTo>
                      <a:pt x="166" y="8"/>
                    </a:lnTo>
                    <a:lnTo>
                      <a:pt x="168" y="2"/>
                    </a:lnTo>
                    <a:lnTo>
                      <a:pt x="168" y="2"/>
                    </a:lnTo>
                    <a:lnTo>
                      <a:pt x="156" y="8"/>
                    </a:lnTo>
                    <a:lnTo>
                      <a:pt x="145" y="10"/>
                    </a:lnTo>
                    <a:lnTo>
                      <a:pt x="145" y="10"/>
                    </a:lnTo>
                    <a:lnTo>
                      <a:pt x="139" y="6"/>
                    </a:lnTo>
                    <a:lnTo>
                      <a:pt x="133" y="2"/>
                    </a:lnTo>
                    <a:lnTo>
                      <a:pt x="127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11" y="0"/>
                    </a:lnTo>
                    <a:lnTo>
                      <a:pt x="105" y="2"/>
                    </a:lnTo>
                    <a:lnTo>
                      <a:pt x="100" y="6"/>
                    </a:lnTo>
                    <a:lnTo>
                      <a:pt x="94" y="10"/>
                    </a:lnTo>
                    <a:lnTo>
                      <a:pt x="90" y="14"/>
                    </a:lnTo>
                    <a:lnTo>
                      <a:pt x="86" y="20"/>
                    </a:lnTo>
                    <a:lnTo>
                      <a:pt x="84" y="27"/>
                    </a:lnTo>
                    <a:lnTo>
                      <a:pt x="84" y="33"/>
                    </a:lnTo>
                    <a:lnTo>
                      <a:pt x="84" y="33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62" y="39"/>
                    </a:lnTo>
                    <a:lnTo>
                      <a:pt x="43" y="31"/>
                    </a:lnTo>
                    <a:lnTo>
                      <a:pt x="25" y="20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7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7" y="31"/>
                    </a:lnTo>
                    <a:lnTo>
                      <a:pt x="9" y="39"/>
                    </a:lnTo>
                    <a:lnTo>
                      <a:pt x="15" y="47"/>
                    </a:lnTo>
                    <a:lnTo>
                      <a:pt x="21" y="51"/>
                    </a:lnTo>
                    <a:lnTo>
                      <a:pt x="21" y="51"/>
                    </a:lnTo>
                    <a:lnTo>
                      <a:pt x="13" y="51"/>
                    </a:lnTo>
                    <a:lnTo>
                      <a:pt x="5" y="47"/>
                    </a:lnTo>
                    <a:lnTo>
                      <a:pt x="5" y="47"/>
                    </a:lnTo>
                    <a:lnTo>
                      <a:pt x="5" y="47"/>
                    </a:lnTo>
                    <a:lnTo>
                      <a:pt x="7" y="61"/>
                    </a:lnTo>
                    <a:lnTo>
                      <a:pt x="13" y="71"/>
                    </a:lnTo>
                    <a:lnTo>
                      <a:pt x="23" y="78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17" y="82"/>
                    </a:lnTo>
                    <a:lnTo>
                      <a:pt x="17" y="82"/>
                    </a:lnTo>
                    <a:lnTo>
                      <a:pt x="23" y="92"/>
                    </a:lnTo>
                    <a:lnTo>
                      <a:pt x="31" y="100"/>
                    </a:lnTo>
                    <a:lnTo>
                      <a:pt x="41" y="104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3" y="114"/>
                    </a:lnTo>
                    <a:lnTo>
                      <a:pt x="31" y="118"/>
                    </a:lnTo>
                    <a:lnTo>
                      <a:pt x="19" y="120"/>
                    </a:lnTo>
                    <a:lnTo>
                      <a:pt x="7" y="122"/>
                    </a:lnTo>
                    <a:lnTo>
                      <a:pt x="7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11" y="127"/>
                    </a:lnTo>
                    <a:lnTo>
                      <a:pt x="25" y="133"/>
                    </a:lnTo>
                    <a:lnTo>
                      <a:pt x="39" y="135"/>
                    </a:lnTo>
                    <a:lnTo>
                      <a:pt x="52" y="137"/>
                    </a:lnTo>
                    <a:lnTo>
                      <a:pt x="52" y="137"/>
                    </a:lnTo>
                    <a:lnTo>
                      <a:pt x="66" y="135"/>
                    </a:lnTo>
                    <a:lnTo>
                      <a:pt x="76" y="133"/>
                    </a:lnTo>
                    <a:lnTo>
                      <a:pt x="88" y="131"/>
                    </a:lnTo>
                    <a:lnTo>
                      <a:pt x="98" y="127"/>
                    </a:lnTo>
                    <a:lnTo>
                      <a:pt x="115" y="118"/>
                    </a:lnTo>
                    <a:lnTo>
                      <a:pt x="129" y="104"/>
                    </a:lnTo>
                    <a:lnTo>
                      <a:pt x="141" y="88"/>
                    </a:lnTo>
                    <a:lnTo>
                      <a:pt x="148" y="73"/>
                    </a:lnTo>
                    <a:lnTo>
                      <a:pt x="152" y="55"/>
                    </a:lnTo>
                    <a:lnTo>
                      <a:pt x="154" y="37"/>
                    </a:lnTo>
                    <a:lnTo>
                      <a:pt x="154" y="33"/>
                    </a:lnTo>
                    <a:lnTo>
                      <a:pt x="154" y="33"/>
                    </a:lnTo>
                    <a:lnTo>
                      <a:pt x="164" y="25"/>
                    </a:lnTo>
                    <a:lnTo>
                      <a:pt x="172" y="16"/>
                    </a:lnTo>
                    <a:lnTo>
                      <a:pt x="172" y="16"/>
                    </a:lnTo>
                    <a:close/>
                    <a:moveTo>
                      <a:pt x="172" y="16"/>
                    </a:moveTo>
                    <a:lnTo>
                      <a:pt x="172" y="16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8" name="Freeform 310">
                <a:extLst>
                  <a:ext uri="{FF2B5EF4-FFF2-40B4-BE49-F238E27FC236}">
                    <a16:creationId xmlns:a16="http://schemas.microsoft.com/office/drawing/2014/main" id="{29321B9B-CE4B-489B-BF75-94CD9C991A7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947641" y="4004799"/>
                <a:ext cx="258211" cy="205668"/>
              </a:xfrm>
              <a:custGeom>
                <a:avLst/>
                <a:gdLst>
                  <a:gd name="T0" fmla="*/ 172 w 172"/>
                  <a:gd name="T1" fmla="*/ 16 h 137"/>
                  <a:gd name="T2" fmla="*/ 152 w 172"/>
                  <a:gd name="T3" fmla="*/ 22 h 137"/>
                  <a:gd name="T4" fmla="*/ 162 w 172"/>
                  <a:gd name="T5" fmla="*/ 14 h 137"/>
                  <a:gd name="T6" fmla="*/ 168 w 172"/>
                  <a:gd name="T7" fmla="*/ 2 h 137"/>
                  <a:gd name="T8" fmla="*/ 156 w 172"/>
                  <a:gd name="T9" fmla="*/ 8 h 137"/>
                  <a:gd name="T10" fmla="*/ 145 w 172"/>
                  <a:gd name="T11" fmla="*/ 10 h 137"/>
                  <a:gd name="T12" fmla="*/ 133 w 172"/>
                  <a:gd name="T13" fmla="*/ 2 h 137"/>
                  <a:gd name="T14" fmla="*/ 119 w 172"/>
                  <a:gd name="T15" fmla="*/ 0 h 137"/>
                  <a:gd name="T16" fmla="*/ 111 w 172"/>
                  <a:gd name="T17" fmla="*/ 0 h 137"/>
                  <a:gd name="T18" fmla="*/ 100 w 172"/>
                  <a:gd name="T19" fmla="*/ 6 h 137"/>
                  <a:gd name="T20" fmla="*/ 90 w 172"/>
                  <a:gd name="T21" fmla="*/ 14 h 137"/>
                  <a:gd name="T22" fmla="*/ 84 w 172"/>
                  <a:gd name="T23" fmla="*/ 27 h 137"/>
                  <a:gd name="T24" fmla="*/ 84 w 172"/>
                  <a:gd name="T25" fmla="*/ 33 h 137"/>
                  <a:gd name="T26" fmla="*/ 84 w 172"/>
                  <a:gd name="T27" fmla="*/ 41 h 137"/>
                  <a:gd name="T28" fmla="*/ 43 w 172"/>
                  <a:gd name="T29" fmla="*/ 31 h 137"/>
                  <a:gd name="T30" fmla="*/ 11 w 172"/>
                  <a:gd name="T31" fmla="*/ 6 h 137"/>
                  <a:gd name="T32" fmla="*/ 7 w 172"/>
                  <a:gd name="T33" fmla="*/ 14 h 137"/>
                  <a:gd name="T34" fmla="*/ 5 w 172"/>
                  <a:gd name="T35" fmla="*/ 24 h 137"/>
                  <a:gd name="T36" fmla="*/ 9 w 172"/>
                  <a:gd name="T37" fmla="*/ 39 h 137"/>
                  <a:gd name="T38" fmla="*/ 21 w 172"/>
                  <a:gd name="T39" fmla="*/ 51 h 137"/>
                  <a:gd name="T40" fmla="*/ 13 w 172"/>
                  <a:gd name="T41" fmla="*/ 51 h 137"/>
                  <a:gd name="T42" fmla="*/ 5 w 172"/>
                  <a:gd name="T43" fmla="*/ 47 h 137"/>
                  <a:gd name="T44" fmla="*/ 7 w 172"/>
                  <a:gd name="T45" fmla="*/ 61 h 137"/>
                  <a:gd name="T46" fmla="*/ 23 w 172"/>
                  <a:gd name="T47" fmla="*/ 78 h 137"/>
                  <a:gd name="T48" fmla="*/ 35 w 172"/>
                  <a:gd name="T49" fmla="*/ 82 h 137"/>
                  <a:gd name="T50" fmla="*/ 25 w 172"/>
                  <a:gd name="T51" fmla="*/ 82 h 137"/>
                  <a:gd name="T52" fmla="*/ 17 w 172"/>
                  <a:gd name="T53" fmla="*/ 82 h 137"/>
                  <a:gd name="T54" fmla="*/ 31 w 172"/>
                  <a:gd name="T55" fmla="*/ 100 h 137"/>
                  <a:gd name="T56" fmla="*/ 51 w 172"/>
                  <a:gd name="T57" fmla="*/ 106 h 137"/>
                  <a:gd name="T58" fmla="*/ 43 w 172"/>
                  <a:gd name="T59" fmla="*/ 114 h 137"/>
                  <a:gd name="T60" fmla="*/ 19 w 172"/>
                  <a:gd name="T61" fmla="*/ 120 h 137"/>
                  <a:gd name="T62" fmla="*/ 7 w 172"/>
                  <a:gd name="T63" fmla="*/ 122 h 137"/>
                  <a:gd name="T64" fmla="*/ 0 w 172"/>
                  <a:gd name="T65" fmla="*/ 122 h 137"/>
                  <a:gd name="T66" fmla="*/ 25 w 172"/>
                  <a:gd name="T67" fmla="*/ 133 h 137"/>
                  <a:gd name="T68" fmla="*/ 52 w 172"/>
                  <a:gd name="T69" fmla="*/ 137 h 137"/>
                  <a:gd name="T70" fmla="*/ 66 w 172"/>
                  <a:gd name="T71" fmla="*/ 135 h 137"/>
                  <a:gd name="T72" fmla="*/ 88 w 172"/>
                  <a:gd name="T73" fmla="*/ 131 h 137"/>
                  <a:gd name="T74" fmla="*/ 115 w 172"/>
                  <a:gd name="T75" fmla="*/ 118 h 137"/>
                  <a:gd name="T76" fmla="*/ 141 w 172"/>
                  <a:gd name="T77" fmla="*/ 88 h 137"/>
                  <a:gd name="T78" fmla="*/ 152 w 172"/>
                  <a:gd name="T79" fmla="*/ 55 h 137"/>
                  <a:gd name="T80" fmla="*/ 154 w 172"/>
                  <a:gd name="T81" fmla="*/ 33 h 137"/>
                  <a:gd name="T82" fmla="*/ 164 w 172"/>
                  <a:gd name="T83" fmla="*/ 25 h 137"/>
                  <a:gd name="T84" fmla="*/ 172 w 172"/>
                  <a:gd name="T85" fmla="*/ 16 h 13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172" h="137">
                    <a:moveTo>
                      <a:pt x="172" y="16"/>
                    </a:moveTo>
                    <a:lnTo>
                      <a:pt x="172" y="16"/>
                    </a:lnTo>
                    <a:lnTo>
                      <a:pt x="162" y="20"/>
                    </a:lnTo>
                    <a:lnTo>
                      <a:pt x="152" y="22"/>
                    </a:lnTo>
                    <a:lnTo>
                      <a:pt x="152" y="22"/>
                    </a:lnTo>
                    <a:lnTo>
                      <a:pt x="162" y="14"/>
                    </a:lnTo>
                    <a:lnTo>
                      <a:pt x="166" y="8"/>
                    </a:lnTo>
                    <a:lnTo>
                      <a:pt x="168" y="2"/>
                    </a:lnTo>
                    <a:lnTo>
                      <a:pt x="168" y="2"/>
                    </a:lnTo>
                    <a:lnTo>
                      <a:pt x="156" y="8"/>
                    </a:lnTo>
                    <a:lnTo>
                      <a:pt x="145" y="10"/>
                    </a:lnTo>
                    <a:lnTo>
                      <a:pt x="145" y="10"/>
                    </a:lnTo>
                    <a:lnTo>
                      <a:pt x="139" y="6"/>
                    </a:lnTo>
                    <a:lnTo>
                      <a:pt x="133" y="2"/>
                    </a:lnTo>
                    <a:lnTo>
                      <a:pt x="127" y="0"/>
                    </a:lnTo>
                    <a:lnTo>
                      <a:pt x="119" y="0"/>
                    </a:lnTo>
                    <a:lnTo>
                      <a:pt x="119" y="0"/>
                    </a:lnTo>
                    <a:lnTo>
                      <a:pt x="111" y="0"/>
                    </a:lnTo>
                    <a:lnTo>
                      <a:pt x="105" y="2"/>
                    </a:lnTo>
                    <a:lnTo>
                      <a:pt x="100" y="6"/>
                    </a:lnTo>
                    <a:lnTo>
                      <a:pt x="94" y="10"/>
                    </a:lnTo>
                    <a:lnTo>
                      <a:pt x="90" y="14"/>
                    </a:lnTo>
                    <a:lnTo>
                      <a:pt x="86" y="20"/>
                    </a:lnTo>
                    <a:lnTo>
                      <a:pt x="84" y="27"/>
                    </a:lnTo>
                    <a:lnTo>
                      <a:pt x="84" y="33"/>
                    </a:lnTo>
                    <a:lnTo>
                      <a:pt x="84" y="33"/>
                    </a:lnTo>
                    <a:lnTo>
                      <a:pt x="84" y="41"/>
                    </a:lnTo>
                    <a:lnTo>
                      <a:pt x="84" y="41"/>
                    </a:lnTo>
                    <a:lnTo>
                      <a:pt x="62" y="39"/>
                    </a:lnTo>
                    <a:lnTo>
                      <a:pt x="43" y="31"/>
                    </a:lnTo>
                    <a:lnTo>
                      <a:pt x="25" y="20"/>
                    </a:lnTo>
                    <a:lnTo>
                      <a:pt x="11" y="6"/>
                    </a:lnTo>
                    <a:lnTo>
                      <a:pt x="11" y="6"/>
                    </a:lnTo>
                    <a:lnTo>
                      <a:pt x="7" y="14"/>
                    </a:lnTo>
                    <a:lnTo>
                      <a:pt x="5" y="24"/>
                    </a:lnTo>
                    <a:lnTo>
                      <a:pt x="5" y="24"/>
                    </a:lnTo>
                    <a:lnTo>
                      <a:pt x="7" y="31"/>
                    </a:lnTo>
                    <a:lnTo>
                      <a:pt x="9" y="39"/>
                    </a:lnTo>
                    <a:lnTo>
                      <a:pt x="15" y="47"/>
                    </a:lnTo>
                    <a:lnTo>
                      <a:pt x="21" y="51"/>
                    </a:lnTo>
                    <a:lnTo>
                      <a:pt x="21" y="51"/>
                    </a:lnTo>
                    <a:lnTo>
                      <a:pt x="13" y="51"/>
                    </a:lnTo>
                    <a:lnTo>
                      <a:pt x="5" y="47"/>
                    </a:lnTo>
                    <a:lnTo>
                      <a:pt x="5" y="47"/>
                    </a:lnTo>
                    <a:lnTo>
                      <a:pt x="5" y="47"/>
                    </a:lnTo>
                    <a:lnTo>
                      <a:pt x="7" y="61"/>
                    </a:lnTo>
                    <a:lnTo>
                      <a:pt x="13" y="71"/>
                    </a:lnTo>
                    <a:lnTo>
                      <a:pt x="23" y="78"/>
                    </a:lnTo>
                    <a:lnTo>
                      <a:pt x="35" y="82"/>
                    </a:lnTo>
                    <a:lnTo>
                      <a:pt x="35" y="82"/>
                    </a:lnTo>
                    <a:lnTo>
                      <a:pt x="25" y="82"/>
                    </a:lnTo>
                    <a:lnTo>
                      <a:pt x="25" y="82"/>
                    </a:lnTo>
                    <a:lnTo>
                      <a:pt x="17" y="82"/>
                    </a:lnTo>
                    <a:lnTo>
                      <a:pt x="17" y="82"/>
                    </a:lnTo>
                    <a:lnTo>
                      <a:pt x="23" y="92"/>
                    </a:lnTo>
                    <a:lnTo>
                      <a:pt x="31" y="100"/>
                    </a:lnTo>
                    <a:lnTo>
                      <a:pt x="41" y="104"/>
                    </a:lnTo>
                    <a:lnTo>
                      <a:pt x="51" y="106"/>
                    </a:lnTo>
                    <a:lnTo>
                      <a:pt x="51" y="106"/>
                    </a:lnTo>
                    <a:lnTo>
                      <a:pt x="43" y="114"/>
                    </a:lnTo>
                    <a:lnTo>
                      <a:pt x="31" y="118"/>
                    </a:lnTo>
                    <a:lnTo>
                      <a:pt x="19" y="120"/>
                    </a:lnTo>
                    <a:lnTo>
                      <a:pt x="7" y="122"/>
                    </a:lnTo>
                    <a:lnTo>
                      <a:pt x="7" y="122"/>
                    </a:lnTo>
                    <a:lnTo>
                      <a:pt x="0" y="122"/>
                    </a:lnTo>
                    <a:lnTo>
                      <a:pt x="0" y="122"/>
                    </a:lnTo>
                    <a:lnTo>
                      <a:pt x="11" y="127"/>
                    </a:lnTo>
                    <a:lnTo>
                      <a:pt x="25" y="133"/>
                    </a:lnTo>
                    <a:lnTo>
                      <a:pt x="39" y="135"/>
                    </a:lnTo>
                    <a:lnTo>
                      <a:pt x="52" y="137"/>
                    </a:lnTo>
                    <a:lnTo>
                      <a:pt x="52" y="137"/>
                    </a:lnTo>
                    <a:lnTo>
                      <a:pt x="66" y="135"/>
                    </a:lnTo>
                    <a:lnTo>
                      <a:pt x="76" y="133"/>
                    </a:lnTo>
                    <a:lnTo>
                      <a:pt x="88" y="131"/>
                    </a:lnTo>
                    <a:lnTo>
                      <a:pt x="98" y="127"/>
                    </a:lnTo>
                    <a:lnTo>
                      <a:pt x="115" y="118"/>
                    </a:lnTo>
                    <a:lnTo>
                      <a:pt x="129" y="104"/>
                    </a:lnTo>
                    <a:lnTo>
                      <a:pt x="141" y="88"/>
                    </a:lnTo>
                    <a:lnTo>
                      <a:pt x="148" y="73"/>
                    </a:lnTo>
                    <a:lnTo>
                      <a:pt x="152" y="55"/>
                    </a:lnTo>
                    <a:lnTo>
                      <a:pt x="154" y="37"/>
                    </a:lnTo>
                    <a:lnTo>
                      <a:pt x="154" y="33"/>
                    </a:lnTo>
                    <a:lnTo>
                      <a:pt x="154" y="33"/>
                    </a:lnTo>
                    <a:lnTo>
                      <a:pt x="164" y="25"/>
                    </a:lnTo>
                    <a:lnTo>
                      <a:pt x="172" y="16"/>
                    </a:lnTo>
                    <a:lnTo>
                      <a:pt x="172" y="16"/>
                    </a:lnTo>
                  </a:path>
                </a:pathLst>
              </a:custGeom>
              <a:noFill/>
              <a:ln w="9525">
                <a:solidFill>
                  <a:srgbClr val="000000"/>
                </a:solidFill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19" name="Line 311">
                <a:extLst>
                  <a:ext uri="{FF2B5EF4-FFF2-40B4-BE49-F238E27FC236}">
                    <a16:creationId xmlns:a16="http://schemas.microsoft.com/office/drawing/2014/main" id="{A826FF4E-532E-4DD1-B274-001B32502AF6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205852" y="4028818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E32E4E7-336B-4C63-8B4C-CAAA67777FDC}"/>
                </a:ext>
              </a:extLst>
            </p:cNvPr>
            <p:cNvSpPr txBox="1"/>
            <p:nvPr/>
          </p:nvSpPr>
          <p:spPr>
            <a:xfrm>
              <a:off x="7277635" y="3967696"/>
              <a:ext cx="1461946" cy="264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@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iffchil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E5DE570-2DB5-41CC-BBCE-654FCD64AF41}"/>
              </a:ext>
            </a:extLst>
          </p:cNvPr>
          <p:cNvGrpSpPr/>
          <p:nvPr/>
        </p:nvGrpSpPr>
        <p:grpSpPr>
          <a:xfrm>
            <a:off x="563563" y="3621511"/>
            <a:ext cx="1889518" cy="439860"/>
            <a:chOff x="6850063" y="4548611"/>
            <a:chExt cx="1889518" cy="439860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9D916751-76E0-4AB3-8345-51834DFF4E1C}"/>
                </a:ext>
              </a:extLst>
            </p:cNvPr>
            <p:cNvGrpSpPr/>
            <p:nvPr/>
          </p:nvGrpSpPr>
          <p:grpSpPr>
            <a:xfrm>
              <a:off x="6850063" y="4548611"/>
              <a:ext cx="436858" cy="439860"/>
              <a:chOff x="6850063" y="4548611"/>
              <a:chExt cx="436858" cy="439860"/>
            </a:xfrm>
          </p:grpSpPr>
          <p:sp>
            <p:nvSpPr>
              <p:cNvPr id="23" name="Freeform 139">
                <a:extLst>
                  <a:ext uri="{FF2B5EF4-FFF2-40B4-BE49-F238E27FC236}">
                    <a16:creationId xmlns:a16="http://schemas.microsoft.com/office/drawing/2014/main" id="{DCDC08A9-B28E-4EDF-A900-3123F28579FF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6850063" y="4548611"/>
                <a:ext cx="436858" cy="439860"/>
              </a:xfrm>
              <a:custGeom>
                <a:avLst/>
                <a:gdLst>
                  <a:gd name="T0" fmla="*/ 145 w 291"/>
                  <a:gd name="T1" fmla="*/ 0 h 293"/>
                  <a:gd name="T2" fmla="*/ 174 w 291"/>
                  <a:gd name="T3" fmla="*/ 4 h 293"/>
                  <a:gd name="T4" fmla="*/ 201 w 291"/>
                  <a:gd name="T5" fmla="*/ 12 h 293"/>
                  <a:gd name="T6" fmla="*/ 227 w 291"/>
                  <a:gd name="T7" fmla="*/ 26 h 293"/>
                  <a:gd name="T8" fmla="*/ 248 w 291"/>
                  <a:gd name="T9" fmla="*/ 44 h 293"/>
                  <a:gd name="T10" fmla="*/ 266 w 291"/>
                  <a:gd name="T11" fmla="*/ 65 h 293"/>
                  <a:gd name="T12" fmla="*/ 280 w 291"/>
                  <a:gd name="T13" fmla="*/ 91 h 293"/>
                  <a:gd name="T14" fmla="*/ 288 w 291"/>
                  <a:gd name="T15" fmla="*/ 118 h 293"/>
                  <a:gd name="T16" fmla="*/ 291 w 291"/>
                  <a:gd name="T17" fmla="*/ 148 h 293"/>
                  <a:gd name="T18" fmla="*/ 291 w 291"/>
                  <a:gd name="T19" fmla="*/ 161 h 293"/>
                  <a:gd name="T20" fmla="*/ 286 w 291"/>
                  <a:gd name="T21" fmla="*/ 191 h 293"/>
                  <a:gd name="T22" fmla="*/ 274 w 291"/>
                  <a:gd name="T23" fmla="*/ 216 h 293"/>
                  <a:gd name="T24" fmla="*/ 258 w 291"/>
                  <a:gd name="T25" fmla="*/ 240 h 293"/>
                  <a:gd name="T26" fmla="*/ 239 w 291"/>
                  <a:gd name="T27" fmla="*/ 259 h 293"/>
                  <a:gd name="T28" fmla="*/ 215 w 291"/>
                  <a:gd name="T29" fmla="*/ 275 h 293"/>
                  <a:gd name="T30" fmla="*/ 190 w 291"/>
                  <a:gd name="T31" fmla="*/ 287 h 293"/>
                  <a:gd name="T32" fmla="*/ 160 w 291"/>
                  <a:gd name="T33" fmla="*/ 293 h 293"/>
                  <a:gd name="T34" fmla="*/ 145 w 291"/>
                  <a:gd name="T35" fmla="*/ 293 h 293"/>
                  <a:gd name="T36" fmla="*/ 115 w 291"/>
                  <a:gd name="T37" fmla="*/ 291 h 293"/>
                  <a:gd name="T38" fmla="*/ 88 w 291"/>
                  <a:gd name="T39" fmla="*/ 283 h 293"/>
                  <a:gd name="T40" fmla="*/ 64 w 291"/>
                  <a:gd name="T41" fmla="*/ 269 h 293"/>
                  <a:gd name="T42" fmla="*/ 41 w 291"/>
                  <a:gd name="T43" fmla="*/ 251 h 293"/>
                  <a:gd name="T44" fmla="*/ 23 w 291"/>
                  <a:gd name="T45" fmla="*/ 230 h 293"/>
                  <a:gd name="T46" fmla="*/ 9 w 291"/>
                  <a:gd name="T47" fmla="*/ 204 h 293"/>
                  <a:gd name="T48" fmla="*/ 2 w 291"/>
                  <a:gd name="T49" fmla="*/ 177 h 293"/>
                  <a:gd name="T50" fmla="*/ 0 w 291"/>
                  <a:gd name="T51" fmla="*/ 148 h 293"/>
                  <a:gd name="T52" fmla="*/ 0 w 291"/>
                  <a:gd name="T53" fmla="*/ 132 h 293"/>
                  <a:gd name="T54" fmla="*/ 5 w 291"/>
                  <a:gd name="T55" fmla="*/ 104 h 293"/>
                  <a:gd name="T56" fmla="*/ 17 w 291"/>
                  <a:gd name="T57" fmla="*/ 77 h 293"/>
                  <a:gd name="T58" fmla="*/ 33 w 291"/>
                  <a:gd name="T59" fmla="*/ 53 h 293"/>
                  <a:gd name="T60" fmla="*/ 52 w 291"/>
                  <a:gd name="T61" fmla="*/ 34 h 293"/>
                  <a:gd name="T62" fmla="*/ 76 w 291"/>
                  <a:gd name="T63" fmla="*/ 18 h 293"/>
                  <a:gd name="T64" fmla="*/ 101 w 291"/>
                  <a:gd name="T65" fmla="*/ 6 h 293"/>
                  <a:gd name="T66" fmla="*/ 131 w 291"/>
                  <a:gd name="T67" fmla="*/ 0 h 293"/>
                  <a:gd name="T68" fmla="*/ 145 w 291"/>
                  <a:gd name="T69" fmla="*/ 0 h 293"/>
                  <a:gd name="T70" fmla="*/ 145 w 291"/>
                  <a:gd name="T71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1" h="293">
                    <a:moveTo>
                      <a:pt x="145" y="0"/>
                    </a:moveTo>
                    <a:lnTo>
                      <a:pt x="145" y="0"/>
                    </a:lnTo>
                    <a:lnTo>
                      <a:pt x="160" y="0"/>
                    </a:lnTo>
                    <a:lnTo>
                      <a:pt x="174" y="4"/>
                    </a:lnTo>
                    <a:lnTo>
                      <a:pt x="190" y="6"/>
                    </a:lnTo>
                    <a:lnTo>
                      <a:pt x="201" y="12"/>
                    </a:lnTo>
                    <a:lnTo>
                      <a:pt x="215" y="18"/>
                    </a:lnTo>
                    <a:lnTo>
                      <a:pt x="227" y="26"/>
                    </a:lnTo>
                    <a:lnTo>
                      <a:pt x="239" y="34"/>
                    </a:lnTo>
                    <a:lnTo>
                      <a:pt x="248" y="44"/>
                    </a:lnTo>
                    <a:lnTo>
                      <a:pt x="258" y="53"/>
                    </a:lnTo>
                    <a:lnTo>
                      <a:pt x="266" y="65"/>
                    </a:lnTo>
                    <a:lnTo>
                      <a:pt x="274" y="77"/>
                    </a:lnTo>
                    <a:lnTo>
                      <a:pt x="280" y="91"/>
                    </a:lnTo>
                    <a:lnTo>
                      <a:pt x="286" y="104"/>
                    </a:lnTo>
                    <a:lnTo>
                      <a:pt x="288" y="118"/>
                    </a:lnTo>
                    <a:lnTo>
                      <a:pt x="291" y="132"/>
                    </a:lnTo>
                    <a:lnTo>
                      <a:pt x="291" y="148"/>
                    </a:lnTo>
                    <a:lnTo>
                      <a:pt x="291" y="148"/>
                    </a:lnTo>
                    <a:lnTo>
                      <a:pt x="291" y="161"/>
                    </a:lnTo>
                    <a:lnTo>
                      <a:pt x="288" y="177"/>
                    </a:lnTo>
                    <a:lnTo>
                      <a:pt x="286" y="191"/>
                    </a:lnTo>
                    <a:lnTo>
                      <a:pt x="280" y="204"/>
                    </a:lnTo>
                    <a:lnTo>
                      <a:pt x="274" y="216"/>
                    </a:lnTo>
                    <a:lnTo>
                      <a:pt x="266" y="230"/>
                    </a:lnTo>
                    <a:lnTo>
                      <a:pt x="258" y="240"/>
                    </a:lnTo>
                    <a:lnTo>
                      <a:pt x="248" y="251"/>
                    </a:lnTo>
                    <a:lnTo>
                      <a:pt x="239" y="259"/>
                    </a:lnTo>
                    <a:lnTo>
                      <a:pt x="227" y="269"/>
                    </a:lnTo>
                    <a:lnTo>
                      <a:pt x="215" y="275"/>
                    </a:lnTo>
                    <a:lnTo>
                      <a:pt x="201" y="283"/>
                    </a:lnTo>
                    <a:lnTo>
                      <a:pt x="190" y="287"/>
                    </a:lnTo>
                    <a:lnTo>
                      <a:pt x="174" y="291"/>
                    </a:lnTo>
                    <a:lnTo>
                      <a:pt x="160" y="293"/>
                    </a:lnTo>
                    <a:lnTo>
                      <a:pt x="145" y="293"/>
                    </a:lnTo>
                    <a:lnTo>
                      <a:pt x="145" y="293"/>
                    </a:lnTo>
                    <a:lnTo>
                      <a:pt x="131" y="293"/>
                    </a:lnTo>
                    <a:lnTo>
                      <a:pt x="115" y="291"/>
                    </a:lnTo>
                    <a:lnTo>
                      <a:pt x="101" y="287"/>
                    </a:lnTo>
                    <a:lnTo>
                      <a:pt x="88" y="283"/>
                    </a:lnTo>
                    <a:lnTo>
                      <a:pt x="76" y="275"/>
                    </a:lnTo>
                    <a:lnTo>
                      <a:pt x="64" y="269"/>
                    </a:lnTo>
                    <a:lnTo>
                      <a:pt x="52" y="259"/>
                    </a:lnTo>
                    <a:lnTo>
                      <a:pt x="41" y="251"/>
                    </a:lnTo>
                    <a:lnTo>
                      <a:pt x="33" y="240"/>
                    </a:lnTo>
                    <a:lnTo>
                      <a:pt x="23" y="230"/>
                    </a:lnTo>
                    <a:lnTo>
                      <a:pt x="17" y="216"/>
                    </a:lnTo>
                    <a:lnTo>
                      <a:pt x="9" y="204"/>
                    </a:lnTo>
                    <a:lnTo>
                      <a:pt x="5" y="191"/>
                    </a:lnTo>
                    <a:lnTo>
                      <a:pt x="2" y="177"/>
                    </a:lnTo>
                    <a:lnTo>
                      <a:pt x="0" y="161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32"/>
                    </a:lnTo>
                    <a:lnTo>
                      <a:pt x="2" y="118"/>
                    </a:lnTo>
                    <a:lnTo>
                      <a:pt x="5" y="104"/>
                    </a:lnTo>
                    <a:lnTo>
                      <a:pt x="9" y="91"/>
                    </a:lnTo>
                    <a:lnTo>
                      <a:pt x="17" y="77"/>
                    </a:lnTo>
                    <a:lnTo>
                      <a:pt x="23" y="65"/>
                    </a:lnTo>
                    <a:lnTo>
                      <a:pt x="33" y="53"/>
                    </a:lnTo>
                    <a:lnTo>
                      <a:pt x="41" y="44"/>
                    </a:lnTo>
                    <a:lnTo>
                      <a:pt x="52" y="34"/>
                    </a:lnTo>
                    <a:lnTo>
                      <a:pt x="64" y="26"/>
                    </a:lnTo>
                    <a:lnTo>
                      <a:pt x="76" y="18"/>
                    </a:lnTo>
                    <a:lnTo>
                      <a:pt x="88" y="12"/>
                    </a:lnTo>
                    <a:lnTo>
                      <a:pt x="101" y="6"/>
                    </a:lnTo>
                    <a:lnTo>
                      <a:pt x="115" y="4"/>
                    </a:lnTo>
                    <a:lnTo>
                      <a:pt x="131" y="0"/>
                    </a:lnTo>
                    <a:lnTo>
                      <a:pt x="145" y="0"/>
                    </a:lnTo>
                    <a:lnTo>
                      <a:pt x="145" y="0"/>
                    </a:lnTo>
                    <a:close/>
                    <a:moveTo>
                      <a:pt x="145" y="0"/>
                    </a:moveTo>
                    <a:lnTo>
                      <a:pt x="145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4" name="Freeform 140">
                <a:extLst>
                  <a:ext uri="{FF2B5EF4-FFF2-40B4-BE49-F238E27FC236}">
                    <a16:creationId xmlns:a16="http://schemas.microsoft.com/office/drawing/2014/main" id="{4B3B41CB-C4D2-4343-8B01-F654EE6C9C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850063" y="4548611"/>
                <a:ext cx="436858" cy="439860"/>
              </a:xfrm>
              <a:custGeom>
                <a:avLst/>
                <a:gdLst>
                  <a:gd name="T0" fmla="*/ 145 w 291"/>
                  <a:gd name="T1" fmla="*/ 0 h 293"/>
                  <a:gd name="T2" fmla="*/ 174 w 291"/>
                  <a:gd name="T3" fmla="*/ 4 h 293"/>
                  <a:gd name="T4" fmla="*/ 201 w 291"/>
                  <a:gd name="T5" fmla="*/ 12 h 293"/>
                  <a:gd name="T6" fmla="*/ 227 w 291"/>
                  <a:gd name="T7" fmla="*/ 26 h 293"/>
                  <a:gd name="T8" fmla="*/ 248 w 291"/>
                  <a:gd name="T9" fmla="*/ 44 h 293"/>
                  <a:gd name="T10" fmla="*/ 266 w 291"/>
                  <a:gd name="T11" fmla="*/ 65 h 293"/>
                  <a:gd name="T12" fmla="*/ 280 w 291"/>
                  <a:gd name="T13" fmla="*/ 91 h 293"/>
                  <a:gd name="T14" fmla="*/ 288 w 291"/>
                  <a:gd name="T15" fmla="*/ 118 h 293"/>
                  <a:gd name="T16" fmla="*/ 291 w 291"/>
                  <a:gd name="T17" fmla="*/ 148 h 293"/>
                  <a:gd name="T18" fmla="*/ 291 w 291"/>
                  <a:gd name="T19" fmla="*/ 161 h 293"/>
                  <a:gd name="T20" fmla="*/ 286 w 291"/>
                  <a:gd name="T21" fmla="*/ 191 h 293"/>
                  <a:gd name="T22" fmla="*/ 274 w 291"/>
                  <a:gd name="T23" fmla="*/ 216 h 293"/>
                  <a:gd name="T24" fmla="*/ 258 w 291"/>
                  <a:gd name="T25" fmla="*/ 240 h 293"/>
                  <a:gd name="T26" fmla="*/ 239 w 291"/>
                  <a:gd name="T27" fmla="*/ 259 h 293"/>
                  <a:gd name="T28" fmla="*/ 215 w 291"/>
                  <a:gd name="T29" fmla="*/ 275 h 293"/>
                  <a:gd name="T30" fmla="*/ 190 w 291"/>
                  <a:gd name="T31" fmla="*/ 287 h 293"/>
                  <a:gd name="T32" fmla="*/ 160 w 291"/>
                  <a:gd name="T33" fmla="*/ 293 h 293"/>
                  <a:gd name="T34" fmla="*/ 145 w 291"/>
                  <a:gd name="T35" fmla="*/ 293 h 293"/>
                  <a:gd name="T36" fmla="*/ 115 w 291"/>
                  <a:gd name="T37" fmla="*/ 291 h 293"/>
                  <a:gd name="T38" fmla="*/ 88 w 291"/>
                  <a:gd name="T39" fmla="*/ 283 h 293"/>
                  <a:gd name="T40" fmla="*/ 64 w 291"/>
                  <a:gd name="T41" fmla="*/ 269 h 293"/>
                  <a:gd name="T42" fmla="*/ 41 w 291"/>
                  <a:gd name="T43" fmla="*/ 251 h 293"/>
                  <a:gd name="T44" fmla="*/ 23 w 291"/>
                  <a:gd name="T45" fmla="*/ 230 h 293"/>
                  <a:gd name="T46" fmla="*/ 9 w 291"/>
                  <a:gd name="T47" fmla="*/ 204 h 293"/>
                  <a:gd name="T48" fmla="*/ 2 w 291"/>
                  <a:gd name="T49" fmla="*/ 177 h 293"/>
                  <a:gd name="T50" fmla="*/ 0 w 291"/>
                  <a:gd name="T51" fmla="*/ 148 h 293"/>
                  <a:gd name="T52" fmla="*/ 0 w 291"/>
                  <a:gd name="T53" fmla="*/ 132 h 293"/>
                  <a:gd name="T54" fmla="*/ 5 w 291"/>
                  <a:gd name="T55" fmla="*/ 104 h 293"/>
                  <a:gd name="T56" fmla="*/ 17 w 291"/>
                  <a:gd name="T57" fmla="*/ 77 h 293"/>
                  <a:gd name="T58" fmla="*/ 33 w 291"/>
                  <a:gd name="T59" fmla="*/ 53 h 293"/>
                  <a:gd name="T60" fmla="*/ 52 w 291"/>
                  <a:gd name="T61" fmla="*/ 34 h 293"/>
                  <a:gd name="T62" fmla="*/ 76 w 291"/>
                  <a:gd name="T63" fmla="*/ 18 h 293"/>
                  <a:gd name="T64" fmla="*/ 101 w 291"/>
                  <a:gd name="T65" fmla="*/ 6 h 293"/>
                  <a:gd name="T66" fmla="*/ 131 w 291"/>
                  <a:gd name="T67" fmla="*/ 0 h 293"/>
                  <a:gd name="T68" fmla="*/ 145 w 291"/>
                  <a:gd name="T69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1" h="293">
                    <a:moveTo>
                      <a:pt x="145" y="0"/>
                    </a:moveTo>
                    <a:lnTo>
                      <a:pt x="145" y="0"/>
                    </a:lnTo>
                    <a:lnTo>
                      <a:pt x="160" y="0"/>
                    </a:lnTo>
                    <a:lnTo>
                      <a:pt x="174" y="4"/>
                    </a:lnTo>
                    <a:lnTo>
                      <a:pt x="190" y="6"/>
                    </a:lnTo>
                    <a:lnTo>
                      <a:pt x="201" y="12"/>
                    </a:lnTo>
                    <a:lnTo>
                      <a:pt x="215" y="18"/>
                    </a:lnTo>
                    <a:lnTo>
                      <a:pt x="227" y="26"/>
                    </a:lnTo>
                    <a:lnTo>
                      <a:pt x="239" y="34"/>
                    </a:lnTo>
                    <a:lnTo>
                      <a:pt x="248" y="44"/>
                    </a:lnTo>
                    <a:lnTo>
                      <a:pt x="258" y="53"/>
                    </a:lnTo>
                    <a:lnTo>
                      <a:pt x="266" y="65"/>
                    </a:lnTo>
                    <a:lnTo>
                      <a:pt x="274" y="77"/>
                    </a:lnTo>
                    <a:lnTo>
                      <a:pt x="280" y="91"/>
                    </a:lnTo>
                    <a:lnTo>
                      <a:pt x="286" y="104"/>
                    </a:lnTo>
                    <a:lnTo>
                      <a:pt x="288" y="118"/>
                    </a:lnTo>
                    <a:lnTo>
                      <a:pt x="291" y="132"/>
                    </a:lnTo>
                    <a:lnTo>
                      <a:pt x="291" y="148"/>
                    </a:lnTo>
                    <a:lnTo>
                      <a:pt x="291" y="148"/>
                    </a:lnTo>
                    <a:lnTo>
                      <a:pt x="291" y="161"/>
                    </a:lnTo>
                    <a:lnTo>
                      <a:pt x="288" y="177"/>
                    </a:lnTo>
                    <a:lnTo>
                      <a:pt x="286" y="191"/>
                    </a:lnTo>
                    <a:lnTo>
                      <a:pt x="280" y="204"/>
                    </a:lnTo>
                    <a:lnTo>
                      <a:pt x="274" y="216"/>
                    </a:lnTo>
                    <a:lnTo>
                      <a:pt x="266" y="230"/>
                    </a:lnTo>
                    <a:lnTo>
                      <a:pt x="258" y="240"/>
                    </a:lnTo>
                    <a:lnTo>
                      <a:pt x="248" y="251"/>
                    </a:lnTo>
                    <a:lnTo>
                      <a:pt x="239" y="259"/>
                    </a:lnTo>
                    <a:lnTo>
                      <a:pt x="227" y="269"/>
                    </a:lnTo>
                    <a:lnTo>
                      <a:pt x="215" y="275"/>
                    </a:lnTo>
                    <a:lnTo>
                      <a:pt x="201" y="283"/>
                    </a:lnTo>
                    <a:lnTo>
                      <a:pt x="190" y="287"/>
                    </a:lnTo>
                    <a:lnTo>
                      <a:pt x="174" y="291"/>
                    </a:lnTo>
                    <a:lnTo>
                      <a:pt x="160" y="293"/>
                    </a:lnTo>
                    <a:lnTo>
                      <a:pt x="145" y="293"/>
                    </a:lnTo>
                    <a:lnTo>
                      <a:pt x="145" y="293"/>
                    </a:lnTo>
                    <a:lnTo>
                      <a:pt x="131" y="293"/>
                    </a:lnTo>
                    <a:lnTo>
                      <a:pt x="115" y="291"/>
                    </a:lnTo>
                    <a:lnTo>
                      <a:pt x="101" y="287"/>
                    </a:lnTo>
                    <a:lnTo>
                      <a:pt x="88" y="283"/>
                    </a:lnTo>
                    <a:lnTo>
                      <a:pt x="76" y="275"/>
                    </a:lnTo>
                    <a:lnTo>
                      <a:pt x="64" y="269"/>
                    </a:lnTo>
                    <a:lnTo>
                      <a:pt x="52" y="259"/>
                    </a:lnTo>
                    <a:lnTo>
                      <a:pt x="41" y="251"/>
                    </a:lnTo>
                    <a:lnTo>
                      <a:pt x="33" y="240"/>
                    </a:lnTo>
                    <a:lnTo>
                      <a:pt x="23" y="230"/>
                    </a:lnTo>
                    <a:lnTo>
                      <a:pt x="17" y="216"/>
                    </a:lnTo>
                    <a:lnTo>
                      <a:pt x="9" y="204"/>
                    </a:lnTo>
                    <a:lnTo>
                      <a:pt x="5" y="191"/>
                    </a:lnTo>
                    <a:lnTo>
                      <a:pt x="2" y="177"/>
                    </a:lnTo>
                    <a:lnTo>
                      <a:pt x="0" y="161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0" y="132"/>
                    </a:lnTo>
                    <a:lnTo>
                      <a:pt x="2" y="118"/>
                    </a:lnTo>
                    <a:lnTo>
                      <a:pt x="5" y="104"/>
                    </a:lnTo>
                    <a:lnTo>
                      <a:pt x="9" y="91"/>
                    </a:lnTo>
                    <a:lnTo>
                      <a:pt x="17" y="77"/>
                    </a:lnTo>
                    <a:lnTo>
                      <a:pt x="23" y="65"/>
                    </a:lnTo>
                    <a:lnTo>
                      <a:pt x="33" y="53"/>
                    </a:lnTo>
                    <a:lnTo>
                      <a:pt x="41" y="44"/>
                    </a:lnTo>
                    <a:lnTo>
                      <a:pt x="52" y="34"/>
                    </a:lnTo>
                    <a:lnTo>
                      <a:pt x="64" y="26"/>
                    </a:lnTo>
                    <a:lnTo>
                      <a:pt x="76" y="18"/>
                    </a:lnTo>
                    <a:lnTo>
                      <a:pt x="88" y="12"/>
                    </a:lnTo>
                    <a:lnTo>
                      <a:pt x="101" y="6"/>
                    </a:lnTo>
                    <a:lnTo>
                      <a:pt x="115" y="4"/>
                    </a:lnTo>
                    <a:lnTo>
                      <a:pt x="131" y="0"/>
                    </a:lnTo>
                    <a:lnTo>
                      <a:pt x="145" y="0"/>
                    </a:lnTo>
                    <a:lnTo>
                      <a:pt x="14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5" name="Line 141">
                <a:extLst>
                  <a:ext uri="{FF2B5EF4-FFF2-40B4-BE49-F238E27FC236}">
                    <a16:creationId xmlns:a16="http://schemas.microsoft.com/office/drawing/2014/main" id="{CD1557F8-FA3B-4B0B-8216-CD0A02527378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67741" y="4548611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6" name="Freeform 142">
                <a:extLst>
                  <a:ext uri="{FF2B5EF4-FFF2-40B4-BE49-F238E27FC236}">
                    <a16:creationId xmlns:a16="http://schemas.microsoft.com/office/drawing/2014/main" id="{11EC8DE7-93A8-4A5F-9D31-86BF0B03AE5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7013696" y="4658201"/>
                <a:ext cx="109590" cy="220681"/>
              </a:xfrm>
              <a:custGeom>
                <a:avLst/>
                <a:gdLst>
                  <a:gd name="T0" fmla="*/ 53 w 73"/>
                  <a:gd name="T1" fmla="*/ 28 h 147"/>
                  <a:gd name="T2" fmla="*/ 73 w 73"/>
                  <a:gd name="T3" fmla="*/ 28 h 147"/>
                  <a:gd name="T4" fmla="*/ 73 w 73"/>
                  <a:gd name="T5" fmla="*/ 0 h 147"/>
                  <a:gd name="T6" fmla="*/ 51 w 73"/>
                  <a:gd name="T7" fmla="*/ 0 h 147"/>
                  <a:gd name="T8" fmla="*/ 51 w 73"/>
                  <a:gd name="T9" fmla="*/ 0 h 147"/>
                  <a:gd name="T10" fmla="*/ 51 w 73"/>
                  <a:gd name="T11" fmla="*/ 0 h 147"/>
                  <a:gd name="T12" fmla="*/ 41 w 73"/>
                  <a:gd name="T13" fmla="*/ 2 h 147"/>
                  <a:gd name="T14" fmla="*/ 34 w 73"/>
                  <a:gd name="T15" fmla="*/ 4 h 147"/>
                  <a:gd name="T16" fmla="*/ 28 w 73"/>
                  <a:gd name="T17" fmla="*/ 8 h 147"/>
                  <a:gd name="T18" fmla="*/ 24 w 73"/>
                  <a:gd name="T19" fmla="*/ 12 h 147"/>
                  <a:gd name="T20" fmla="*/ 22 w 73"/>
                  <a:gd name="T21" fmla="*/ 16 h 147"/>
                  <a:gd name="T22" fmla="*/ 20 w 73"/>
                  <a:gd name="T23" fmla="*/ 22 h 147"/>
                  <a:gd name="T24" fmla="*/ 18 w 73"/>
                  <a:gd name="T25" fmla="*/ 33 h 147"/>
                  <a:gd name="T26" fmla="*/ 18 w 73"/>
                  <a:gd name="T27" fmla="*/ 33 h 147"/>
                  <a:gd name="T28" fmla="*/ 18 w 73"/>
                  <a:gd name="T29" fmla="*/ 47 h 147"/>
                  <a:gd name="T30" fmla="*/ 0 w 73"/>
                  <a:gd name="T31" fmla="*/ 47 h 147"/>
                  <a:gd name="T32" fmla="*/ 0 w 73"/>
                  <a:gd name="T33" fmla="*/ 75 h 147"/>
                  <a:gd name="T34" fmla="*/ 18 w 73"/>
                  <a:gd name="T35" fmla="*/ 75 h 147"/>
                  <a:gd name="T36" fmla="*/ 18 w 73"/>
                  <a:gd name="T37" fmla="*/ 147 h 147"/>
                  <a:gd name="T38" fmla="*/ 45 w 73"/>
                  <a:gd name="T39" fmla="*/ 147 h 147"/>
                  <a:gd name="T40" fmla="*/ 45 w 73"/>
                  <a:gd name="T41" fmla="*/ 75 h 147"/>
                  <a:gd name="T42" fmla="*/ 69 w 73"/>
                  <a:gd name="T43" fmla="*/ 75 h 147"/>
                  <a:gd name="T44" fmla="*/ 73 w 73"/>
                  <a:gd name="T45" fmla="*/ 47 h 147"/>
                  <a:gd name="T46" fmla="*/ 45 w 73"/>
                  <a:gd name="T47" fmla="*/ 47 h 147"/>
                  <a:gd name="T48" fmla="*/ 45 w 73"/>
                  <a:gd name="T49" fmla="*/ 37 h 147"/>
                  <a:gd name="T50" fmla="*/ 45 w 73"/>
                  <a:gd name="T51" fmla="*/ 37 h 147"/>
                  <a:gd name="T52" fmla="*/ 45 w 73"/>
                  <a:gd name="T53" fmla="*/ 33 h 147"/>
                  <a:gd name="T54" fmla="*/ 47 w 73"/>
                  <a:gd name="T55" fmla="*/ 31 h 147"/>
                  <a:gd name="T56" fmla="*/ 51 w 73"/>
                  <a:gd name="T57" fmla="*/ 29 h 147"/>
                  <a:gd name="T58" fmla="*/ 53 w 73"/>
                  <a:gd name="T59" fmla="*/ 28 h 147"/>
                  <a:gd name="T60" fmla="*/ 53 w 73"/>
                  <a:gd name="T61" fmla="*/ 28 h 147"/>
                  <a:gd name="T62" fmla="*/ 53 w 73"/>
                  <a:gd name="T63" fmla="*/ 28 h 147"/>
                  <a:gd name="T64" fmla="*/ 53 w 73"/>
                  <a:gd name="T65" fmla="*/ 2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</a:cxnLst>
                <a:rect l="0" t="0" r="r" b="b"/>
                <a:pathLst>
                  <a:path w="73" h="147">
                    <a:moveTo>
                      <a:pt x="53" y="28"/>
                    </a:moveTo>
                    <a:lnTo>
                      <a:pt x="73" y="28"/>
                    </a:lnTo>
                    <a:lnTo>
                      <a:pt x="73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41" y="2"/>
                    </a:lnTo>
                    <a:lnTo>
                      <a:pt x="34" y="4"/>
                    </a:lnTo>
                    <a:lnTo>
                      <a:pt x="28" y="8"/>
                    </a:lnTo>
                    <a:lnTo>
                      <a:pt x="24" y="12"/>
                    </a:lnTo>
                    <a:lnTo>
                      <a:pt x="22" y="16"/>
                    </a:lnTo>
                    <a:lnTo>
                      <a:pt x="20" y="22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8" y="47"/>
                    </a:lnTo>
                    <a:lnTo>
                      <a:pt x="0" y="47"/>
                    </a:lnTo>
                    <a:lnTo>
                      <a:pt x="0" y="75"/>
                    </a:lnTo>
                    <a:lnTo>
                      <a:pt x="18" y="75"/>
                    </a:lnTo>
                    <a:lnTo>
                      <a:pt x="18" y="147"/>
                    </a:lnTo>
                    <a:lnTo>
                      <a:pt x="45" y="147"/>
                    </a:lnTo>
                    <a:lnTo>
                      <a:pt x="45" y="75"/>
                    </a:lnTo>
                    <a:lnTo>
                      <a:pt x="69" y="75"/>
                    </a:lnTo>
                    <a:lnTo>
                      <a:pt x="73" y="47"/>
                    </a:lnTo>
                    <a:lnTo>
                      <a:pt x="45" y="4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3"/>
                    </a:lnTo>
                    <a:lnTo>
                      <a:pt x="47" y="31"/>
                    </a:lnTo>
                    <a:lnTo>
                      <a:pt x="51" y="29"/>
                    </a:lnTo>
                    <a:lnTo>
                      <a:pt x="53" y="28"/>
                    </a:lnTo>
                    <a:lnTo>
                      <a:pt x="53" y="28"/>
                    </a:lnTo>
                    <a:close/>
                    <a:moveTo>
                      <a:pt x="53" y="28"/>
                    </a:moveTo>
                    <a:lnTo>
                      <a:pt x="53" y="28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7" name="Freeform 143">
                <a:extLst>
                  <a:ext uri="{FF2B5EF4-FFF2-40B4-BE49-F238E27FC236}">
                    <a16:creationId xmlns:a16="http://schemas.microsoft.com/office/drawing/2014/main" id="{661867DE-3CFB-48BC-A1E4-ACDB1DD344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7013696" y="4658201"/>
                <a:ext cx="109590" cy="220681"/>
              </a:xfrm>
              <a:custGeom>
                <a:avLst/>
                <a:gdLst>
                  <a:gd name="T0" fmla="*/ 53 w 73"/>
                  <a:gd name="T1" fmla="*/ 28 h 147"/>
                  <a:gd name="T2" fmla="*/ 73 w 73"/>
                  <a:gd name="T3" fmla="*/ 28 h 147"/>
                  <a:gd name="T4" fmla="*/ 73 w 73"/>
                  <a:gd name="T5" fmla="*/ 0 h 147"/>
                  <a:gd name="T6" fmla="*/ 51 w 73"/>
                  <a:gd name="T7" fmla="*/ 0 h 147"/>
                  <a:gd name="T8" fmla="*/ 51 w 73"/>
                  <a:gd name="T9" fmla="*/ 0 h 147"/>
                  <a:gd name="T10" fmla="*/ 51 w 73"/>
                  <a:gd name="T11" fmla="*/ 0 h 147"/>
                  <a:gd name="T12" fmla="*/ 41 w 73"/>
                  <a:gd name="T13" fmla="*/ 2 h 147"/>
                  <a:gd name="T14" fmla="*/ 34 w 73"/>
                  <a:gd name="T15" fmla="*/ 4 h 147"/>
                  <a:gd name="T16" fmla="*/ 28 w 73"/>
                  <a:gd name="T17" fmla="*/ 8 h 147"/>
                  <a:gd name="T18" fmla="*/ 24 w 73"/>
                  <a:gd name="T19" fmla="*/ 12 h 147"/>
                  <a:gd name="T20" fmla="*/ 22 w 73"/>
                  <a:gd name="T21" fmla="*/ 16 h 147"/>
                  <a:gd name="T22" fmla="*/ 20 w 73"/>
                  <a:gd name="T23" fmla="*/ 22 h 147"/>
                  <a:gd name="T24" fmla="*/ 18 w 73"/>
                  <a:gd name="T25" fmla="*/ 33 h 147"/>
                  <a:gd name="T26" fmla="*/ 18 w 73"/>
                  <a:gd name="T27" fmla="*/ 33 h 147"/>
                  <a:gd name="T28" fmla="*/ 18 w 73"/>
                  <a:gd name="T29" fmla="*/ 47 h 147"/>
                  <a:gd name="T30" fmla="*/ 0 w 73"/>
                  <a:gd name="T31" fmla="*/ 47 h 147"/>
                  <a:gd name="T32" fmla="*/ 0 w 73"/>
                  <a:gd name="T33" fmla="*/ 75 h 147"/>
                  <a:gd name="T34" fmla="*/ 18 w 73"/>
                  <a:gd name="T35" fmla="*/ 75 h 147"/>
                  <a:gd name="T36" fmla="*/ 18 w 73"/>
                  <a:gd name="T37" fmla="*/ 147 h 147"/>
                  <a:gd name="T38" fmla="*/ 45 w 73"/>
                  <a:gd name="T39" fmla="*/ 147 h 147"/>
                  <a:gd name="T40" fmla="*/ 45 w 73"/>
                  <a:gd name="T41" fmla="*/ 75 h 147"/>
                  <a:gd name="T42" fmla="*/ 69 w 73"/>
                  <a:gd name="T43" fmla="*/ 75 h 147"/>
                  <a:gd name="T44" fmla="*/ 73 w 73"/>
                  <a:gd name="T45" fmla="*/ 47 h 147"/>
                  <a:gd name="T46" fmla="*/ 45 w 73"/>
                  <a:gd name="T47" fmla="*/ 47 h 147"/>
                  <a:gd name="T48" fmla="*/ 45 w 73"/>
                  <a:gd name="T49" fmla="*/ 37 h 147"/>
                  <a:gd name="T50" fmla="*/ 45 w 73"/>
                  <a:gd name="T51" fmla="*/ 37 h 147"/>
                  <a:gd name="T52" fmla="*/ 45 w 73"/>
                  <a:gd name="T53" fmla="*/ 33 h 147"/>
                  <a:gd name="T54" fmla="*/ 47 w 73"/>
                  <a:gd name="T55" fmla="*/ 31 h 147"/>
                  <a:gd name="T56" fmla="*/ 51 w 73"/>
                  <a:gd name="T57" fmla="*/ 29 h 147"/>
                  <a:gd name="T58" fmla="*/ 53 w 73"/>
                  <a:gd name="T59" fmla="*/ 28 h 147"/>
                  <a:gd name="T60" fmla="*/ 53 w 73"/>
                  <a:gd name="T61" fmla="*/ 28 h 14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</a:cxnLst>
                <a:rect l="0" t="0" r="r" b="b"/>
                <a:pathLst>
                  <a:path w="73" h="147">
                    <a:moveTo>
                      <a:pt x="53" y="28"/>
                    </a:moveTo>
                    <a:lnTo>
                      <a:pt x="73" y="28"/>
                    </a:lnTo>
                    <a:lnTo>
                      <a:pt x="73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51" y="0"/>
                    </a:lnTo>
                    <a:lnTo>
                      <a:pt x="41" y="2"/>
                    </a:lnTo>
                    <a:lnTo>
                      <a:pt x="34" y="4"/>
                    </a:lnTo>
                    <a:lnTo>
                      <a:pt x="28" y="8"/>
                    </a:lnTo>
                    <a:lnTo>
                      <a:pt x="24" y="12"/>
                    </a:lnTo>
                    <a:lnTo>
                      <a:pt x="22" y="16"/>
                    </a:lnTo>
                    <a:lnTo>
                      <a:pt x="20" y="22"/>
                    </a:lnTo>
                    <a:lnTo>
                      <a:pt x="18" y="33"/>
                    </a:lnTo>
                    <a:lnTo>
                      <a:pt x="18" y="33"/>
                    </a:lnTo>
                    <a:lnTo>
                      <a:pt x="18" y="47"/>
                    </a:lnTo>
                    <a:lnTo>
                      <a:pt x="0" y="47"/>
                    </a:lnTo>
                    <a:lnTo>
                      <a:pt x="0" y="75"/>
                    </a:lnTo>
                    <a:lnTo>
                      <a:pt x="18" y="75"/>
                    </a:lnTo>
                    <a:lnTo>
                      <a:pt x="18" y="147"/>
                    </a:lnTo>
                    <a:lnTo>
                      <a:pt x="45" y="147"/>
                    </a:lnTo>
                    <a:lnTo>
                      <a:pt x="45" y="75"/>
                    </a:lnTo>
                    <a:lnTo>
                      <a:pt x="69" y="75"/>
                    </a:lnTo>
                    <a:lnTo>
                      <a:pt x="73" y="47"/>
                    </a:lnTo>
                    <a:lnTo>
                      <a:pt x="45" y="47"/>
                    </a:lnTo>
                    <a:lnTo>
                      <a:pt x="45" y="37"/>
                    </a:lnTo>
                    <a:lnTo>
                      <a:pt x="45" y="37"/>
                    </a:lnTo>
                    <a:lnTo>
                      <a:pt x="45" y="33"/>
                    </a:lnTo>
                    <a:lnTo>
                      <a:pt x="47" y="31"/>
                    </a:lnTo>
                    <a:lnTo>
                      <a:pt x="51" y="29"/>
                    </a:lnTo>
                    <a:lnTo>
                      <a:pt x="53" y="28"/>
                    </a:lnTo>
                    <a:lnTo>
                      <a:pt x="53" y="28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28" name="Line 144">
                <a:extLst>
                  <a:ext uri="{FF2B5EF4-FFF2-40B4-BE49-F238E27FC236}">
                    <a16:creationId xmlns:a16="http://schemas.microsoft.com/office/drawing/2014/main" id="{53DE32F8-D6C9-495F-A715-8D0E58AF2B3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7093262" y="4700235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D74E15DD-A83B-4212-9387-07F37F699CF8}"/>
                </a:ext>
              </a:extLst>
            </p:cNvPr>
            <p:cNvSpPr txBox="1"/>
            <p:nvPr/>
          </p:nvSpPr>
          <p:spPr>
            <a:xfrm>
              <a:off x="7277635" y="4651227"/>
              <a:ext cx="1461946" cy="264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@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iffglobal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11BBE52-03DB-474F-8406-B51BA7EB60CF}"/>
              </a:ext>
            </a:extLst>
          </p:cNvPr>
          <p:cNvGrpSpPr/>
          <p:nvPr/>
        </p:nvGrpSpPr>
        <p:grpSpPr>
          <a:xfrm>
            <a:off x="2826761" y="2953010"/>
            <a:ext cx="1884478" cy="439860"/>
            <a:chOff x="9113261" y="3880110"/>
            <a:chExt cx="1884478" cy="439860"/>
          </a:xfrm>
        </p:grpSpPr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1A8CED64-D0FF-4F19-94C2-8FB2B6FF12A2}"/>
                </a:ext>
              </a:extLst>
            </p:cNvPr>
            <p:cNvGrpSpPr/>
            <p:nvPr/>
          </p:nvGrpSpPr>
          <p:grpSpPr>
            <a:xfrm>
              <a:off x="9113261" y="3880110"/>
              <a:ext cx="439860" cy="439860"/>
              <a:chOff x="9113261" y="3880110"/>
              <a:chExt cx="439860" cy="439860"/>
            </a:xfrm>
          </p:grpSpPr>
          <p:sp>
            <p:nvSpPr>
              <p:cNvPr id="32" name="Freeform 199">
                <a:extLst>
                  <a:ext uri="{FF2B5EF4-FFF2-40B4-BE49-F238E27FC236}">
                    <a16:creationId xmlns:a16="http://schemas.microsoft.com/office/drawing/2014/main" id="{5ADCFDB8-FB14-4CFB-B61B-02A7249C2A2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113261" y="3880110"/>
                <a:ext cx="439860" cy="439860"/>
              </a:xfrm>
              <a:custGeom>
                <a:avLst/>
                <a:gdLst>
                  <a:gd name="T0" fmla="*/ 146 w 293"/>
                  <a:gd name="T1" fmla="*/ 0 h 293"/>
                  <a:gd name="T2" fmla="*/ 176 w 293"/>
                  <a:gd name="T3" fmla="*/ 4 h 293"/>
                  <a:gd name="T4" fmla="*/ 203 w 293"/>
                  <a:gd name="T5" fmla="*/ 12 h 293"/>
                  <a:gd name="T6" fmla="*/ 229 w 293"/>
                  <a:gd name="T7" fmla="*/ 26 h 293"/>
                  <a:gd name="T8" fmla="*/ 250 w 293"/>
                  <a:gd name="T9" fmla="*/ 44 h 293"/>
                  <a:gd name="T10" fmla="*/ 268 w 293"/>
                  <a:gd name="T11" fmla="*/ 65 h 293"/>
                  <a:gd name="T12" fmla="*/ 282 w 293"/>
                  <a:gd name="T13" fmla="*/ 91 h 293"/>
                  <a:gd name="T14" fmla="*/ 289 w 293"/>
                  <a:gd name="T15" fmla="*/ 118 h 293"/>
                  <a:gd name="T16" fmla="*/ 293 w 293"/>
                  <a:gd name="T17" fmla="*/ 148 h 293"/>
                  <a:gd name="T18" fmla="*/ 291 w 293"/>
                  <a:gd name="T19" fmla="*/ 161 h 293"/>
                  <a:gd name="T20" fmla="*/ 286 w 293"/>
                  <a:gd name="T21" fmla="*/ 191 h 293"/>
                  <a:gd name="T22" fmla="*/ 276 w 293"/>
                  <a:gd name="T23" fmla="*/ 216 h 293"/>
                  <a:gd name="T24" fmla="*/ 258 w 293"/>
                  <a:gd name="T25" fmla="*/ 240 h 293"/>
                  <a:gd name="T26" fmla="*/ 239 w 293"/>
                  <a:gd name="T27" fmla="*/ 259 h 293"/>
                  <a:gd name="T28" fmla="*/ 215 w 293"/>
                  <a:gd name="T29" fmla="*/ 275 h 293"/>
                  <a:gd name="T30" fmla="*/ 190 w 293"/>
                  <a:gd name="T31" fmla="*/ 287 h 293"/>
                  <a:gd name="T32" fmla="*/ 160 w 293"/>
                  <a:gd name="T33" fmla="*/ 293 h 293"/>
                  <a:gd name="T34" fmla="*/ 146 w 293"/>
                  <a:gd name="T35" fmla="*/ 293 h 293"/>
                  <a:gd name="T36" fmla="*/ 117 w 293"/>
                  <a:gd name="T37" fmla="*/ 291 h 293"/>
                  <a:gd name="T38" fmla="*/ 90 w 293"/>
                  <a:gd name="T39" fmla="*/ 283 h 293"/>
                  <a:gd name="T40" fmla="*/ 64 w 293"/>
                  <a:gd name="T41" fmla="*/ 269 h 293"/>
                  <a:gd name="T42" fmla="*/ 43 w 293"/>
                  <a:gd name="T43" fmla="*/ 251 h 293"/>
                  <a:gd name="T44" fmla="*/ 25 w 293"/>
                  <a:gd name="T45" fmla="*/ 230 h 293"/>
                  <a:gd name="T46" fmla="*/ 11 w 293"/>
                  <a:gd name="T47" fmla="*/ 204 h 293"/>
                  <a:gd name="T48" fmla="*/ 3 w 293"/>
                  <a:gd name="T49" fmla="*/ 177 h 293"/>
                  <a:gd name="T50" fmla="*/ 0 w 293"/>
                  <a:gd name="T51" fmla="*/ 148 h 293"/>
                  <a:gd name="T52" fmla="*/ 2 w 293"/>
                  <a:gd name="T53" fmla="*/ 132 h 293"/>
                  <a:gd name="T54" fmla="*/ 7 w 293"/>
                  <a:gd name="T55" fmla="*/ 104 h 293"/>
                  <a:gd name="T56" fmla="*/ 17 w 293"/>
                  <a:gd name="T57" fmla="*/ 77 h 293"/>
                  <a:gd name="T58" fmla="*/ 33 w 293"/>
                  <a:gd name="T59" fmla="*/ 53 h 293"/>
                  <a:gd name="T60" fmla="*/ 52 w 293"/>
                  <a:gd name="T61" fmla="*/ 34 h 293"/>
                  <a:gd name="T62" fmla="*/ 76 w 293"/>
                  <a:gd name="T63" fmla="*/ 18 h 293"/>
                  <a:gd name="T64" fmla="*/ 103 w 293"/>
                  <a:gd name="T65" fmla="*/ 6 h 293"/>
                  <a:gd name="T66" fmla="*/ 131 w 293"/>
                  <a:gd name="T67" fmla="*/ 0 h 293"/>
                  <a:gd name="T68" fmla="*/ 146 w 293"/>
                  <a:gd name="T69" fmla="*/ 0 h 293"/>
                  <a:gd name="T70" fmla="*/ 146 w 293"/>
                  <a:gd name="T71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</a:cxnLst>
                <a:rect l="0" t="0" r="r" b="b"/>
                <a:pathLst>
                  <a:path w="293" h="293">
                    <a:moveTo>
                      <a:pt x="146" y="0"/>
                    </a:moveTo>
                    <a:lnTo>
                      <a:pt x="146" y="0"/>
                    </a:lnTo>
                    <a:lnTo>
                      <a:pt x="160" y="0"/>
                    </a:lnTo>
                    <a:lnTo>
                      <a:pt x="176" y="4"/>
                    </a:lnTo>
                    <a:lnTo>
                      <a:pt x="190" y="6"/>
                    </a:lnTo>
                    <a:lnTo>
                      <a:pt x="203" y="12"/>
                    </a:lnTo>
                    <a:lnTo>
                      <a:pt x="215" y="18"/>
                    </a:lnTo>
                    <a:lnTo>
                      <a:pt x="229" y="26"/>
                    </a:lnTo>
                    <a:lnTo>
                      <a:pt x="239" y="34"/>
                    </a:lnTo>
                    <a:lnTo>
                      <a:pt x="250" y="44"/>
                    </a:lnTo>
                    <a:lnTo>
                      <a:pt x="258" y="53"/>
                    </a:lnTo>
                    <a:lnTo>
                      <a:pt x="268" y="65"/>
                    </a:lnTo>
                    <a:lnTo>
                      <a:pt x="276" y="77"/>
                    </a:lnTo>
                    <a:lnTo>
                      <a:pt x="282" y="91"/>
                    </a:lnTo>
                    <a:lnTo>
                      <a:pt x="286" y="104"/>
                    </a:lnTo>
                    <a:lnTo>
                      <a:pt x="289" y="118"/>
                    </a:lnTo>
                    <a:lnTo>
                      <a:pt x="291" y="132"/>
                    </a:lnTo>
                    <a:lnTo>
                      <a:pt x="293" y="148"/>
                    </a:lnTo>
                    <a:lnTo>
                      <a:pt x="293" y="148"/>
                    </a:lnTo>
                    <a:lnTo>
                      <a:pt x="291" y="161"/>
                    </a:lnTo>
                    <a:lnTo>
                      <a:pt x="289" y="177"/>
                    </a:lnTo>
                    <a:lnTo>
                      <a:pt x="286" y="191"/>
                    </a:lnTo>
                    <a:lnTo>
                      <a:pt x="282" y="204"/>
                    </a:lnTo>
                    <a:lnTo>
                      <a:pt x="276" y="216"/>
                    </a:lnTo>
                    <a:lnTo>
                      <a:pt x="268" y="230"/>
                    </a:lnTo>
                    <a:lnTo>
                      <a:pt x="258" y="240"/>
                    </a:lnTo>
                    <a:lnTo>
                      <a:pt x="250" y="251"/>
                    </a:lnTo>
                    <a:lnTo>
                      <a:pt x="239" y="259"/>
                    </a:lnTo>
                    <a:lnTo>
                      <a:pt x="229" y="269"/>
                    </a:lnTo>
                    <a:lnTo>
                      <a:pt x="215" y="275"/>
                    </a:lnTo>
                    <a:lnTo>
                      <a:pt x="203" y="283"/>
                    </a:lnTo>
                    <a:lnTo>
                      <a:pt x="190" y="287"/>
                    </a:lnTo>
                    <a:lnTo>
                      <a:pt x="176" y="291"/>
                    </a:lnTo>
                    <a:lnTo>
                      <a:pt x="160" y="293"/>
                    </a:lnTo>
                    <a:lnTo>
                      <a:pt x="146" y="293"/>
                    </a:lnTo>
                    <a:lnTo>
                      <a:pt x="146" y="293"/>
                    </a:lnTo>
                    <a:lnTo>
                      <a:pt x="131" y="293"/>
                    </a:lnTo>
                    <a:lnTo>
                      <a:pt x="117" y="291"/>
                    </a:lnTo>
                    <a:lnTo>
                      <a:pt x="103" y="287"/>
                    </a:lnTo>
                    <a:lnTo>
                      <a:pt x="90" y="283"/>
                    </a:lnTo>
                    <a:lnTo>
                      <a:pt x="76" y="275"/>
                    </a:lnTo>
                    <a:lnTo>
                      <a:pt x="64" y="269"/>
                    </a:lnTo>
                    <a:lnTo>
                      <a:pt x="52" y="259"/>
                    </a:lnTo>
                    <a:lnTo>
                      <a:pt x="43" y="251"/>
                    </a:lnTo>
                    <a:lnTo>
                      <a:pt x="33" y="240"/>
                    </a:lnTo>
                    <a:lnTo>
                      <a:pt x="25" y="230"/>
                    </a:lnTo>
                    <a:lnTo>
                      <a:pt x="17" y="216"/>
                    </a:lnTo>
                    <a:lnTo>
                      <a:pt x="11" y="204"/>
                    </a:lnTo>
                    <a:lnTo>
                      <a:pt x="7" y="191"/>
                    </a:lnTo>
                    <a:lnTo>
                      <a:pt x="3" y="177"/>
                    </a:lnTo>
                    <a:lnTo>
                      <a:pt x="2" y="161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2" y="132"/>
                    </a:lnTo>
                    <a:lnTo>
                      <a:pt x="3" y="118"/>
                    </a:lnTo>
                    <a:lnTo>
                      <a:pt x="7" y="104"/>
                    </a:lnTo>
                    <a:lnTo>
                      <a:pt x="11" y="91"/>
                    </a:lnTo>
                    <a:lnTo>
                      <a:pt x="17" y="77"/>
                    </a:lnTo>
                    <a:lnTo>
                      <a:pt x="25" y="65"/>
                    </a:lnTo>
                    <a:lnTo>
                      <a:pt x="33" y="53"/>
                    </a:lnTo>
                    <a:lnTo>
                      <a:pt x="43" y="44"/>
                    </a:lnTo>
                    <a:lnTo>
                      <a:pt x="52" y="34"/>
                    </a:lnTo>
                    <a:lnTo>
                      <a:pt x="64" y="26"/>
                    </a:lnTo>
                    <a:lnTo>
                      <a:pt x="76" y="18"/>
                    </a:lnTo>
                    <a:lnTo>
                      <a:pt x="90" y="12"/>
                    </a:lnTo>
                    <a:lnTo>
                      <a:pt x="103" y="6"/>
                    </a:lnTo>
                    <a:lnTo>
                      <a:pt x="117" y="4"/>
                    </a:lnTo>
                    <a:lnTo>
                      <a:pt x="131" y="0"/>
                    </a:lnTo>
                    <a:lnTo>
                      <a:pt x="146" y="0"/>
                    </a:lnTo>
                    <a:lnTo>
                      <a:pt x="146" y="0"/>
                    </a:lnTo>
                    <a:close/>
                    <a:moveTo>
                      <a:pt x="146" y="0"/>
                    </a:moveTo>
                    <a:lnTo>
                      <a:pt x="146" y="0"/>
                    </a:lnTo>
                    <a:close/>
                  </a:path>
                </a:pathLst>
              </a:custGeom>
              <a:solidFill>
                <a:schemeClr val="tx1">
                  <a:lumMod val="85000"/>
                  <a:lumOff val="15000"/>
                </a:schemeClr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3" name="Freeform 200">
                <a:extLst>
                  <a:ext uri="{FF2B5EF4-FFF2-40B4-BE49-F238E27FC236}">
                    <a16:creationId xmlns:a16="http://schemas.microsoft.com/office/drawing/2014/main" id="{3D29D076-FEEF-4C6D-993F-586D28E5175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113261" y="3880110"/>
                <a:ext cx="439860" cy="439860"/>
              </a:xfrm>
              <a:custGeom>
                <a:avLst/>
                <a:gdLst>
                  <a:gd name="T0" fmla="*/ 146 w 293"/>
                  <a:gd name="T1" fmla="*/ 0 h 293"/>
                  <a:gd name="T2" fmla="*/ 176 w 293"/>
                  <a:gd name="T3" fmla="*/ 4 h 293"/>
                  <a:gd name="T4" fmla="*/ 203 w 293"/>
                  <a:gd name="T5" fmla="*/ 12 h 293"/>
                  <a:gd name="T6" fmla="*/ 229 w 293"/>
                  <a:gd name="T7" fmla="*/ 26 h 293"/>
                  <a:gd name="T8" fmla="*/ 250 w 293"/>
                  <a:gd name="T9" fmla="*/ 44 h 293"/>
                  <a:gd name="T10" fmla="*/ 268 w 293"/>
                  <a:gd name="T11" fmla="*/ 65 h 293"/>
                  <a:gd name="T12" fmla="*/ 282 w 293"/>
                  <a:gd name="T13" fmla="*/ 91 h 293"/>
                  <a:gd name="T14" fmla="*/ 289 w 293"/>
                  <a:gd name="T15" fmla="*/ 118 h 293"/>
                  <a:gd name="T16" fmla="*/ 293 w 293"/>
                  <a:gd name="T17" fmla="*/ 148 h 293"/>
                  <a:gd name="T18" fmla="*/ 291 w 293"/>
                  <a:gd name="T19" fmla="*/ 161 h 293"/>
                  <a:gd name="T20" fmla="*/ 286 w 293"/>
                  <a:gd name="T21" fmla="*/ 191 h 293"/>
                  <a:gd name="T22" fmla="*/ 276 w 293"/>
                  <a:gd name="T23" fmla="*/ 216 h 293"/>
                  <a:gd name="T24" fmla="*/ 258 w 293"/>
                  <a:gd name="T25" fmla="*/ 240 h 293"/>
                  <a:gd name="T26" fmla="*/ 239 w 293"/>
                  <a:gd name="T27" fmla="*/ 259 h 293"/>
                  <a:gd name="T28" fmla="*/ 215 w 293"/>
                  <a:gd name="T29" fmla="*/ 275 h 293"/>
                  <a:gd name="T30" fmla="*/ 190 w 293"/>
                  <a:gd name="T31" fmla="*/ 287 h 293"/>
                  <a:gd name="T32" fmla="*/ 160 w 293"/>
                  <a:gd name="T33" fmla="*/ 293 h 293"/>
                  <a:gd name="T34" fmla="*/ 146 w 293"/>
                  <a:gd name="T35" fmla="*/ 293 h 293"/>
                  <a:gd name="T36" fmla="*/ 117 w 293"/>
                  <a:gd name="T37" fmla="*/ 291 h 293"/>
                  <a:gd name="T38" fmla="*/ 90 w 293"/>
                  <a:gd name="T39" fmla="*/ 283 h 293"/>
                  <a:gd name="T40" fmla="*/ 64 w 293"/>
                  <a:gd name="T41" fmla="*/ 269 h 293"/>
                  <a:gd name="T42" fmla="*/ 43 w 293"/>
                  <a:gd name="T43" fmla="*/ 251 h 293"/>
                  <a:gd name="T44" fmla="*/ 25 w 293"/>
                  <a:gd name="T45" fmla="*/ 230 h 293"/>
                  <a:gd name="T46" fmla="*/ 11 w 293"/>
                  <a:gd name="T47" fmla="*/ 204 h 293"/>
                  <a:gd name="T48" fmla="*/ 3 w 293"/>
                  <a:gd name="T49" fmla="*/ 177 h 293"/>
                  <a:gd name="T50" fmla="*/ 0 w 293"/>
                  <a:gd name="T51" fmla="*/ 148 h 293"/>
                  <a:gd name="T52" fmla="*/ 2 w 293"/>
                  <a:gd name="T53" fmla="*/ 132 h 293"/>
                  <a:gd name="T54" fmla="*/ 7 w 293"/>
                  <a:gd name="T55" fmla="*/ 104 h 293"/>
                  <a:gd name="T56" fmla="*/ 17 w 293"/>
                  <a:gd name="T57" fmla="*/ 77 h 293"/>
                  <a:gd name="T58" fmla="*/ 33 w 293"/>
                  <a:gd name="T59" fmla="*/ 53 h 293"/>
                  <a:gd name="T60" fmla="*/ 52 w 293"/>
                  <a:gd name="T61" fmla="*/ 34 h 293"/>
                  <a:gd name="T62" fmla="*/ 76 w 293"/>
                  <a:gd name="T63" fmla="*/ 18 h 293"/>
                  <a:gd name="T64" fmla="*/ 103 w 293"/>
                  <a:gd name="T65" fmla="*/ 6 h 293"/>
                  <a:gd name="T66" fmla="*/ 131 w 293"/>
                  <a:gd name="T67" fmla="*/ 0 h 293"/>
                  <a:gd name="T68" fmla="*/ 146 w 293"/>
                  <a:gd name="T69" fmla="*/ 0 h 29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</a:cxnLst>
                <a:rect l="0" t="0" r="r" b="b"/>
                <a:pathLst>
                  <a:path w="293" h="293">
                    <a:moveTo>
                      <a:pt x="146" y="0"/>
                    </a:moveTo>
                    <a:lnTo>
                      <a:pt x="146" y="0"/>
                    </a:lnTo>
                    <a:lnTo>
                      <a:pt x="160" y="0"/>
                    </a:lnTo>
                    <a:lnTo>
                      <a:pt x="176" y="4"/>
                    </a:lnTo>
                    <a:lnTo>
                      <a:pt x="190" y="6"/>
                    </a:lnTo>
                    <a:lnTo>
                      <a:pt x="203" y="12"/>
                    </a:lnTo>
                    <a:lnTo>
                      <a:pt x="215" y="18"/>
                    </a:lnTo>
                    <a:lnTo>
                      <a:pt x="229" y="26"/>
                    </a:lnTo>
                    <a:lnTo>
                      <a:pt x="239" y="34"/>
                    </a:lnTo>
                    <a:lnTo>
                      <a:pt x="250" y="44"/>
                    </a:lnTo>
                    <a:lnTo>
                      <a:pt x="258" y="53"/>
                    </a:lnTo>
                    <a:lnTo>
                      <a:pt x="268" y="65"/>
                    </a:lnTo>
                    <a:lnTo>
                      <a:pt x="276" y="77"/>
                    </a:lnTo>
                    <a:lnTo>
                      <a:pt x="282" y="91"/>
                    </a:lnTo>
                    <a:lnTo>
                      <a:pt x="286" y="104"/>
                    </a:lnTo>
                    <a:lnTo>
                      <a:pt x="289" y="118"/>
                    </a:lnTo>
                    <a:lnTo>
                      <a:pt x="291" y="132"/>
                    </a:lnTo>
                    <a:lnTo>
                      <a:pt x="293" y="148"/>
                    </a:lnTo>
                    <a:lnTo>
                      <a:pt x="293" y="148"/>
                    </a:lnTo>
                    <a:lnTo>
                      <a:pt x="291" y="161"/>
                    </a:lnTo>
                    <a:lnTo>
                      <a:pt x="289" y="177"/>
                    </a:lnTo>
                    <a:lnTo>
                      <a:pt x="286" y="191"/>
                    </a:lnTo>
                    <a:lnTo>
                      <a:pt x="282" y="204"/>
                    </a:lnTo>
                    <a:lnTo>
                      <a:pt x="276" y="216"/>
                    </a:lnTo>
                    <a:lnTo>
                      <a:pt x="268" y="230"/>
                    </a:lnTo>
                    <a:lnTo>
                      <a:pt x="258" y="240"/>
                    </a:lnTo>
                    <a:lnTo>
                      <a:pt x="250" y="251"/>
                    </a:lnTo>
                    <a:lnTo>
                      <a:pt x="239" y="259"/>
                    </a:lnTo>
                    <a:lnTo>
                      <a:pt x="229" y="269"/>
                    </a:lnTo>
                    <a:lnTo>
                      <a:pt x="215" y="275"/>
                    </a:lnTo>
                    <a:lnTo>
                      <a:pt x="203" y="283"/>
                    </a:lnTo>
                    <a:lnTo>
                      <a:pt x="190" y="287"/>
                    </a:lnTo>
                    <a:lnTo>
                      <a:pt x="176" y="291"/>
                    </a:lnTo>
                    <a:lnTo>
                      <a:pt x="160" y="293"/>
                    </a:lnTo>
                    <a:lnTo>
                      <a:pt x="146" y="293"/>
                    </a:lnTo>
                    <a:lnTo>
                      <a:pt x="146" y="293"/>
                    </a:lnTo>
                    <a:lnTo>
                      <a:pt x="131" y="293"/>
                    </a:lnTo>
                    <a:lnTo>
                      <a:pt x="117" y="291"/>
                    </a:lnTo>
                    <a:lnTo>
                      <a:pt x="103" y="287"/>
                    </a:lnTo>
                    <a:lnTo>
                      <a:pt x="90" y="283"/>
                    </a:lnTo>
                    <a:lnTo>
                      <a:pt x="76" y="275"/>
                    </a:lnTo>
                    <a:lnTo>
                      <a:pt x="64" y="269"/>
                    </a:lnTo>
                    <a:lnTo>
                      <a:pt x="52" y="259"/>
                    </a:lnTo>
                    <a:lnTo>
                      <a:pt x="43" y="251"/>
                    </a:lnTo>
                    <a:lnTo>
                      <a:pt x="33" y="240"/>
                    </a:lnTo>
                    <a:lnTo>
                      <a:pt x="25" y="230"/>
                    </a:lnTo>
                    <a:lnTo>
                      <a:pt x="17" y="216"/>
                    </a:lnTo>
                    <a:lnTo>
                      <a:pt x="11" y="204"/>
                    </a:lnTo>
                    <a:lnTo>
                      <a:pt x="7" y="191"/>
                    </a:lnTo>
                    <a:lnTo>
                      <a:pt x="3" y="177"/>
                    </a:lnTo>
                    <a:lnTo>
                      <a:pt x="2" y="161"/>
                    </a:lnTo>
                    <a:lnTo>
                      <a:pt x="0" y="148"/>
                    </a:lnTo>
                    <a:lnTo>
                      <a:pt x="0" y="148"/>
                    </a:lnTo>
                    <a:lnTo>
                      <a:pt x="2" y="132"/>
                    </a:lnTo>
                    <a:lnTo>
                      <a:pt x="3" y="118"/>
                    </a:lnTo>
                    <a:lnTo>
                      <a:pt x="7" y="104"/>
                    </a:lnTo>
                    <a:lnTo>
                      <a:pt x="11" y="91"/>
                    </a:lnTo>
                    <a:lnTo>
                      <a:pt x="17" y="77"/>
                    </a:lnTo>
                    <a:lnTo>
                      <a:pt x="25" y="65"/>
                    </a:lnTo>
                    <a:lnTo>
                      <a:pt x="33" y="53"/>
                    </a:lnTo>
                    <a:lnTo>
                      <a:pt x="43" y="44"/>
                    </a:lnTo>
                    <a:lnTo>
                      <a:pt x="52" y="34"/>
                    </a:lnTo>
                    <a:lnTo>
                      <a:pt x="64" y="26"/>
                    </a:lnTo>
                    <a:lnTo>
                      <a:pt x="76" y="18"/>
                    </a:lnTo>
                    <a:lnTo>
                      <a:pt x="90" y="12"/>
                    </a:lnTo>
                    <a:lnTo>
                      <a:pt x="103" y="6"/>
                    </a:lnTo>
                    <a:lnTo>
                      <a:pt x="117" y="4"/>
                    </a:lnTo>
                    <a:lnTo>
                      <a:pt x="131" y="0"/>
                    </a:lnTo>
                    <a:lnTo>
                      <a:pt x="146" y="0"/>
                    </a:lnTo>
                    <a:lnTo>
                      <a:pt x="146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4" name="Line 201">
                <a:extLst>
                  <a:ext uri="{FF2B5EF4-FFF2-40B4-BE49-F238E27FC236}">
                    <a16:creationId xmlns:a16="http://schemas.microsoft.com/office/drawing/2014/main" id="{C2D1256B-9E0A-4C59-82F0-881CCB8E76CE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332440" y="3880110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5" name="Freeform 202">
                <a:extLst>
                  <a:ext uri="{FF2B5EF4-FFF2-40B4-BE49-F238E27FC236}">
                    <a16:creationId xmlns:a16="http://schemas.microsoft.com/office/drawing/2014/main" id="{14641763-F794-4C4B-92DB-79730CA67481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209340" y="3977690"/>
                <a:ext cx="247703" cy="247703"/>
              </a:xfrm>
              <a:custGeom>
                <a:avLst/>
                <a:gdLst>
                  <a:gd name="T0" fmla="*/ 32 w 165"/>
                  <a:gd name="T1" fmla="*/ 0 h 165"/>
                  <a:gd name="T2" fmla="*/ 26 w 165"/>
                  <a:gd name="T3" fmla="*/ 0 h 165"/>
                  <a:gd name="T4" fmla="*/ 14 w 165"/>
                  <a:gd name="T5" fmla="*/ 6 h 165"/>
                  <a:gd name="T6" fmla="*/ 6 w 165"/>
                  <a:gd name="T7" fmla="*/ 14 h 165"/>
                  <a:gd name="T8" fmla="*/ 0 w 165"/>
                  <a:gd name="T9" fmla="*/ 26 h 165"/>
                  <a:gd name="T10" fmla="*/ 0 w 165"/>
                  <a:gd name="T11" fmla="*/ 134 h 165"/>
                  <a:gd name="T12" fmla="*/ 0 w 165"/>
                  <a:gd name="T13" fmla="*/ 139 h 165"/>
                  <a:gd name="T14" fmla="*/ 6 w 165"/>
                  <a:gd name="T15" fmla="*/ 151 h 165"/>
                  <a:gd name="T16" fmla="*/ 14 w 165"/>
                  <a:gd name="T17" fmla="*/ 159 h 165"/>
                  <a:gd name="T18" fmla="*/ 26 w 165"/>
                  <a:gd name="T19" fmla="*/ 163 h 165"/>
                  <a:gd name="T20" fmla="*/ 133 w 165"/>
                  <a:gd name="T21" fmla="*/ 165 h 165"/>
                  <a:gd name="T22" fmla="*/ 139 w 165"/>
                  <a:gd name="T23" fmla="*/ 163 h 165"/>
                  <a:gd name="T24" fmla="*/ 151 w 165"/>
                  <a:gd name="T25" fmla="*/ 159 h 165"/>
                  <a:gd name="T26" fmla="*/ 159 w 165"/>
                  <a:gd name="T27" fmla="*/ 151 h 165"/>
                  <a:gd name="T28" fmla="*/ 165 w 165"/>
                  <a:gd name="T29" fmla="*/ 139 h 165"/>
                  <a:gd name="T30" fmla="*/ 165 w 165"/>
                  <a:gd name="T31" fmla="*/ 32 h 165"/>
                  <a:gd name="T32" fmla="*/ 165 w 165"/>
                  <a:gd name="T33" fmla="*/ 26 h 165"/>
                  <a:gd name="T34" fmla="*/ 159 w 165"/>
                  <a:gd name="T35" fmla="*/ 14 h 165"/>
                  <a:gd name="T36" fmla="*/ 151 w 165"/>
                  <a:gd name="T37" fmla="*/ 6 h 165"/>
                  <a:gd name="T38" fmla="*/ 139 w 165"/>
                  <a:gd name="T39" fmla="*/ 0 h 165"/>
                  <a:gd name="T40" fmla="*/ 133 w 165"/>
                  <a:gd name="T41" fmla="*/ 0 h 165"/>
                  <a:gd name="T42" fmla="*/ 147 w 165"/>
                  <a:gd name="T43" fmla="*/ 18 h 165"/>
                  <a:gd name="T44" fmla="*/ 120 w 165"/>
                  <a:gd name="T45" fmla="*/ 45 h 165"/>
                  <a:gd name="T46" fmla="*/ 143 w 165"/>
                  <a:gd name="T47" fmla="*/ 18 h 165"/>
                  <a:gd name="T48" fmla="*/ 82 w 165"/>
                  <a:gd name="T49" fmla="*/ 55 h 165"/>
                  <a:gd name="T50" fmla="*/ 96 w 165"/>
                  <a:gd name="T51" fmla="*/ 57 h 165"/>
                  <a:gd name="T52" fmla="*/ 104 w 165"/>
                  <a:gd name="T53" fmla="*/ 67 h 165"/>
                  <a:gd name="T54" fmla="*/ 110 w 165"/>
                  <a:gd name="T55" fmla="*/ 83 h 165"/>
                  <a:gd name="T56" fmla="*/ 108 w 165"/>
                  <a:gd name="T57" fmla="*/ 92 h 165"/>
                  <a:gd name="T58" fmla="*/ 92 w 165"/>
                  <a:gd name="T59" fmla="*/ 108 h 165"/>
                  <a:gd name="T60" fmla="*/ 82 w 165"/>
                  <a:gd name="T61" fmla="*/ 110 h 165"/>
                  <a:gd name="T62" fmla="*/ 63 w 165"/>
                  <a:gd name="T63" fmla="*/ 102 h 165"/>
                  <a:gd name="T64" fmla="*/ 55 w 165"/>
                  <a:gd name="T65" fmla="*/ 83 h 165"/>
                  <a:gd name="T66" fmla="*/ 55 w 165"/>
                  <a:gd name="T67" fmla="*/ 75 h 165"/>
                  <a:gd name="T68" fmla="*/ 63 w 165"/>
                  <a:gd name="T69" fmla="*/ 61 h 165"/>
                  <a:gd name="T70" fmla="*/ 75 w 165"/>
                  <a:gd name="T71" fmla="*/ 55 h 165"/>
                  <a:gd name="T72" fmla="*/ 82 w 165"/>
                  <a:gd name="T73" fmla="*/ 55 h 165"/>
                  <a:gd name="T74" fmla="*/ 147 w 165"/>
                  <a:gd name="T75" fmla="*/ 132 h 165"/>
                  <a:gd name="T76" fmla="*/ 141 w 165"/>
                  <a:gd name="T77" fmla="*/ 141 h 165"/>
                  <a:gd name="T78" fmla="*/ 131 w 165"/>
                  <a:gd name="T79" fmla="*/ 147 h 165"/>
                  <a:gd name="T80" fmla="*/ 33 w 165"/>
                  <a:gd name="T81" fmla="*/ 147 h 165"/>
                  <a:gd name="T82" fmla="*/ 22 w 165"/>
                  <a:gd name="T83" fmla="*/ 141 h 165"/>
                  <a:gd name="T84" fmla="*/ 18 w 165"/>
                  <a:gd name="T85" fmla="*/ 132 h 165"/>
                  <a:gd name="T86" fmla="*/ 41 w 165"/>
                  <a:gd name="T87" fmla="*/ 63 h 165"/>
                  <a:gd name="T88" fmla="*/ 37 w 165"/>
                  <a:gd name="T89" fmla="*/ 73 h 165"/>
                  <a:gd name="T90" fmla="*/ 37 w 165"/>
                  <a:gd name="T91" fmla="*/ 83 h 165"/>
                  <a:gd name="T92" fmla="*/ 41 w 165"/>
                  <a:gd name="T93" fmla="*/ 100 h 165"/>
                  <a:gd name="T94" fmla="*/ 51 w 165"/>
                  <a:gd name="T95" fmla="*/ 114 h 165"/>
                  <a:gd name="T96" fmla="*/ 65 w 165"/>
                  <a:gd name="T97" fmla="*/ 124 h 165"/>
                  <a:gd name="T98" fmla="*/ 82 w 165"/>
                  <a:gd name="T99" fmla="*/ 128 h 165"/>
                  <a:gd name="T100" fmla="*/ 90 w 165"/>
                  <a:gd name="T101" fmla="*/ 126 h 165"/>
                  <a:gd name="T102" fmla="*/ 108 w 165"/>
                  <a:gd name="T103" fmla="*/ 120 h 165"/>
                  <a:gd name="T104" fmla="*/ 120 w 165"/>
                  <a:gd name="T105" fmla="*/ 108 h 165"/>
                  <a:gd name="T106" fmla="*/ 126 w 165"/>
                  <a:gd name="T107" fmla="*/ 90 h 165"/>
                  <a:gd name="T108" fmla="*/ 128 w 165"/>
                  <a:gd name="T109" fmla="*/ 83 h 165"/>
                  <a:gd name="T110" fmla="*/ 124 w 165"/>
                  <a:gd name="T111" fmla="*/ 63 h 165"/>
                  <a:gd name="T112" fmla="*/ 147 w 165"/>
                  <a:gd name="T113" fmla="*/ 132 h 165"/>
                  <a:gd name="T114" fmla="*/ 147 w 165"/>
                  <a:gd name="T115" fmla="*/ 132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</a:cxnLst>
                <a:rect l="0" t="0" r="r" b="b"/>
                <a:pathLst>
                  <a:path w="165" h="165">
                    <a:moveTo>
                      <a:pt x="133" y="0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39"/>
                    </a:lnTo>
                    <a:lnTo>
                      <a:pt x="2" y="145"/>
                    </a:lnTo>
                    <a:lnTo>
                      <a:pt x="6" y="151"/>
                    </a:lnTo>
                    <a:lnTo>
                      <a:pt x="10" y="155"/>
                    </a:lnTo>
                    <a:lnTo>
                      <a:pt x="14" y="159"/>
                    </a:lnTo>
                    <a:lnTo>
                      <a:pt x="20" y="163"/>
                    </a:lnTo>
                    <a:lnTo>
                      <a:pt x="26" y="163"/>
                    </a:lnTo>
                    <a:lnTo>
                      <a:pt x="32" y="165"/>
                    </a:lnTo>
                    <a:lnTo>
                      <a:pt x="133" y="165"/>
                    </a:lnTo>
                    <a:lnTo>
                      <a:pt x="133" y="165"/>
                    </a:lnTo>
                    <a:lnTo>
                      <a:pt x="139" y="163"/>
                    </a:lnTo>
                    <a:lnTo>
                      <a:pt x="145" y="163"/>
                    </a:lnTo>
                    <a:lnTo>
                      <a:pt x="151" y="159"/>
                    </a:lnTo>
                    <a:lnTo>
                      <a:pt x="155" y="155"/>
                    </a:lnTo>
                    <a:lnTo>
                      <a:pt x="159" y="151"/>
                    </a:lnTo>
                    <a:lnTo>
                      <a:pt x="163" y="145"/>
                    </a:lnTo>
                    <a:lnTo>
                      <a:pt x="165" y="139"/>
                    </a:lnTo>
                    <a:lnTo>
                      <a:pt x="165" y="134"/>
                    </a:lnTo>
                    <a:lnTo>
                      <a:pt x="165" y="32"/>
                    </a:lnTo>
                    <a:lnTo>
                      <a:pt x="165" y="32"/>
                    </a:lnTo>
                    <a:lnTo>
                      <a:pt x="165" y="26"/>
                    </a:lnTo>
                    <a:lnTo>
                      <a:pt x="163" y="20"/>
                    </a:lnTo>
                    <a:lnTo>
                      <a:pt x="159" y="14"/>
                    </a:lnTo>
                    <a:lnTo>
                      <a:pt x="155" y="8"/>
                    </a:lnTo>
                    <a:lnTo>
                      <a:pt x="151" y="6"/>
                    </a:lnTo>
                    <a:lnTo>
                      <a:pt x="145" y="2"/>
                    </a:lnTo>
                    <a:lnTo>
                      <a:pt x="139" y="0"/>
                    </a:lnTo>
                    <a:lnTo>
                      <a:pt x="133" y="0"/>
                    </a:lnTo>
                    <a:lnTo>
                      <a:pt x="133" y="0"/>
                    </a:lnTo>
                    <a:close/>
                    <a:moveTo>
                      <a:pt x="143" y="18"/>
                    </a:moveTo>
                    <a:lnTo>
                      <a:pt x="147" y="18"/>
                    </a:lnTo>
                    <a:lnTo>
                      <a:pt x="147" y="45"/>
                    </a:lnTo>
                    <a:lnTo>
                      <a:pt x="120" y="45"/>
                    </a:lnTo>
                    <a:lnTo>
                      <a:pt x="118" y="18"/>
                    </a:lnTo>
                    <a:lnTo>
                      <a:pt x="143" y="18"/>
                    </a:lnTo>
                    <a:close/>
                    <a:moveTo>
                      <a:pt x="82" y="55"/>
                    </a:moveTo>
                    <a:lnTo>
                      <a:pt x="82" y="55"/>
                    </a:lnTo>
                    <a:lnTo>
                      <a:pt x="90" y="55"/>
                    </a:lnTo>
                    <a:lnTo>
                      <a:pt x="96" y="57"/>
                    </a:lnTo>
                    <a:lnTo>
                      <a:pt x="100" y="61"/>
                    </a:lnTo>
                    <a:lnTo>
                      <a:pt x="104" y="67"/>
                    </a:lnTo>
                    <a:lnTo>
                      <a:pt x="108" y="75"/>
                    </a:lnTo>
                    <a:lnTo>
                      <a:pt x="110" y="83"/>
                    </a:lnTo>
                    <a:lnTo>
                      <a:pt x="110" y="83"/>
                    </a:lnTo>
                    <a:lnTo>
                      <a:pt x="108" y="92"/>
                    </a:lnTo>
                    <a:lnTo>
                      <a:pt x="102" y="102"/>
                    </a:lnTo>
                    <a:lnTo>
                      <a:pt x="92" y="108"/>
                    </a:lnTo>
                    <a:lnTo>
                      <a:pt x="82" y="110"/>
                    </a:lnTo>
                    <a:lnTo>
                      <a:pt x="82" y="110"/>
                    </a:lnTo>
                    <a:lnTo>
                      <a:pt x="71" y="108"/>
                    </a:lnTo>
                    <a:lnTo>
                      <a:pt x="63" y="102"/>
                    </a:lnTo>
                    <a:lnTo>
                      <a:pt x="57" y="92"/>
                    </a:lnTo>
                    <a:lnTo>
                      <a:pt x="55" y="83"/>
                    </a:lnTo>
                    <a:lnTo>
                      <a:pt x="55" y="83"/>
                    </a:lnTo>
                    <a:lnTo>
                      <a:pt x="55" y="75"/>
                    </a:lnTo>
                    <a:lnTo>
                      <a:pt x="59" y="67"/>
                    </a:lnTo>
                    <a:lnTo>
                      <a:pt x="63" y="61"/>
                    </a:lnTo>
                    <a:lnTo>
                      <a:pt x="69" y="57"/>
                    </a:lnTo>
                    <a:lnTo>
                      <a:pt x="75" y="55"/>
                    </a:lnTo>
                    <a:lnTo>
                      <a:pt x="82" y="55"/>
                    </a:lnTo>
                    <a:lnTo>
                      <a:pt x="82" y="55"/>
                    </a:lnTo>
                    <a:close/>
                    <a:moveTo>
                      <a:pt x="147" y="132"/>
                    </a:moveTo>
                    <a:lnTo>
                      <a:pt x="147" y="132"/>
                    </a:lnTo>
                    <a:lnTo>
                      <a:pt x="145" y="137"/>
                    </a:lnTo>
                    <a:lnTo>
                      <a:pt x="141" y="141"/>
                    </a:lnTo>
                    <a:lnTo>
                      <a:pt x="137" y="145"/>
                    </a:lnTo>
                    <a:lnTo>
                      <a:pt x="131" y="147"/>
                    </a:lnTo>
                    <a:lnTo>
                      <a:pt x="33" y="147"/>
                    </a:lnTo>
                    <a:lnTo>
                      <a:pt x="33" y="147"/>
                    </a:lnTo>
                    <a:lnTo>
                      <a:pt x="28" y="145"/>
                    </a:lnTo>
                    <a:lnTo>
                      <a:pt x="22" y="141"/>
                    </a:lnTo>
                    <a:lnTo>
                      <a:pt x="20" y="137"/>
                    </a:lnTo>
                    <a:lnTo>
                      <a:pt x="18" y="132"/>
                    </a:lnTo>
                    <a:lnTo>
                      <a:pt x="18" y="63"/>
                    </a:lnTo>
                    <a:lnTo>
                      <a:pt x="41" y="63"/>
                    </a:lnTo>
                    <a:lnTo>
                      <a:pt x="41" y="63"/>
                    </a:lnTo>
                    <a:lnTo>
                      <a:pt x="37" y="73"/>
                    </a:lnTo>
                    <a:lnTo>
                      <a:pt x="37" y="83"/>
                    </a:lnTo>
                    <a:lnTo>
                      <a:pt x="37" y="83"/>
                    </a:lnTo>
                    <a:lnTo>
                      <a:pt x="37" y="90"/>
                    </a:lnTo>
                    <a:lnTo>
                      <a:pt x="41" y="100"/>
                    </a:lnTo>
                    <a:lnTo>
                      <a:pt x="45" y="108"/>
                    </a:lnTo>
                    <a:lnTo>
                      <a:pt x="51" y="114"/>
                    </a:lnTo>
                    <a:lnTo>
                      <a:pt x="57" y="120"/>
                    </a:lnTo>
                    <a:lnTo>
                      <a:pt x="65" y="124"/>
                    </a:lnTo>
                    <a:lnTo>
                      <a:pt x="73" y="126"/>
                    </a:lnTo>
                    <a:lnTo>
                      <a:pt x="82" y="128"/>
                    </a:lnTo>
                    <a:lnTo>
                      <a:pt x="82" y="128"/>
                    </a:lnTo>
                    <a:lnTo>
                      <a:pt x="90" y="126"/>
                    </a:lnTo>
                    <a:lnTo>
                      <a:pt x="100" y="124"/>
                    </a:lnTo>
                    <a:lnTo>
                      <a:pt x="108" y="120"/>
                    </a:lnTo>
                    <a:lnTo>
                      <a:pt x="114" y="114"/>
                    </a:lnTo>
                    <a:lnTo>
                      <a:pt x="120" y="108"/>
                    </a:lnTo>
                    <a:lnTo>
                      <a:pt x="124" y="100"/>
                    </a:lnTo>
                    <a:lnTo>
                      <a:pt x="126" y="90"/>
                    </a:lnTo>
                    <a:lnTo>
                      <a:pt x="128" y="83"/>
                    </a:lnTo>
                    <a:lnTo>
                      <a:pt x="128" y="83"/>
                    </a:lnTo>
                    <a:lnTo>
                      <a:pt x="126" y="73"/>
                    </a:lnTo>
                    <a:lnTo>
                      <a:pt x="124" y="63"/>
                    </a:lnTo>
                    <a:lnTo>
                      <a:pt x="147" y="63"/>
                    </a:lnTo>
                    <a:lnTo>
                      <a:pt x="147" y="132"/>
                    </a:lnTo>
                    <a:lnTo>
                      <a:pt x="147" y="132"/>
                    </a:lnTo>
                    <a:close/>
                    <a:moveTo>
                      <a:pt x="147" y="132"/>
                    </a:moveTo>
                    <a:lnTo>
                      <a:pt x="147" y="132"/>
                    </a:lnTo>
                    <a:close/>
                  </a:path>
                </a:pathLst>
              </a:custGeom>
              <a:solidFill>
                <a:srgbClr val="FFFFFF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6" name="Freeform 203">
                <a:extLst>
                  <a:ext uri="{FF2B5EF4-FFF2-40B4-BE49-F238E27FC236}">
                    <a16:creationId xmlns:a16="http://schemas.microsoft.com/office/drawing/2014/main" id="{216698E4-9513-4F55-8339-CA7846689CB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09340" y="3977690"/>
                <a:ext cx="247703" cy="247703"/>
              </a:xfrm>
              <a:custGeom>
                <a:avLst/>
                <a:gdLst>
                  <a:gd name="T0" fmla="*/ 133 w 165"/>
                  <a:gd name="T1" fmla="*/ 0 h 165"/>
                  <a:gd name="T2" fmla="*/ 32 w 165"/>
                  <a:gd name="T3" fmla="*/ 0 h 165"/>
                  <a:gd name="T4" fmla="*/ 32 w 165"/>
                  <a:gd name="T5" fmla="*/ 0 h 165"/>
                  <a:gd name="T6" fmla="*/ 26 w 165"/>
                  <a:gd name="T7" fmla="*/ 0 h 165"/>
                  <a:gd name="T8" fmla="*/ 20 w 165"/>
                  <a:gd name="T9" fmla="*/ 2 h 165"/>
                  <a:gd name="T10" fmla="*/ 14 w 165"/>
                  <a:gd name="T11" fmla="*/ 6 h 165"/>
                  <a:gd name="T12" fmla="*/ 10 w 165"/>
                  <a:gd name="T13" fmla="*/ 8 h 165"/>
                  <a:gd name="T14" fmla="*/ 6 w 165"/>
                  <a:gd name="T15" fmla="*/ 14 h 165"/>
                  <a:gd name="T16" fmla="*/ 2 w 165"/>
                  <a:gd name="T17" fmla="*/ 20 h 165"/>
                  <a:gd name="T18" fmla="*/ 0 w 165"/>
                  <a:gd name="T19" fmla="*/ 26 h 165"/>
                  <a:gd name="T20" fmla="*/ 0 w 165"/>
                  <a:gd name="T21" fmla="*/ 32 h 165"/>
                  <a:gd name="T22" fmla="*/ 0 w 165"/>
                  <a:gd name="T23" fmla="*/ 134 h 165"/>
                  <a:gd name="T24" fmla="*/ 0 w 165"/>
                  <a:gd name="T25" fmla="*/ 134 h 165"/>
                  <a:gd name="T26" fmla="*/ 0 w 165"/>
                  <a:gd name="T27" fmla="*/ 139 h 165"/>
                  <a:gd name="T28" fmla="*/ 2 w 165"/>
                  <a:gd name="T29" fmla="*/ 145 h 165"/>
                  <a:gd name="T30" fmla="*/ 6 w 165"/>
                  <a:gd name="T31" fmla="*/ 151 h 165"/>
                  <a:gd name="T32" fmla="*/ 10 w 165"/>
                  <a:gd name="T33" fmla="*/ 155 h 165"/>
                  <a:gd name="T34" fmla="*/ 14 w 165"/>
                  <a:gd name="T35" fmla="*/ 159 h 165"/>
                  <a:gd name="T36" fmla="*/ 20 w 165"/>
                  <a:gd name="T37" fmla="*/ 163 h 165"/>
                  <a:gd name="T38" fmla="*/ 26 w 165"/>
                  <a:gd name="T39" fmla="*/ 163 h 165"/>
                  <a:gd name="T40" fmla="*/ 32 w 165"/>
                  <a:gd name="T41" fmla="*/ 165 h 165"/>
                  <a:gd name="T42" fmla="*/ 133 w 165"/>
                  <a:gd name="T43" fmla="*/ 165 h 165"/>
                  <a:gd name="T44" fmla="*/ 133 w 165"/>
                  <a:gd name="T45" fmla="*/ 165 h 165"/>
                  <a:gd name="T46" fmla="*/ 139 w 165"/>
                  <a:gd name="T47" fmla="*/ 163 h 165"/>
                  <a:gd name="T48" fmla="*/ 145 w 165"/>
                  <a:gd name="T49" fmla="*/ 163 h 165"/>
                  <a:gd name="T50" fmla="*/ 151 w 165"/>
                  <a:gd name="T51" fmla="*/ 159 h 165"/>
                  <a:gd name="T52" fmla="*/ 155 w 165"/>
                  <a:gd name="T53" fmla="*/ 155 h 165"/>
                  <a:gd name="T54" fmla="*/ 159 w 165"/>
                  <a:gd name="T55" fmla="*/ 151 h 165"/>
                  <a:gd name="T56" fmla="*/ 163 w 165"/>
                  <a:gd name="T57" fmla="*/ 145 h 165"/>
                  <a:gd name="T58" fmla="*/ 165 w 165"/>
                  <a:gd name="T59" fmla="*/ 139 h 165"/>
                  <a:gd name="T60" fmla="*/ 165 w 165"/>
                  <a:gd name="T61" fmla="*/ 134 h 165"/>
                  <a:gd name="T62" fmla="*/ 165 w 165"/>
                  <a:gd name="T63" fmla="*/ 32 h 165"/>
                  <a:gd name="T64" fmla="*/ 165 w 165"/>
                  <a:gd name="T65" fmla="*/ 32 h 165"/>
                  <a:gd name="T66" fmla="*/ 165 w 165"/>
                  <a:gd name="T67" fmla="*/ 26 h 165"/>
                  <a:gd name="T68" fmla="*/ 163 w 165"/>
                  <a:gd name="T69" fmla="*/ 20 h 165"/>
                  <a:gd name="T70" fmla="*/ 159 w 165"/>
                  <a:gd name="T71" fmla="*/ 14 h 165"/>
                  <a:gd name="T72" fmla="*/ 155 w 165"/>
                  <a:gd name="T73" fmla="*/ 8 h 165"/>
                  <a:gd name="T74" fmla="*/ 151 w 165"/>
                  <a:gd name="T75" fmla="*/ 6 h 165"/>
                  <a:gd name="T76" fmla="*/ 145 w 165"/>
                  <a:gd name="T77" fmla="*/ 2 h 165"/>
                  <a:gd name="T78" fmla="*/ 139 w 165"/>
                  <a:gd name="T79" fmla="*/ 0 h 165"/>
                  <a:gd name="T80" fmla="*/ 133 w 165"/>
                  <a:gd name="T81" fmla="*/ 0 h 165"/>
                  <a:gd name="T82" fmla="*/ 133 w 165"/>
                  <a:gd name="T83" fmla="*/ 0 h 1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</a:cxnLst>
                <a:rect l="0" t="0" r="r" b="b"/>
                <a:pathLst>
                  <a:path w="165" h="165">
                    <a:moveTo>
                      <a:pt x="133" y="0"/>
                    </a:moveTo>
                    <a:lnTo>
                      <a:pt x="32" y="0"/>
                    </a:lnTo>
                    <a:lnTo>
                      <a:pt x="32" y="0"/>
                    </a:lnTo>
                    <a:lnTo>
                      <a:pt x="26" y="0"/>
                    </a:lnTo>
                    <a:lnTo>
                      <a:pt x="20" y="2"/>
                    </a:lnTo>
                    <a:lnTo>
                      <a:pt x="14" y="6"/>
                    </a:lnTo>
                    <a:lnTo>
                      <a:pt x="10" y="8"/>
                    </a:lnTo>
                    <a:lnTo>
                      <a:pt x="6" y="14"/>
                    </a:lnTo>
                    <a:lnTo>
                      <a:pt x="2" y="20"/>
                    </a:lnTo>
                    <a:lnTo>
                      <a:pt x="0" y="26"/>
                    </a:lnTo>
                    <a:lnTo>
                      <a:pt x="0" y="32"/>
                    </a:lnTo>
                    <a:lnTo>
                      <a:pt x="0" y="134"/>
                    </a:lnTo>
                    <a:lnTo>
                      <a:pt x="0" y="134"/>
                    </a:lnTo>
                    <a:lnTo>
                      <a:pt x="0" y="139"/>
                    </a:lnTo>
                    <a:lnTo>
                      <a:pt x="2" y="145"/>
                    </a:lnTo>
                    <a:lnTo>
                      <a:pt x="6" y="151"/>
                    </a:lnTo>
                    <a:lnTo>
                      <a:pt x="10" y="155"/>
                    </a:lnTo>
                    <a:lnTo>
                      <a:pt x="14" y="159"/>
                    </a:lnTo>
                    <a:lnTo>
                      <a:pt x="20" y="163"/>
                    </a:lnTo>
                    <a:lnTo>
                      <a:pt x="26" y="163"/>
                    </a:lnTo>
                    <a:lnTo>
                      <a:pt x="32" y="165"/>
                    </a:lnTo>
                    <a:lnTo>
                      <a:pt x="133" y="165"/>
                    </a:lnTo>
                    <a:lnTo>
                      <a:pt x="133" y="165"/>
                    </a:lnTo>
                    <a:lnTo>
                      <a:pt x="139" y="163"/>
                    </a:lnTo>
                    <a:lnTo>
                      <a:pt x="145" y="163"/>
                    </a:lnTo>
                    <a:lnTo>
                      <a:pt x="151" y="159"/>
                    </a:lnTo>
                    <a:lnTo>
                      <a:pt x="155" y="155"/>
                    </a:lnTo>
                    <a:lnTo>
                      <a:pt x="159" y="151"/>
                    </a:lnTo>
                    <a:lnTo>
                      <a:pt x="163" y="145"/>
                    </a:lnTo>
                    <a:lnTo>
                      <a:pt x="165" y="139"/>
                    </a:lnTo>
                    <a:lnTo>
                      <a:pt x="165" y="134"/>
                    </a:lnTo>
                    <a:lnTo>
                      <a:pt x="165" y="32"/>
                    </a:lnTo>
                    <a:lnTo>
                      <a:pt x="165" y="32"/>
                    </a:lnTo>
                    <a:lnTo>
                      <a:pt x="165" y="26"/>
                    </a:lnTo>
                    <a:lnTo>
                      <a:pt x="163" y="20"/>
                    </a:lnTo>
                    <a:lnTo>
                      <a:pt x="159" y="14"/>
                    </a:lnTo>
                    <a:lnTo>
                      <a:pt x="155" y="8"/>
                    </a:lnTo>
                    <a:lnTo>
                      <a:pt x="151" y="6"/>
                    </a:lnTo>
                    <a:lnTo>
                      <a:pt x="145" y="2"/>
                    </a:lnTo>
                    <a:lnTo>
                      <a:pt x="139" y="0"/>
                    </a:lnTo>
                    <a:lnTo>
                      <a:pt x="133" y="0"/>
                    </a:lnTo>
                    <a:lnTo>
                      <a:pt x="133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7" name="Freeform 204">
                <a:extLst>
                  <a:ext uri="{FF2B5EF4-FFF2-40B4-BE49-F238E27FC236}">
                    <a16:creationId xmlns:a16="http://schemas.microsoft.com/office/drawing/2014/main" id="{F1B2FC17-DA23-4910-84D3-A4F502F4CA0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386484" y="4004712"/>
                <a:ext cx="43536" cy="40534"/>
              </a:xfrm>
              <a:custGeom>
                <a:avLst/>
                <a:gdLst>
                  <a:gd name="T0" fmla="*/ 25 w 29"/>
                  <a:gd name="T1" fmla="*/ 0 h 27"/>
                  <a:gd name="T2" fmla="*/ 29 w 29"/>
                  <a:gd name="T3" fmla="*/ 0 h 27"/>
                  <a:gd name="T4" fmla="*/ 29 w 29"/>
                  <a:gd name="T5" fmla="*/ 27 h 27"/>
                  <a:gd name="T6" fmla="*/ 2 w 29"/>
                  <a:gd name="T7" fmla="*/ 27 h 27"/>
                  <a:gd name="T8" fmla="*/ 0 w 29"/>
                  <a:gd name="T9" fmla="*/ 0 h 27"/>
                  <a:gd name="T10" fmla="*/ 25 w 29"/>
                  <a:gd name="T11" fmla="*/ 0 h 2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</a:cxnLst>
                <a:rect l="0" t="0" r="r" b="b"/>
                <a:pathLst>
                  <a:path w="29" h="27">
                    <a:moveTo>
                      <a:pt x="25" y="0"/>
                    </a:moveTo>
                    <a:lnTo>
                      <a:pt x="29" y="0"/>
                    </a:lnTo>
                    <a:lnTo>
                      <a:pt x="29" y="27"/>
                    </a:lnTo>
                    <a:lnTo>
                      <a:pt x="2" y="27"/>
                    </a:lnTo>
                    <a:lnTo>
                      <a:pt x="0" y="0"/>
                    </a:lnTo>
                    <a:lnTo>
                      <a:pt x="25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8" name="Freeform 206">
                <a:extLst>
                  <a:ext uri="{FF2B5EF4-FFF2-40B4-BE49-F238E27FC236}">
                    <a16:creationId xmlns:a16="http://schemas.microsoft.com/office/drawing/2014/main" id="{82CC7EAC-F379-4494-AE0D-448CAC5AE3E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91907" y="4060257"/>
                <a:ext cx="82568" cy="82568"/>
              </a:xfrm>
              <a:custGeom>
                <a:avLst/>
                <a:gdLst>
                  <a:gd name="T0" fmla="*/ 27 w 55"/>
                  <a:gd name="T1" fmla="*/ 0 h 55"/>
                  <a:gd name="T2" fmla="*/ 27 w 55"/>
                  <a:gd name="T3" fmla="*/ 0 h 55"/>
                  <a:gd name="T4" fmla="*/ 35 w 55"/>
                  <a:gd name="T5" fmla="*/ 0 h 55"/>
                  <a:gd name="T6" fmla="*/ 41 w 55"/>
                  <a:gd name="T7" fmla="*/ 2 h 55"/>
                  <a:gd name="T8" fmla="*/ 45 w 55"/>
                  <a:gd name="T9" fmla="*/ 6 h 55"/>
                  <a:gd name="T10" fmla="*/ 49 w 55"/>
                  <a:gd name="T11" fmla="*/ 12 h 55"/>
                  <a:gd name="T12" fmla="*/ 53 w 55"/>
                  <a:gd name="T13" fmla="*/ 20 h 55"/>
                  <a:gd name="T14" fmla="*/ 55 w 55"/>
                  <a:gd name="T15" fmla="*/ 28 h 55"/>
                  <a:gd name="T16" fmla="*/ 55 w 55"/>
                  <a:gd name="T17" fmla="*/ 28 h 55"/>
                  <a:gd name="T18" fmla="*/ 53 w 55"/>
                  <a:gd name="T19" fmla="*/ 37 h 55"/>
                  <a:gd name="T20" fmla="*/ 47 w 55"/>
                  <a:gd name="T21" fmla="*/ 47 h 55"/>
                  <a:gd name="T22" fmla="*/ 37 w 55"/>
                  <a:gd name="T23" fmla="*/ 53 h 55"/>
                  <a:gd name="T24" fmla="*/ 27 w 55"/>
                  <a:gd name="T25" fmla="*/ 55 h 55"/>
                  <a:gd name="T26" fmla="*/ 27 w 55"/>
                  <a:gd name="T27" fmla="*/ 55 h 55"/>
                  <a:gd name="T28" fmla="*/ 16 w 55"/>
                  <a:gd name="T29" fmla="*/ 53 h 55"/>
                  <a:gd name="T30" fmla="*/ 8 w 55"/>
                  <a:gd name="T31" fmla="*/ 47 h 55"/>
                  <a:gd name="T32" fmla="*/ 2 w 55"/>
                  <a:gd name="T33" fmla="*/ 37 h 55"/>
                  <a:gd name="T34" fmla="*/ 0 w 55"/>
                  <a:gd name="T35" fmla="*/ 28 h 55"/>
                  <a:gd name="T36" fmla="*/ 0 w 55"/>
                  <a:gd name="T37" fmla="*/ 28 h 55"/>
                  <a:gd name="T38" fmla="*/ 0 w 55"/>
                  <a:gd name="T39" fmla="*/ 20 h 55"/>
                  <a:gd name="T40" fmla="*/ 4 w 55"/>
                  <a:gd name="T41" fmla="*/ 12 h 55"/>
                  <a:gd name="T42" fmla="*/ 8 w 55"/>
                  <a:gd name="T43" fmla="*/ 6 h 55"/>
                  <a:gd name="T44" fmla="*/ 14 w 55"/>
                  <a:gd name="T45" fmla="*/ 2 h 55"/>
                  <a:gd name="T46" fmla="*/ 20 w 55"/>
                  <a:gd name="T47" fmla="*/ 0 h 55"/>
                  <a:gd name="T48" fmla="*/ 27 w 55"/>
                  <a:gd name="T49" fmla="*/ 0 h 55"/>
                  <a:gd name="T50" fmla="*/ 27 w 55"/>
                  <a:gd name="T51" fmla="*/ 0 h 5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</a:cxnLst>
                <a:rect l="0" t="0" r="r" b="b"/>
                <a:pathLst>
                  <a:path w="55" h="55">
                    <a:moveTo>
                      <a:pt x="27" y="0"/>
                    </a:moveTo>
                    <a:lnTo>
                      <a:pt x="27" y="0"/>
                    </a:lnTo>
                    <a:lnTo>
                      <a:pt x="35" y="0"/>
                    </a:lnTo>
                    <a:lnTo>
                      <a:pt x="41" y="2"/>
                    </a:lnTo>
                    <a:lnTo>
                      <a:pt x="45" y="6"/>
                    </a:lnTo>
                    <a:lnTo>
                      <a:pt x="49" y="12"/>
                    </a:lnTo>
                    <a:lnTo>
                      <a:pt x="53" y="20"/>
                    </a:lnTo>
                    <a:lnTo>
                      <a:pt x="55" y="28"/>
                    </a:lnTo>
                    <a:lnTo>
                      <a:pt x="55" y="28"/>
                    </a:lnTo>
                    <a:lnTo>
                      <a:pt x="53" y="37"/>
                    </a:lnTo>
                    <a:lnTo>
                      <a:pt x="47" y="47"/>
                    </a:lnTo>
                    <a:lnTo>
                      <a:pt x="37" y="53"/>
                    </a:lnTo>
                    <a:lnTo>
                      <a:pt x="27" y="55"/>
                    </a:lnTo>
                    <a:lnTo>
                      <a:pt x="27" y="55"/>
                    </a:lnTo>
                    <a:lnTo>
                      <a:pt x="16" y="53"/>
                    </a:lnTo>
                    <a:lnTo>
                      <a:pt x="8" y="47"/>
                    </a:lnTo>
                    <a:lnTo>
                      <a:pt x="2" y="37"/>
                    </a:lnTo>
                    <a:lnTo>
                      <a:pt x="0" y="28"/>
                    </a:lnTo>
                    <a:lnTo>
                      <a:pt x="0" y="28"/>
                    </a:lnTo>
                    <a:lnTo>
                      <a:pt x="0" y="20"/>
                    </a:lnTo>
                    <a:lnTo>
                      <a:pt x="4" y="12"/>
                    </a:lnTo>
                    <a:lnTo>
                      <a:pt x="8" y="6"/>
                    </a:lnTo>
                    <a:lnTo>
                      <a:pt x="14" y="2"/>
                    </a:lnTo>
                    <a:lnTo>
                      <a:pt x="20" y="0"/>
                    </a:lnTo>
                    <a:lnTo>
                      <a:pt x="27" y="0"/>
                    </a:lnTo>
                    <a:lnTo>
                      <a:pt x="27" y="0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39" name="Freeform 207">
                <a:extLst>
                  <a:ext uri="{FF2B5EF4-FFF2-40B4-BE49-F238E27FC236}">
                    <a16:creationId xmlns:a16="http://schemas.microsoft.com/office/drawing/2014/main" id="{72142965-51A8-4D3D-9080-0F25EEA01FF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9236362" y="4072267"/>
                <a:ext cx="193659" cy="126103"/>
              </a:xfrm>
              <a:custGeom>
                <a:avLst/>
                <a:gdLst>
                  <a:gd name="T0" fmla="*/ 129 w 129"/>
                  <a:gd name="T1" fmla="*/ 69 h 84"/>
                  <a:gd name="T2" fmla="*/ 129 w 129"/>
                  <a:gd name="T3" fmla="*/ 69 h 84"/>
                  <a:gd name="T4" fmla="*/ 127 w 129"/>
                  <a:gd name="T5" fmla="*/ 74 h 84"/>
                  <a:gd name="T6" fmla="*/ 123 w 129"/>
                  <a:gd name="T7" fmla="*/ 78 h 84"/>
                  <a:gd name="T8" fmla="*/ 119 w 129"/>
                  <a:gd name="T9" fmla="*/ 82 h 84"/>
                  <a:gd name="T10" fmla="*/ 113 w 129"/>
                  <a:gd name="T11" fmla="*/ 84 h 84"/>
                  <a:gd name="T12" fmla="*/ 15 w 129"/>
                  <a:gd name="T13" fmla="*/ 84 h 84"/>
                  <a:gd name="T14" fmla="*/ 15 w 129"/>
                  <a:gd name="T15" fmla="*/ 84 h 84"/>
                  <a:gd name="T16" fmla="*/ 10 w 129"/>
                  <a:gd name="T17" fmla="*/ 82 h 84"/>
                  <a:gd name="T18" fmla="*/ 4 w 129"/>
                  <a:gd name="T19" fmla="*/ 78 h 84"/>
                  <a:gd name="T20" fmla="*/ 2 w 129"/>
                  <a:gd name="T21" fmla="*/ 74 h 84"/>
                  <a:gd name="T22" fmla="*/ 0 w 129"/>
                  <a:gd name="T23" fmla="*/ 69 h 84"/>
                  <a:gd name="T24" fmla="*/ 0 w 129"/>
                  <a:gd name="T25" fmla="*/ 0 h 84"/>
                  <a:gd name="T26" fmla="*/ 23 w 129"/>
                  <a:gd name="T27" fmla="*/ 0 h 84"/>
                  <a:gd name="T28" fmla="*/ 23 w 129"/>
                  <a:gd name="T29" fmla="*/ 0 h 84"/>
                  <a:gd name="T30" fmla="*/ 19 w 129"/>
                  <a:gd name="T31" fmla="*/ 10 h 84"/>
                  <a:gd name="T32" fmla="*/ 19 w 129"/>
                  <a:gd name="T33" fmla="*/ 20 h 84"/>
                  <a:gd name="T34" fmla="*/ 19 w 129"/>
                  <a:gd name="T35" fmla="*/ 20 h 84"/>
                  <a:gd name="T36" fmla="*/ 19 w 129"/>
                  <a:gd name="T37" fmla="*/ 27 h 84"/>
                  <a:gd name="T38" fmla="*/ 23 w 129"/>
                  <a:gd name="T39" fmla="*/ 37 h 84"/>
                  <a:gd name="T40" fmla="*/ 27 w 129"/>
                  <a:gd name="T41" fmla="*/ 45 h 84"/>
                  <a:gd name="T42" fmla="*/ 33 w 129"/>
                  <a:gd name="T43" fmla="*/ 51 h 84"/>
                  <a:gd name="T44" fmla="*/ 39 w 129"/>
                  <a:gd name="T45" fmla="*/ 57 h 84"/>
                  <a:gd name="T46" fmla="*/ 47 w 129"/>
                  <a:gd name="T47" fmla="*/ 61 h 84"/>
                  <a:gd name="T48" fmla="*/ 55 w 129"/>
                  <a:gd name="T49" fmla="*/ 63 h 84"/>
                  <a:gd name="T50" fmla="*/ 64 w 129"/>
                  <a:gd name="T51" fmla="*/ 65 h 84"/>
                  <a:gd name="T52" fmla="*/ 64 w 129"/>
                  <a:gd name="T53" fmla="*/ 65 h 84"/>
                  <a:gd name="T54" fmla="*/ 72 w 129"/>
                  <a:gd name="T55" fmla="*/ 63 h 84"/>
                  <a:gd name="T56" fmla="*/ 82 w 129"/>
                  <a:gd name="T57" fmla="*/ 61 h 84"/>
                  <a:gd name="T58" fmla="*/ 90 w 129"/>
                  <a:gd name="T59" fmla="*/ 57 h 84"/>
                  <a:gd name="T60" fmla="*/ 96 w 129"/>
                  <a:gd name="T61" fmla="*/ 51 h 84"/>
                  <a:gd name="T62" fmla="*/ 102 w 129"/>
                  <a:gd name="T63" fmla="*/ 45 h 84"/>
                  <a:gd name="T64" fmla="*/ 106 w 129"/>
                  <a:gd name="T65" fmla="*/ 37 h 84"/>
                  <a:gd name="T66" fmla="*/ 108 w 129"/>
                  <a:gd name="T67" fmla="*/ 27 h 84"/>
                  <a:gd name="T68" fmla="*/ 110 w 129"/>
                  <a:gd name="T69" fmla="*/ 20 h 84"/>
                  <a:gd name="T70" fmla="*/ 110 w 129"/>
                  <a:gd name="T71" fmla="*/ 20 h 84"/>
                  <a:gd name="T72" fmla="*/ 108 w 129"/>
                  <a:gd name="T73" fmla="*/ 10 h 84"/>
                  <a:gd name="T74" fmla="*/ 106 w 129"/>
                  <a:gd name="T75" fmla="*/ 0 h 84"/>
                  <a:gd name="T76" fmla="*/ 129 w 129"/>
                  <a:gd name="T77" fmla="*/ 0 h 84"/>
                  <a:gd name="T78" fmla="*/ 129 w 129"/>
                  <a:gd name="T79" fmla="*/ 69 h 84"/>
                  <a:gd name="T80" fmla="*/ 129 w 129"/>
                  <a:gd name="T81" fmla="*/ 69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</a:cxnLst>
                <a:rect l="0" t="0" r="r" b="b"/>
                <a:pathLst>
                  <a:path w="129" h="84">
                    <a:moveTo>
                      <a:pt x="129" y="69"/>
                    </a:moveTo>
                    <a:lnTo>
                      <a:pt x="129" y="69"/>
                    </a:lnTo>
                    <a:lnTo>
                      <a:pt x="127" y="74"/>
                    </a:lnTo>
                    <a:lnTo>
                      <a:pt x="123" y="78"/>
                    </a:lnTo>
                    <a:lnTo>
                      <a:pt x="119" y="82"/>
                    </a:lnTo>
                    <a:lnTo>
                      <a:pt x="113" y="84"/>
                    </a:lnTo>
                    <a:lnTo>
                      <a:pt x="15" y="84"/>
                    </a:lnTo>
                    <a:lnTo>
                      <a:pt x="15" y="84"/>
                    </a:lnTo>
                    <a:lnTo>
                      <a:pt x="10" y="82"/>
                    </a:lnTo>
                    <a:lnTo>
                      <a:pt x="4" y="78"/>
                    </a:lnTo>
                    <a:lnTo>
                      <a:pt x="2" y="74"/>
                    </a:lnTo>
                    <a:lnTo>
                      <a:pt x="0" y="69"/>
                    </a:lnTo>
                    <a:lnTo>
                      <a:pt x="0" y="0"/>
                    </a:lnTo>
                    <a:lnTo>
                      <a:pt x="23" y="0"/>
                    </a:lnTo>
                    <a:lnTo>
                      <a:pt x="23" y="0"/>
                    </a:lnTo>
                    <a:lnTo>
                      <a:pt x="19" y="10"/>
                    </a:lnTo>
                    <a:lnTo>
                      <a:pt x="19" y="20"/>
                    </a:lnTo>
                    <a:lnTo>
                      <a:pt x="19" y="20"/>
                    </a:lnTo>
                    <a:lnTo>
                      <a:pt x="19" y="27"/>
                    </a:lnTo>
                    <a:lnTo>
                      <a:pt x="23" y="37"/>
                    </a:lnTo>
                    <a:lnTo>
                      <a:pt x="27" y="45"/>
                    </a:lnTo>
                    <a:lnTo>
                      <a:pt x="33" y="51"/>
                    </a:lnTo>
                    <a:lnTo>
                      <a:pt x="39" y="57"/>
                    </a:lnTo>
                    <a:lnTo>
                      <a:pt x="47" y="61"/>
                    </a:lnTo>
                    <a:lnTo>
                      <a:pt x="55" y="63"/>
                    </a:lnTo>
                    <a:lnTo>
                      <a:pt x="64" y="65"/>
                    </a:lnTo>
                    <a:lnTo>
                      <a:pt x="64" y="65"/>
                    </a:lnTo>
                    <a:lnTo>
                      <a:pt x="72" y="63"/>
                    </a:lnTo>
                    <a:lnTo>
                      <a:pt x="82" y="61"/>
                    </a:lnTo>
                    <a:lnTo>
                      <a:pt x="90" y="57"/>
                    </a:lnTo>
                    <a:lnTo>
                      <a:pt x="96" y="51"/>
                    </a:lnTo>
                    <a:lnTo>
                      <a:pt x="102" y="45"/>
                    </a:lnTo>
                    <a:lnTo>
                      <a:pt x="106" y="37"/>
                    </a:lnTo>
                    <a:lnTo>
                      <a:pt x="108" y="27"/>
                    </a:lnTo>
                    <a:lnTo>
                      <a:pt x="110" y="20"/>
                    </a:lnTo>
                    <a:lnTo>
                      <a:pt x="110" y="20"/>
                    </a:lnTo>
                    <a:lnTo>
                      <a:pt x="108" y="10"/>
                    </a:lnTo>
                    <a:lnTo>
                      <a:pt x="106" y="0"/>
                    </a:lnTo>
                    <a:lnTo>
                      <a:pt x="129" y="0"/>
                    </a:lnTo>
                    <a:lnTo>
                      <a:pt x="129" y="69"/>
                    </a:lnTo>
                    <a:lnTo>
                      <a:pt x="129" y="69"/>
                    </a:lnTo>
                  </a:path>
                </a:pathLst>
              </a:cu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  <p:sp>
            <p:nvSpPr>
              <p:cNvPr id="40" name="Line 208">
                <a:extLst>
                  <a:ext uri="{FF2B5EF4-FFF2-40B4-BE49-F238E27FC236}">
                    <a16:creationId xmlns:a16="http://schemas.microsoft.com/office/drawing/2014/main" id="{1DDA04B9-CB4A-4EFB-B023-515FBE481125}"/>
                  </a:ext>
                </a:extLst>
              </p:cNvPr>
              <p:cNvSpPr>
                <a:spLocks noChangeShapeType="1"/>
              </p:cNvSpPr>
              <p:nvPr/>
            </p:nvSpPr>
            <p:spPr bwMode="auto">
              <a:xfrm>
                <a:off x="9430020" y="4175852"/>
                <a:ext cx="0" cy="0"/>
              </a:xfrm>
              <a:prstGeom prst="line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88F78C0D-9F7A-4900-AA35-35549DDC6E79}"/>
                </a:ext>
              </a:extLst>
            </p:cNvPr>
            <p:cNvSpPr txBox="1"/>
            <p:nvPr/>
          </p:nvSpPr>
          <p:spPr>
            <a:xfrm>
              <a:off x="9535793" y="3967696"/>
              <a:ext cx="1461946" cy="26468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4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@</a:t>
              </a:r>
              <a:r>
                <a:rPr kumimoji="0" lang="en-US" sz="1400" b="0" i="0" u="none" strike="noStrike" kern="1200" cap="none" spc="0" normalizeH="0" baseline="0" noProof="0" dirty="0" err="1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Segoe UI" panose="020B0502040204020203" pitchFamily="34" charset="0"/>
                  <a:ea typeface="+mn-ea"/>
                  <a:cs typeface="Segoe UI" panose="020B0502040204020203" pitchFamily="34" charset="0"/>
                </a:rPr>
                <a:t>ciffchild</a:t>
              </a: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endParaRPr>
            </a:p>
          </p:txBody>
        </p:sp>
      </p:grpSp>
      <p:grpSp>
        <p:nvGrpSpPr>
          <p:cNvPr id="41" name="Group 40">
            <a:extLst>
              <a:ext uri="{FF2B5EF4-FFF2-40B4-BE49-F238E27FC236}">
                <a16:creationId xmlns:a16="http://schemas.microsoft.com/office/drawing/2014/main" id="{2567E720-DF5B-4001-B2EF-E9FB0EE4D500}"/>
              </a:ext>
            </a:extLst>
          </p:cNvPr>
          <p:cNvGrpSpPr/>
          <p:nvPr/>
        </p:nvGrpSpPr>
        <p:grpSpPr>
          <a:xfrm>
            <a:off x="700339" y="2028511"/>
            <a:ext cx="4610135" cy="667875"/>
            <a:chOff x="6066048" y="2034518"/>
            <a:chExt cx="4610135" cy="667875"/>
          </a:xfrm>
        </p:grpSpPr>
        <p:sp>
          <p:nvSpPr>
            <p:cNvPr id="42" name="Rectangle 41">
              <a:extLst>
                <a:ext uri="{FF2B5EF4-FFF2-40B4-BE49-F238E27FC236}">
                  <a16:creationId xmlns:a16="http://schemas.microsoft.com/office/drawing/2014/main" id="{F3A90BAE-B818-4B36-93CB-B6002AC7C4E5}"/>
                </a:ext>
              </a:extLst>
            </p:cNvPr>
            <p:cNvSpPr/>
            <p:nvPr/>
          </p:nvSpPr>
          <p:spPr>
            <a:xfrm>
              <a:off x="6066048" y="2170224"/>
              <a:ext cx="4610135" cy="326884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D193DEAD-E1BA-43BC-9D60-2FF891C5C9F3}"/>
                </a:ext>
              </a:extLst>
            </p:cNvPr>
            <p:cNvSpPr txBox="1"/>
            <p:nvPr/>
          </p:nvSpPr>
          <p:spPr>
            <a:xfrm>
              <a:off x="6108945" y="2034518"/>
              <a:ext cx="3302035" cy="6678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8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4400" b="0" i="0" u="none" strike="noStrike" kern="1200" cap="none" spc="0" normalizeH="0" baseline="0" noProof="0" dirty="0">
                  <a:ln>
                    <a:noFill/>
                  </a:ln>
                  <a:solidFill>
                    <a:srgbClr val="ED1267"/>
                  </a:solidFill>
                  <a:effectLst/>
                  <a:uLnTx/>
                  <a:uFillTx/>
                  <a:latin typeface="Aharoni" panose="02010803020104030203" pitchFamily="2" charset="-79"/>
                  <a:ea typeface="+mn-ea"/>
                  <a:cs typeface="Aharoni" panose="02010803020104030203" pitchFamily="2" charset="-79"/>
                </a:rPr>
                <a:t>Thank You</a:t>
              </a:r>
            </a:p>
          </p:txBody>
        </p:sp>
      </p:grpSp>
      <p:sp>
        <p:nvSpPr>
          <p:cNvPr id="44" name="Shape 2857">
            <a:extLst>
              <a:ext uri="{FF2B5EF4-FFF2-40B4-BE49-F238E27FC236}">
                <a16:creationId xmlns:a16="http://schemas.microsoft.com/office/drawing/2014/main" id="{E5A02E5C-6CD7-4AE6-A838-9D99E6BA8369}"/>
              </a:ext>
            </a:extLst>
          </p:cNvPr>
          <p:cNvSpPr/>
          <p:nvPr/>
        </p:nvSpPr>
        <p:spPr>
          <a:xfrm>
            <a:off x="2847521" y="3645619"/>
            <a:ext cx="419100" cy="419056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8429" y="14128"/>
                </a:moveTo>
                <a:cubicBezTo>
                  <a:pt x="17041" y="13430"/>
                  <a:pt x="15777" y="12523"/>
                  <a:pt x="14684" y="11440"/>
                </a:cubicBezTo>
                <a:cubicBezTo>
                  <a:pt x="15214" y="10618"/>
                  <a:pt x="15664" y="9739"/>
                  <a:pt x="16034" y="8820"/>
                </a:cubicBezTo>
                <a:cubicBezTo>
                  <a:pt x="16089" y="8826"/>
                  <a:pt x="16143" y="8836"/>
                  <a:pt x="16200" y="8836"/>
                </a:cubicBezTo>
                <a:cubicBezTo>
                  <a:pt x="17013" y="8836"/>
                  <a:pt x="17673" y="8177"/>
                  <a:pt x="17673" y="7364"/>
                </a:cubicBezTo>
                <a:cubicBezTo>
                  <a:pt x="17673" y="6787"/>
                  <a:pt x="17339" y="6294"/>
                  <a:pt x="16856" y="6052"/>
                </a:cubicBezTo>
                <a:cubicBezTo>
                  <a:pt x="17033" y="5170"/>
                  <a:pt x="17144" y="4264"/>
                  <a:pt x="17167" y="3336"/>
                </a:cubicBezTo>
                <a:cubicBezTo>
                  <a:pt x="19277" y="5136"/>
                  <a:pt x="20618" y="7809"/>
                  <a:pt x="20618" y="10800"/>
                </a:cubicBezTo>
                <a:cubicBezTo>
                  <a:pt x="20618" y="11764"/>
                  <a:pt x="20469" y="12689"/>
                  <a:pt x="20209" y="13568"/>
                </a:cubicBezTo>
                <a:cubicBezTo>
                  <a:pt x="19628" y="13783"/>
                  <a:pt x="19034" y="13971"/>
                  <a:pt x="18429" y="14128"/>
                </a:cubicBezTo>
                <a:moveTo>
                  <a:pt x="10800" y="20618"/>
                </a:moveTo>
                <a:cubicBezTo>
                  <a:pt x="8406" y="20618"/>
                  <a:pt x="6213" y="19759"/>
                  <a:pt x="4509" y="18335"/>
                </a:cubicBezTo>
                <a:cubicBezTo>
                  <a:pt x="6552" y="17934"/>
                  <a:pt x="8450" y="17135"/>
                  <a:pt x="10128" y="16031"/>
                </a:cubicBezTo>
                <a:cubicBezTo>
                  <a:pt x="10330" y="16135"/>
                  <a:pt x="10556" y="16200"/>
                  <a:pt x="10800" y="16200"/>
                </a:cubicBezTo>
                <a:cubicBezTo>
                  <a:pt x="11273" y="16200"/>
                  <a:pt x="11689" y="15973"/>
                  <a:pt x="11959" y="15627"/>
                </a:cubicBezTo>
                <a:cubicBezTo>
                  <a:pt x="12547" y="15680"/>
                  <a:pt x="13142" y="15709"/>
                  <a:pt x="13745" y="15709"/>
                </a:cubicBezTo>
                <a:cubicBezTo>
                  <a:pt x="15323" y="15709"/>
                  <a:pt x="16852" y="15508"/>
                  <a:pt x="18322" y="15156"/>
                </a:cubicBezTo>
                <a:cubicBezTo>
                  <a:pt x="18660" y="15317"/>
                  <a:pt x="18998" y="15480"/>
                  <a:pt x="19350" y="15618"/>
                </a:cubicBezTo>
                <a:cubicBezTo>
                  <a:pt x="17665" y="18601"/>
                  <a:pt x="14470" y="20618"/>
                  <a:pt x="10800" y="20618"/>
                </a:cubicBezTo>
                <a:moveTo>
                  <a:pt x="3539" y="17392"/>
                </a:moveTo>
                <a:cubicBezTo>
                  <a:pt x="3476" y="16840"/>
                  <a:pt x="3436" y="16279"/>
                  <a:pt x="3436" y="15709"/>
                </a:cubicBezTo>
                <a:cubicBezTo>
                  <a:pt x="3436" y="14763"/>
                  <a:pt x="3536" y="13842"/>
                  <a:pt x="3707" y="12946"/>
                </a:cubicBezTo>
                <a:cubicBezTo>
                  <a:pt x="5455" y="13988"/>
                  <a:pt x="7377" y="14767"/>
                  <a:pt x="9421" y="15226"/>
                </a:cubicBezTo>
                <a:cubicBezTo>
                  <a:pt x="9431" y="15253"/>
                  <a:pt x="9436" y="15282"/>
                  <a:pt x="9447" y="15308"/>
                </a:cubicBezTo>
                <a:cubicBezTo>
                  <a:pt x="7724" y="16421"/>
                  <a:pt x="5761" y="17193"/>
                  <a:pt x="3643" y="17506"/>
                </a:cubicBezTo>
                <a:cubicBezTo>
                  <a:pt x="3608" y="17469"/>
                  <a:pt x="3573" y="17430"/>
                  <a:pt x="3539" y="17392"/>
                </a:cubicBezTo>
                <a:moveTo>
                  <a:pt x="3075" y="11369"/>
                </a:moveTo>
                <a:cubicBezTo>
                  <a:pt x="2361" y="10869"/>
                  <a:pt x="1683" y="10321"/>
                  <a:pt x="1046" y="9729"/>
                </a:cubicBezTo>
                <a:cubicBezTo>
                  <a:pt x="1528" y="5299"/>
                  <a:pt x="4955" y="1762"/>
                  <a:pt x="9331" y="1104"/>
                </a:cubicBezTo>
                <a:cubicBezTo>
                  <a:pt x="9335" y="1629"/>
                  <a:pt x="9363" y="2148"/>
                  <a:pt x="9417" y="2660"/>
                </a:cubicBezTo>
                <a:cubicBezTo>
                  <a:pt x="8572" y="3227"/>
                  <a:pt x="7787" y="3879"/>
                  <a:pt x="7069" y="4596"/>
                </a:cubicBezTo>
                <a:cubicBezTo>
                  <a:pt x="6863" y="4486"/>
                  <a:pt x="6632" y="4418"/>
                  <a:pt x="6382" y="4418"/>
                </a:cubicBezTo>
                <a:cubicBezTo>
                  <a:pt x="5569" y="4418"/>
                  <a:pt x="4909" y="5078"/>
                  <a:pt x="4909" y="5891"/>
                </a:cubicBezTo>
                <a:cubicBezTo>
                  <a:pt x="4909" y="6236"/>
                  <a:pt x="5033" y="6549"/>
                  <a:pt x="5231" y="6800"/>
                </a:cubicBezTo>
                <a:cubicBezTo>
                  <a:pt x="4279" y="8179"/>
                  <a:pt x="3550" y="9719"/>
                  <a:pt x="3075" y="11369"/>
                </a:cubicBezTo>
                <a:moveTo>
                  <a:pt x="2466" y="15973"/>
                </a:moveTo>
                <a:cubicBezTo>
                  <a:pt x="1563" y="14521"/>
                  <a:pt x="1025" y="12821"/>
                  <a:pt x="989" y="10995"/>
                </a:cubicBezTo>
                <a:cubicBezTo>
                  <a:pt x="1570" y="11492"/>
                  <a:pt x="2180" y="11955"/>
                  <a:pt x="2817" y="12383"/>
                </a:cubicBezTo>
                <a:cubicBezTo>
                  <a:pt x="2585" y="13456"/>
                  <a:pt x="2455" y="14567"/>
                  <a:pt x="2455" y="15709"/>
                </a:cubicBezTo>
                <a:cubicBezTo>
                  <a:pt x="2455" y="15798"/>
                  <a:pt x="2464" y="15885"/>
                  <a:pt x="2466" y="15973"/>
                </a:cubicBezTo>
                <a:moveTo>
                  <a:pt x="13428" y="11540"/>
                </a:moveTo>
                <a:cubicBezTo>
                  <a:pt x="12907" y="12264"/>
                  <a:pt x="12315" y="12931"/>
                  <a:pt x="11674" y="13548"/>
                </a:cubicBezTo>
                <a:cubicBezTo>
                  <a:pt x="11429" y="13366"/>
                  <a:pt x="11129" y="13255"/>
                  <a:pt x="10800" y="13255"/>
                </a:cubicBezTo>
                <a:cubicBezTo>
                  <a:pt x="10166" y="13255"/>
                  <a:pt x="9631" y="13657"/>
                  <a:pt x="9423" y="14218"/>
                </a:cubicBezTo>
                <a:cubicBezTo>
                  <a:pt x="7455" y="13751"/>
                  <a:pt x="5607" y="12973"/>
                  <a:pt x="3936" y="11937"/>
                </a:cubicBezTo>
                <a:cubicBezTo>
                  <a:pt x="4379" y="10266"/>
                  <a:pt x="5100" y="8708"/>
                  <a:pt x="6060" y="7326"/>
                </a:cubicBezTo>
                <a:cubicBezTo>
                  <a:pt x="6164" y="7349"/>
                  <a:pt x="6271" y="7364"/>
                  <a:pt x="6382" y="7364"/>
                </a:cubicBezTo>
                <a:cubicBezTo>
                  <a:pt x="7195" y="7364"/>
                  <a:pt x="7855" y="6704"/>
                  <a:pt x="7855" y="5891"/>
                </a:cubicBezTo>
                <a:cubicBezTo>
                  <a:pt x="7855" y="5688"/>
                  <a:pt x="7813" y="5493"/>
                  <a:pt x="7739" y="5317"/>
                </a:cubicBezTo>
                <a:cubicBezTo>
                  <a:pt x="8307" y="4747"/>
                  <a:pt x="8920" y="4221"/>
                  <a:pt x="9575" y="3749"/>
                </a:cubicBezTo>
                <a:cubicBezTo>
                  <a:pt x="10104" y="6723"/>
                  <a:pt x="11479" y="9397"/>
                  <a:pt x="13428" y="11540"/>
                </a:cubicBezTo>
                <a:moveTo>
                  <a:pt x="10800" y="982"/>
                </a:moveTo>
                <a:cubicBezTo>
                  <a:pt x="11347" y="982"/>
                  <a:pt x="11881" y="1038"/>
                  <a:pt x="12403" y="1125"/>
                </a:cubicBezTo>
                <a:cubicBezTo>
                  <a:pt x="11696" y="1400"/>
                  <a:pt x="11005" y="1707"/>
                  <a:pt x="10354" y="2081"/>
                </a:cubicBezTo>
                <a:cubicBezTo>
                  <a:pt x="10328" y="1726"/>
                  <a:pt x="10311" y="1368"/>
                  <a:pt x="10310" y="1007"/>
                </a:cubicBezTo>
                <a:cubicBezTo>
                  <a:pt x="10474" y="999"/>
                  <a:pt x="10635" y="982"/>
                  <a:pt x="10800" y="982"/>
                </a:cubicBezTo>
                <a:moveTo>
                  <a:pt x="14120" y="12262"/>
                </a:moveTo>
                <a:cubicBezTo>
                  <a:pt x="14982" y="13097"/>
                  <a:pt x="15950" y="13819"/>
                  <a:pt x="16986" y="14440"/>
                </a:cubicBezTo>
                <a:cubicBezTo>
                  <a:pt x="15933" y="14626"/>
                  <a:pt x="14852" y="14727"/>
                  <a:pt x="13745" y="14727"/>
                </a:cubicBezTo>
                <a:cubicBezTo>
                  <a:pt x="13246" y="14727"/>
                  <a:pt x="12754" y="14702"/>
                  <a:pt x="12265" y="14664"/>
                </a:cubicBezTo>
                <a:cubicBezTo>
                  <a:pt x="12259" y="14569"/>
                  <a:pt x="12250" y="14475"/>
                  <a:pt x="12229" y="14385"/>
                </a:cubicBezTo>
                <a:cubicBezTo>
                  <a:pt x="12921" y="13737"/>
                  <a:pt x="13555" y="13027"/>
                  <a:pt x="14120" y="12262"/>
                </a:cubicBezTo>
                <a:moveTo>
                  <a:pt x="16188" y="2597"/>
                </a:moveTo>
                <a:cubicBezTo>
                  <a:pt x="16191" y="2713"/>
                  <a:pt x="16200" y="2828"/>
                  <a:pt x="16200" y="2945"/>
                </a:cubicBezTo>
                <a:cubicBezTo>
                  <a:pt x="16200" y="3967"/>
                  <a:pt x="16092" y="4962"/>
                  <a:pt x="15894" y="5924"/>
                </a:cubicBezTo>
                <a:cubicBezTo>
                  <a:pt x="15227" y="6065"/>
                  <a:pt x="14727" y="6656"/>
                  <a:pt x="14727" y="7364"/>
                </a:cubicBezTo>
                <a:cubicBezTo>
                  <a:pt x="14727" y="7765"/>
                  <a:pt x="14888" y="8127"/>
                  <a:pt x="15149" y="8393"/>
                </a:cubicBezTo>
                <a:cubicBezTo>
                  <a:pt x="14827" y="9199"/>
                  <a:pt x="14443" y="9973"/>
                  <a:pt x="13991" y="10701"/>
                </a:cubicBezTo>
                <a:cubicBezTo>
                  <a:pt x="12159" y="8620"/>
                  <a:pt x="10894" y="6025"/>
                  <a:pt x="10469" y="3152"/>
                </a:cubicBezTo>
                <a:cubicBezTo>
                  <a:pt x="11590" y="2463"/>
                  <a:pt x="12813" y="1934"/>
                  <a:pt x="14106" y="1565"/>
                </a:cubicBezTo>
                <a:cubicBezTo>
                  <a:pt x="14844" y="1829"/>
                  <a:pt x="15544" y="2173"/>
                  <a:pt x="16188" y="2597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5" y="21600"/>
                  <a:pt x="21600" y="16765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bg1"/>
          </a:solidFill>
          <a:ln w="12700">
            <a:miter lim="400000"/>
          </a:ln>
        </p:spPr>
        <p:txBody>
          <a:bodyPr lIns="28571" tIns="28571" rIns="28571" bIns="28571" anchor="ctr"/>
          <a:lstStyle/>
          <a:p>
            <a:pPr marL="0" marR="0" lvl="0" indent="0" algn="l" defTabSz="34284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22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Gill Sans"/>
              <a:sym typeface="Gill Sans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9B1F6346-3993-4CE9-AC03-CBD79A227AEF}"/>
              </a:ext>
            </a:extLst>
          </p:cNvPr>
          <p:cNvSpPr txBox="1"/>
          <p:nvPr/>
        </p:nvSpPr>
        <p:spPr>
          <a:xfrm>
            <a:off x="3307469" y="3724127"/>
            <a:ext cx="1461946" cy="2646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Segoe UI" panose="020B0502040204020203" pitchFamily="34" charset="0"/>
                <a:ea typeface="+mn-ea"/>
                <a:cs typeface="Segoe UI" panose="020B0502040204020203" pitchFamily="34" charset="0"/>
              </a:rPr>
              <a:t>www.ciff.org</a:t>
            </a:r>
          </a:p>
        </p:txBody>
      </p:sp>
    </p:spTree>
    <p:extLst>
      <p:ext uri="{BB962C8B-B14F-4D97-AF65-F5344CB8AC3E}">
        <p14:creationId xmlns:p14="http://schemas.microsoft.com/office/powerpoint/2010/main" val="3799001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75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C1E0779E-B5FA-4DD2-8827-1734F95A7150}"/>
              </a:ext>
            </a:extLst>
          </p:cNvPr>
          <p:cNvSpPr/>
          <p:nvPr/>
        </p:nvSpPr>
        <p:spPr>
          <a:xfrm>
            <a:off x="-6203" y="385184"/>
            <a:ext cx="12192000" cy="495243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3">
              <a:buClr>
                <a:srgbClr val="000000"/>
              </a:buClr>
              <a:buSzPts val="1300"/>
            </a:pPr>
            <a:r>
              <a:rPr lang="en-GB" sz="3200" b="1" kern="0" dirty="0">
                <a:solidFill>
                  <a:srgbClr val="ED1267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THE CHILDREN’S INVESTMENT FUND FOUNDATION </a:t>
            </a:r>
            <a:r>
              <a:rPr lang="en-GB" sz="3200" b="1" kern="0" dirty="0">
                <a:solidFill>
                  <a:srgbClr val="DA3568"/>
                </a:solidFill>
                <a:cs typeface="Calibri" panose="020F0502020204030204" pitchFamily="34" charset="0"/>
                <a:sym typeface="Calibri" panose="020F0502020204030204" pitchFamily="34" charset="0"/>
              </a:rPr>
              <a:t>	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3EDC8818-2BFD-47DF-A0B8-D809D559CE3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3787" y="1061582"/>
            <a:ext cx="4317791" cy="2879967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C412F66-E383-447C-9EDC-CD1C3ED5B7D4}"/>
              </a:ext>
            </a:extLst>
          </p:cNvPr>
          <p:cNvSpPr txBox="1"/>
          <p:nvPr/>
        </p:nvSpPr>
        <p:spPr>
          <a:xfrm>
            <a:off x="685800" y="3751343"/>
            <a:ext cx="10807995" cy="261610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GB" sz="2000" b="1" dirty="0"/>
              <a:t>Overview</a:t>
            </a:r>
            <a:endParaRPr lang="en-GB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IFF is an </a:t>
            </a:r>
            <a:r>
              <a:rPr lang="en-GB" b="1" dirty="0">
                <a:solidFill>
                  <a:srgbClr val="ED1267"/>
                </a:solidFill>
              </a:rPr>
              <a:t>independent philanthropic organisation</a:t>
            </a:r>
            <a:r>
              <a:rPr lang="en-GB" dirty="0"/>
              <a:t> with offices in Addis Ababa, Beijing, London, Nairobi and New Delhi</a:t>
            </a:r>
            <a:endParaRPr lang="en-GB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CIFF has been</a:t>
            </a:r>
            <a:r>
              <a:rPr lang="en-GB" b="1" dirty="0">
                <a:solidFill>
                  <a:srgbClr val="ED1267"/>
                </a:solidFill>
              </a:rPr>
              <a:t> working in Africa for over 15 years</a:t>
            </a:r>
            <a:r>
              <a:rPr lang="en-GB" b="1" dirty="0"/>
              <a:t>. </a:t>
            </a:r>
            <a:r>
              <a:rPr lang="en-GB" dirty="0"/>
              <a:t>The Nairobi office has been operational since 2009, and in 2019 we opened our office in Addis Ababa, Ethiopia </a:t>
            </a:r>
            <a:endParaRPr lang="en-GB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b="1" dirty="0">
                <a:solidFill>
                  <a:srgbClr val="ED1267"/>
                </a:solidFill>
              </a:rPr>
              <a:t>Established in 2002</a:t>
            </a:r>
            <a:r>
              <a:rPr lang="en-GB" dirty="0">
                <a:solidFill>
                  <a:srgbClr val="ED1267"/>
                </a:solidFill>
              </a:rPr>
              <a:t>, </a:t>
            </a:r>
            <a:r>
              <a:rPr lang="en-GB" dirty="0"/>
              <a:t>we have no religious or political affiliation.</a:t>
            </a:r>
            <a:endParaRPr lang="en-GB" dirty="0">
              <a:cs typeface="Calibri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/>
              <a:t>We work with a range of partners seeking to transform the lives of children and adolescents. </a:t>
            </a:r>
            <a:r>
              <a:rPr lang="en-GB" b="1" dirty="0">
                <a:solidFill>
                  <a:srgbClr val="ED1267"/>
                </a:solidFill>
              </a:rPr>
              <a:t>Partnerships </a:t>
            </a:r>
            <a:r>
              <a:rPr lang="en-GB" dirty="0"/>
              <a:t>are </a:t>
            </a:r>
            <a:r>
              <a:rPr lang="en-GB" b="1" dirty="0">
                <a:solidFill>
                  <a:srgbClr val="ED1267"/>
                </a:solidFill>
              </a:rPr>
              <a:t>critical</a:t>
            </a:r>
            <a:r>
              <a:rPr lang="en-GB" b="1" dirty="0"/>
              <a:t> </a:t>
            </a:r>
            <a:r>
              <a:rPr lang="en-GB" dirty="0"/>
              <a:t>because it will </a:t>
            </a:r>
            <a:r>
              <a:rPr lang="en-GB" b="1" dirty="0">
                <a:solidFill>
                  <a:srgbClr val="ED1267"/>
                </a:solidFill>
              </a:rPr>
              <a:t>take the combined efforts of many</a:t>
            </a:r>
            <a:r>
              <a:rPr lang="en-GB" dirty="0"/>
              <a:t> to urgently tackle the challenges faced by children and their families</a:t>
            </a:r>
            <a:endParaRPr lang="en-GB" dirty="0">
              <a:cs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4414091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7FF20D95-3791-44A0-BED9-58C6372EE1B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3491" y="1267890"/>
            <a:ext cx="6874997" cy="4181188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6CB46588-38D0-4934-A7B2-029056D1F5C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28383" y="1408922"/>
            <a:ext cx="5280126" cy="357229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B522FB8D-97AC-4F9D-93D8-734AC141E288}"/>
              </a:ext>
            </a:extLst>
          </p:cNvPr>
          <p:cNvSpPr/>
          <p:nvPr/>
        </p:nvSpPr>
        <p:spPr>
          <a:xfrm>
            <a:off x="49691" y="151647"/>
            <a:ext cx="11344214" cy="54311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0" i="0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Arial"/>
                <a:cs typeface="Arial"/>
              </a:rPr>
              <a:t>Context: </a:t>
            </a:r>
            <a:r>
              <a:rPr kumimoji="0" lang="en-GB" sz="1800" b="0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Arial"/>
                <a:cs typeface="Arial"/>
              </a:rPr>
              <a:t>Africa is doing poorly against a multitude of global indicators. We will need new and transformative approaches to change our trajectory</a:t>
            </a:r>
            <a:endParaRPr lang="en-GB" sz="1800" b="0" i="1" u="none" strike="noStrike" kern="1200" cap="none" spc="0" normalizeH="0" baseline="0" noProof="0" dirty="0">
              <a:ln>
                <a:noFill/>
              </a:ln>
              <a:solidFill>
                <a:srgbClr val="ED1267"/>
              </a:solidFill>
              <a:effectLst/>
              <a:uLnTx/>
              <a:uFillTx/>
              <a:latin typeface="Arial"/>
              <a:cs typeface="Arial"/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2919AFCE-5889-4B5B-A60E-4C34DBCD7D2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491" y="6294598"/>
            <a:ext cx="6535424" cy="528878"/>
          </a:xfrm>
          <a:prstGeom prst="rect">
            <a:avLst/>
          </a:prstGeom>
          <a:solidFill>
            <a:schemeClr val="bg2"/>
          </a:solidFill>
        </p:spPr>
      </p:pic>
    </p:spTree>
    <p:extLst>
      <p:ext uri="{BB962C8B-B14F-4D97-AF65-F5344CB8AC3E}">
        <p14:creationId xmlns:p14="http://schemas.microsoft.com/office/powerpoint/2010/main" val="251040361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5" imgW="425" imgH="426" progId="TCLayout.ActiveDocument.1">
                  <p:embed/>
                </p:oleObj>
              </mc:Choice>
              <mc:Fallback>
                <p:oleObj name="think-cell Slide" r:id="rId5" imgW="425" imgH="426" progId="TCLayout.ActiveDocument.1">
                  <p:embed/>
                  <p:pic>
                    <p:nvPicPr>
                      <p:cNvPr id="17" name="Object 1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TextBox 21">
            <a:extLst>
              <a:ext uri="{FF2B5EF4-FFF2-40B4-BE49-F238E27FC236}">
                <a16:creationId xmlns:a16="http://schemas.microsoft.com/office/drawing/2014/main" id="{89B1940F-BE29-4F7D-8324-53D2A15BCCA5}"/>
              </a:ext>
            </a:extLst>
          </p:cNvPr>
          <p:cNvSpPr txBox="1"/>
          <p:nvPr/>
        </p:nvSpPr>
        <p:spPr>
          <a:xfrm>
            <a:off x="658812" y="862263"/>
            <a:ext cx="11007162" cy="365760"/>
          </a:xfrm>
          <a:prstGeom prst="rect">
            <a:avLst/>
          </a:prstGeom>
          <a:solidFill>
            <a:srgbClr val="4BACC6"/>
          </a:solidFill>
        </p:spPr>
        <p:txBody>
          <a:bodyPr wrap="square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OPPORTUNITIES</a:t>
            </a:r>
          </a:p>
        </p:txBody>
      </p:sp>
      <p:sp>
        <p:nvSpPr>
          <p:cNvPr id="205" name="Rectangle 204">
            <a:extLst>
              <a:ext uri="{FF2B5EF4-FFF2-40B4-BE49-F238E27FC236}">
                <a16:creationId xmlns:a16="http://schemas.microsoft.com/office/drawing/2014/main" id="{CE035A05-89D2-492C-A75D-45AFD7A39851}"/>
              </a:ext>
            </a:extLst>
          </p:cNvPr>
          <p:cNvSpPr/>
          <p:nvPr/>
        </p:nvSpPr>
        <p:spPr>
          <a:xfrm>
            <a:off x="6162393" y="1539944"/>
            <a:ext cx="5498808" cy="1266313"/>
          </a:xfrm>
          <a:prstGeom prst="rect">
            <a:avLst/>
          </a:prstGeom>
          <a:solidFill>
            <a:srgbClr val="FCD7E5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6800" rtlCol="0" anchor="ctr">
            <a:noAutofit/>
          </a:bodyPr>
          <a:lstStyle/>
          <a:p>
            <a:pPr marL="171450" lvl="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GB" sz="1000" b="1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Accelerating a</a:t>
            </a:r>
            <a:r>
              <a:rPr lang="en-US" sz="1000" b="1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 decline in fertility and child mortality are preconditions for investments in increasing human capital to deliver a ‘demographic dividend’</a:t>
            </a:r>
          </a:p>
          <a:p>
            <a:pPr marL="171450" lvl="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A demographic dividend requires supportive policies that lower dependency ratios, ensure a healthy transition to adulthood and increase youth employment - especially for girls</a:t>
            </a:r>
            <a:endParaRPr lang="en-US" sz="400" b="1" dirty="0">
              <a:solidFill>
                <a:srgbClr val="000000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  <a:p>
            <a:pPr marL="171450" lvl="0" indent="-1714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  <a:defRPr/>
            </a:pPr>
            <a:r>
              <a:rPr lang="en-US" sz="1000" b="1" dirty="0">
                <a:solidFill>
                  <a:srgbClr val="000000"/>
                </a:solidFill>
                <a:latin typeface="Calibri"/>
                <a:cs typeface="Calibri"/>
                <a:sym typeface="Calibri" panose="020F0502020204030204" pitchFamily="34" charset="0"/>
              </a:rPr>
              <a:t>Countries that have high fertility need a greater focus on demographic transition (e.g., contraception, delaying age of marriage), whilst those with lower fertility have the opportunity to grow human capital - through skills, employment and female labour force participation</a:t>
            </a:r>
            <a:endParaRPr lang="en-US" sz="1000" b="1" dirty="0">
              <a:solidFill>
                <a:srgbClr val="000000"/>
              </a:solidFill>
              <a:latin typeface="Calibri"/>
              <a:cs typeface="Calibri"/>
            </a:endParaRPr>
          </a:p>
        </p:txBody>
      </p:sp>
      <p:sp>
        <p:nvSpPr>
          <p:cNvPr id="212" name="Rectangle 211">
            <a:extLst>
              <a:ext uri="{FF2B5EF4-FFF2-40B4-BE49-F238E27FC236}">
                <a16:creationId xmlns:a16="http://schemas.microsoft.com/office/drawing/2014/main" id="{D527678E-73F1-47B5-A678-66B03203E433}"/>
              </a:ext>
            </a:extLst>
          </p:cNvPr>
          <p:cNvSpPr/>
          <p:nvPr/>
        </p:nvSpPr>
        <p:spPr>
          <a:xfrm>
            <a:off x="6618510" y="3134819"/>
            <a:ext cx="1677098" cy="82499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9436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Digitisation</a:t>
            </a:r>
          </a:p>
        </p:txBody>
      </p:sp>
      <p:sp>
        <p:nvSpPr>
          <p:cNvPr id="213" name="TextBox 212">
            <a:extLst>
              <a:ext uri="{FF2B5EF4-FFF2-40B4-BE49-F238E27FC236}">
                <a16:creationId xmlns:a16="http://schemas.microsoft.com/office/drawing/2014/main" id="{E5418113-484E-4C89-BC90-B1C308BCDB16}"/>
              </a:ext>
            </a:extLst>
          </p:cNvPr>
          <p:cNvSpPr txBox="1">
            <a:spLocks/>
          </p:cNvSpPr>
          <p:nvPr/>
        </p:nvSpPr>
        <p:spPr>
          <a:xfrm>
            <a:off x="6552749" y="3136349"/>
            <a:ext cx="65761" cy="822960"/>
          </a:xfrm>
          <a:prstGeom prst="rect">
            <a:avLst/>
          </a:prstGeom>
          <a:solidFill>
            <a:srgbClr val="4BACC6"/>
          </a:solidFill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400">
                <a:latin typeface="Merriweather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4" name="Rectangle 213">
            <a:extLst>
              <a:ext uri="{FF2B5EF4-FFF2-40B4-BE49-F238E27FC236}">
                <a16:creationId xmlns:a16="http://schemas.microsoft.com/office/drawing/2014/main" id="{CE035A05-89D2-492C-A75D-45AFD7A39851}"/>
              </a:ext>
            </a:extLst>
          </p:cNvPr>
          <p:cNvSpPr/>
          <p:nvPr/>
        </p:nvSpPr>
        <p:spPr>
          <a:xfrm>
            <a:off x="8355511" y="3135443"/>
            <a:ext cx="2990232" cy="824991"/>
          </a:xfrm>
          <a:prstGeom prst="rect">
            <a:avLst/>
          </a:prstGeom>
          <a:solidFill>
            <a:srgbClr val="DB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Huge increases in smartphone ownership (33%) and regular internet (41%) create opportunities for civic engagement, data capture</a:t>
            </a: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, </a:t>
            </a: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 and accountability to target populations</a:t>
            </a:r>
          </a:p>
        </p:txBody>
      </p:sp>
      <p:sp>
        <p:nvSpPr>
          <p:cNvPr id="216" name="Rectangle 215">
            <a:extLst>
              <a:ext uri="{FF2B5EF4-FFF2-40B4-BE49-F238E27FC236}">
                <a16:creationId xmlns:a16="http://schemas.microsoft.com/office/drawing/2014/main" id="{D527678E-73F1-47B5-A678-66B03203E433}"/>
              </a:ext>
            </a:extLst>
          </p:cNvPr>
          <p:cNvSpPr/>
          <p:nvPr/>
        </p:nvSpPr>
        <p:spPr>
          <a:xfrm>
            <a:off x="6618509" y="4003149"/>
            <a:ext cx="1737001" cy="824991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9436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Political evolution</a:t>
            </a:r>
          </a:p>
        </p:txBody>
      </p:sp>
      <p:sp>
        <p:nvSpPr>
          <p:cNvPr id="217" name="TextBox 216">
            <a:extLst>
              <a:ext uri="{FF2B5EF4-FFF2-40B4-BE49-F238E27FC236}">
                <a16:creationId xmlns:a16="http://schemas.microsoft.com/office/drawing/2014/main" id="{E5418113-484E-4C89-BC90-B1C308BCDB16}"/>
              </a:ext>
            </a:extLst>
          </p:cNvPr>
          <p:cNvSpPr txBox="1">
            <a:spLocks/>
          </p:cNvSpPr>
          <p:nvPr/>
        </p:nvSpPr>
        <p:spPr>
          <a:xfrm>
            <a:off x="6552749" y="4004679"/>
            <a:ext cx="65761" cy="822960"/>
          </a:xfrm>
          <a:prstGeom prst="rect">
            <a:avLst/>
          </a:prstGeom>
          <a:solidFill>
            <a:srgbClr val="4BACC6"/>
          </a:solidFill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400">
                <a:latin typeface="Merriweather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18" name="Rectangle 217">
            <a:extLst>
              <a:ext uri="{FF2B5EF4-FFF2-40B4-BE49-F238E27FC236}">
                <a16:creationId xmlns:a16="http://schemas.microsoft.com/office/drawing/2014/main" id="{CE035A05-89D2-492C-A75D-45AFD7A39851}"/>
              </a:ext>
            </a:extLst>
          </p:cNvPr>
          <p:cNvSpPr/>
          <p:nvPr/>
        </p:nvSpPr>
        <p:spPr>
          <a:xfrm>
            <a:off x="8355511" y="4003773"/>
            <a:ext cx="2990232" cy="824991"/>
          </a:xfrm>
          <a:prstGeom prst="rect">
            <a:avLst/>
          </a:prstGeom>
          <a:solidFill>
            <a:srgbClr val="DB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6800" rtlCol="0" anchor="ctr">
            <a:noAutofit/>
          </a:bodyPr>
          <a:lstStyle/>
          <a:p>
            <a:pPr lvl="0">
              <a:defRPr/>
            </a:pPr>
            <a:r>
              <a:rPr lang="en-US" sz="1000" dirty="0">
                <a:solidFill>
                  <a:srgbClr val="000000"/>
                </a:solidFill>
                <a:latin typeface="Calibri" panose="020F0502020204030204" pitchFamily="34" charset="0"/>
                <a:sym typeface="Calibri" panose="020F0502020204030204" pitchFamily="34" charset="0"/>
              </a:rPr>
              <a:t>Increased popular political activism and engagement. Africans are aware of and demanding for their rights</a:t>
            </a:r>
          </a:p>
        </p:txBody>
      </p:sp>
      <p:sp>
        <p:nvSpPr>
          <p:cNvPr id="220" name="Rectangle 219">
            <a:extLst>
              <a:ext uri="{FF2B5EF4-FFF2-40B4-BE49-F238E27FC236}">
                <a16:creationId xmlns:a16="http://schemas.microsoft.com/office/drawing/2014/main" id="{D527678E-73F1-47B5-A678-66B03203E433}"/>
              </a:ext>
            </a:extLst>
          </p:cNvPr>
          <p:cNvSpPr/>
          <p:nvPr/>
        </p:nvSpPr>
        <p:spPr>
          <a:xfrm>
            <a:off x="6618510" y="4856722"/>
            <a:ext cx="1677098" cy="825705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9436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>
                    <a:lumMod val="95000"/>
                    <a:lumOff val="5000"/>
                  </a:srgbClr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African philanthropy</a:t>
            </a:r>
          </a:p>
        </p:txBody>
      </p:sp>
      <p:sp>
        <p:nvSpPr>
          <p:cNvPr id="221" name="TextBox 220">
            <a:extLst>
              <a:ext uri="{FF2B5EF4-FFF2-40B4-BE49-F238E27FC236}">
                <a16:creationId xmlns:a16="http://schemas.microsoft.com/office/drawing/2014/main" id="{E5418113-484E-4C89-BC90-B1C308BCDB16}"/>
              </a:ext>
            </a:extLst>
          </p:cNvPr>
          <p:cNvSpPr txBox="1">
            <a:spLocks/>
          </p:cNvSpPr>
          <p:nvPr/>
        </p:nvSpPr>
        <p:spPr>
          <a:xfrm>
            <a:off x="6552749" y="4858252"/>
            <a:ext cx="65761" cy="822960"/>
          </a:xfrm>
          <a:prstGeom prst="rect">
            <a:avLst/>
          </a:prstGeom>
          <a:solidFill>
            <a:srgbClr val="4BACC6"/>
          </a:solidFill>
        </p:spPr>
        <p:txBody>
          <a:bodyPr wrap="square" rtlCol="0">
            <a:noAutofit/>
          </a:bodyPr>
          <a:lstStyle>
            <a:defPPr>
              <a:defRPr lang="en-US"/>
            </a:defPPr>
            <a:lvl1pPr algn="ctr">
              <a:defRPr sz="1400">
                <a:latin typeface="Merriweather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22" name="Rectangle 221">
            <a:extLst>
              <a:ext uri="{FF2B5EF4-FFF2-40B4-BE49-F238E27FC236}">
                <a16:creationId xmlns:a16="http://schemas.microsoft.com/office/drawing/2014/main" id="{CE035A05-89D2-492C-A75D-45AFD7A39851}"/>
              </a:ext>
            </a:extLst>
          </p:cNvPr>
          <p:cNvSpPr/>
          <p:nvPr/>
        </p:nvSpPr>
        <p:spPr>
          <a:xfrm>
            <a:off x="8355511" y="4857346"/>
            <a:ext cx="2990232" cy="825705"/>
          </a:xfrm>
          <a:prstGeom prst="rect">
            <a:avLst/>
          </a:prstGeom>
          <a:solidFill>
            <a:srgbClr val="DBEE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6800" rIns="91440" bIns="4680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  <a:sym typeface="Calibri" panose="020F0502020204030204" pitchFamily="34" charset="0"/>
              </a:rPr>
              <a:t>There are opportunities to fill a sustainability and funding vacuum with new African institutions and giving programs, funded by African sources or led by African voices</a:t>
            </a:r>
          </a:p>
        </p:txBody>
      </p:sp>
      <p:sp>
        <p:nvSpPr>
          <p:cNvPr id="230" name="Shape 2646">
            <a:extLst>
              <a:ext uri="{FF2B5EF4-FFF2-40B4-BE49-F238E27FC236}">
                <a16:creationId xmlns:a16="http://schemas.microsoft.com/office/drawing/2014/main" id="{A2EAF9A7-A303-4FBB-9F6C-D7765B994EEB}"/>
              </a:ext>
            </a:extLst>
          </p:cNvPr>
          <p:cNvSpPr/>
          <p:nvPr/>
        </p:nvSpPr>
        <p:spPr>
          <a:xfrm>
            <a:off x="6745479" y="3432194"/>
            <a:ext cx="323648" cy="323648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4727"/>
                </a:moveTo>
                <a:lnTo>
                  <a:pt x="982" y="14727"/>
                </a:lnTo>
                <a:lnTo>
                  <a:pt x="982" y="1964"/>
                </a:lnTo>
                <a:cubicBezTo>
                  <a:pt x="982" y="1422"/>
                  <a:pt x="1422" y="982"/>
                  <a:pt x="1964" y="982"/>
                </a:cubicBezTo>
                <a:lnTo>
                  <a:pt x="19636" y="982"/>
                </a:lnTo>
                <a:cubicBezTo>
                  <a:pt x="20178" y="982"/>
                  <a:pt x="20618" y="1422"/>
                  <a:pt x="20618" y="1964"/>
                </a:cubicBezTo>
                <a:cubicBezTo>
                  <a:pt x="20618" y="1964"/>
                  <a:pt x="20618" y="14727"/>
                  <a:pt x="20618" y="14727"/>
                </a:cubicBezTo>
                <a:close/>
                <a:moveTo>
                  <a:pt x="20618" y="16691"/>
                </a:moveTo>
                <a:cubicBezTo>
                  <a:pt x="20618" y="17233"/>
                  <a:pt x="20178" y="17673"/>
                  <a:pt x="19636" y="17673"/>
                </a:cubicBezTo>
                <a:lnTo>
                  <a:pt x="1964" y="17673"/>
                </a:lnTo>
                <a:cubicBezTo>
                  <a:pt x="1422" y="17673"/>
                  <a:pt x="982" y="17233"/>
                  <a:pt x="982" y="16691"/>
                </a:cubicBezTo>
                <a:lnTo>
                  <a:pt x="982" y="15709"/>
                </a:lnTo>
                <a:lnTo>
                  <a:pt x="20618" y="15709"/>
                </a:lnTo>
                <a:cubicBezTo>
                  <a:pt x="20618" y="15709"/>
                  <a:pt x="20618" y="16691"/>
                  <a:pt x="20618" y="16691"/>
                </a:cubicBezTo>
                <a:close/>
                <a:moveTo>
                  <a:pt x="11782" y="20618"/>
                </a:moveTo>
                <a:lnTo>
                  <a:pt x="9818" y="20618"/>
                </a:lnTo>
                <a:lnTo>
                  <a:pt x="9818" y="18655"/>
                </a:lnTo>
                <a:lnTo>
                  <a:pt x="11782" y="18655"/>
                </a:lnTo>
                <a:cubicBezTo>
                  <a:pt x="11782" y="18655"/>
                  <a:pt x="11782" y="20618"/>
                  <a:pt x="11782" y="20618"/>
                </a:cubicBezTo>
                <a:close/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879"/>
                  <a:pt x="0" y="1964"/>
                </a:cubicBezTo>
                <a:lnTo>
                  <a:pt x="0" y="16691"/>
                </a:lnTo>
                <a:cubicBezTo>
                  <a:pt x="0" y="17775"/>
                  <a:pt x="879" y="18655"/>
                  <a:pt x="1964" y="18655"/>
                </a:cubicBezTo>
                <a:lnTo>
                  <a:pt x="8836" y="18655"/>
                </a:lnTo>
                <a:lnTo>
                  <a:pt x="8836" y="20618"/>
                </a:lnTo>
                <a:lnTo>
                  <a:pt x="7364" y="20618"/>
                </a:lnTo>
                <a:cubicBezTo>
                  <a:pt x="7092" y="20618"/>
                  <a:pt x="6873" y="20838"/>
                  <a:pt x="6873" y="21109"/>
                </a:cubicBezTo>
                <a:cubicBezTo>
                  <a:pt x="6873" y="21381"/>
                  <a:pt x="7092" y="21600"/>
                  <a:pt x="7364" y="21600"/>
                </a:cubicBezTo>
                <a:lnTo>
                  <a:pt x="14236" y="21600"/>
                </a:lnTo>
                <a:cubicBezTo>
                  <a:pt x="14508" y="21600"/>
                  <a:pt x="14727" y="21381"/>
                  <a:pt x="14727" y="21109"/>
                </a:cubicBezTo>
                <a:cubicBezTo>
                  <a:pt x="14727" y="20838"/>
                  <a:pt x="14508" y="20618"/>
                  <a:pt x="14236" y="20618"/>
                </a:cubicBezTo>
                <a:lnTo>
                  <a:pt x="12764" y="20618"/>
                </a:lnTo>
                <a:lnTo>
                  <a:pt x="12764" y="18655"/>
                </a:lnTo>
                <a:lnTo>
                  <a:pt x="19636" y="18655"/>
                </a:lnTo>
                <a:cubicBezTo>
                  <a:pt x="20721" y="18655"/>
                  <a:pt x="21600" y="17775"/>
                  <a:pt x="21600" y="16691"/>
                </a:cubicBezTo>
                <a:lnTo>
                  <a:pt x="21600" y="1964"/>
                </a:lnTo>
                <a:cubicBezTo>
                  <a:pt x="21600" y="879"/>
                  <a:pt x="20721" y="0"/>
                  <a:pt x="19636" y="0"/>
                </a:cubicBezTo>
              </a:path>
            </a:pathLst>
          </a:custGeom>
          <a:solidFill>
            <a:srgbClr val="4BACC6"/>
          </a:solidFill>
          <a:ln w="12700">
            <a:miter lim="400000"/>
          </a:ln>
        </p:spPr>
        <p:txBody>
          <a:bodyPr lIns="13999" tIns="13999" rIns="13999" bIns="13999" anchor="ctr">
            <a:noAutofit/>
          </a:bodyPr>
          <a:lstStyle/>
          <a:p>
            <a:pPr marL="0" marR="0" lvl="0" indent="0" algn="l" defTabSz="1679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charset="0"/>
              <a:cs typeface="Calibri" charset="0"/>
              <a:sym typeface="Calibri" panose="020F0502020204030204" pitchFamily="34" charset="0"/>
            </a:endParaRPr>
          </a:p>
        </p:txBody>
      </p:sp>
      <p:sp>
        <p:nvSpPr>
          <p:cNvPr id="231" name="Shape 2614">
            <a:extLst>
              <a:ext uri="{FF2B5EF4-FFF2-40B4-BE49-F238E27FC236}">
                <a16:creationId xmlns:a16="http://schemas.microsoft.com/office/drawing/2014/main" id="{B9974CE9-7598-4BD2-994F-0B7656347A77}"/>
              </a:ext>
            </a:extLst>
          </p:cNvPr>
          <p:cNvSpPr/>
          <p:nvPr/>
        </p:nvSpPr>
        <p:spPr>
          <a:xfrm>
            <a:off x="6743148" y="4224892"/>
            <a:ext cx="328310" cy="333224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rgbClr val="4BACC6"/>
          </a:solidFill>
          <a:ln w="12700">
            <a:noFill/>
            <a:miter lim="400000"/>
          </a:ln>
        </p:spPr>
        <p:txBody>
          <a:bodyPr lIns="13999" tIns="13999" rIns="13999" bIns="13999" anchor="ctr">
            <a:noAutofit/>
          </a:bodyPr>
          <a:lstStyle/>
          <a:p>
            <a:pPr marL="0" marR="0" lvl="0" indent="0" algn="l" defTabSz="1679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3000" cap="none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"/>
                <a:ea typeface="Gill Sans"/>
                <a:cs typeface="Gill Sans"/>
                <a:sym typeface="Gill Sans"/>
              </a:defRPr>
            </a:pPr>
            <a:endParaRPr kumimoji="0" sz="110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uLnTx/>
              <a:uFillTx/>
              <a:latin typeface="Calibri" panose="020F0502020204030204" pitchFamily="34" charset="0"/>
              <a:ea typeface="Calibri" charset="0"/>
              <a:cs typeface="Calibri" charset="0"/>
              <a:sym typeface="Calibri" panose="020F0502020204030204" pitchFamily="34" charset="0"/>
            </a:endParaRPr>
          </a:p>
        </p:txBody>
      </p:sp>
      <p:sp>
        <p:nvSpPr>
          <p:cNvPr id="236" name="Freeform 11"/>
          <p:cNvSpPr>
            <a:spLocks noEditPoints="1"/>
          </p:cNvSpPr>
          <p:nvPr/>
        </p:nvSpPr>
        <p:spPr bwMode="auto">
          <a:xfrm>
            <a:off x="6732366" y="5071497"/>
            <a:ext cx="349875" cy="373331"/>
          </a:xfrm>
          <a:custGeom>
            <a:avLst/>
            <a:gdLst>
              <a:gd name="T0" fmla="*/ 1042 w 1119"/>
              <a:gd name="T1" fmla="*/ 825 h 1193"/>
              <a:gd name="T2" fmla="*/ 999 w 1119"/>
              <a:gd name="T3" fmla="*/ 867 h 1193"/>
              <a:gd name="T4" fmla="*/ 960 w 1119"/>
              <a:gd name="T5" fmla="*/ 943 h 1193"/>
              <a:gd name="T6" fmla="*/ 956 w 1119"/>
              <a:gd name="T7" fmla="*/ 1042 h 1193"/>
              <a:gd name="T8" fmla="*/ 1074 w 1119"/>
              <a:gd name="T9" fmla="*/ 966 h 1193"/>
              <a:gd name="T10" fmla="*/ 1104 w 1119"/>
              <a:gd name="T11" fmla="*/ 873 h 1193"/>
              <a:gd name="T12" fmla="*/ 1056 w 1119"/>
              <a:gd name="T13" fmla="*/ 885 h 1193"/>
              <a:gd name="T14" fmla="*/ 1003 w 1119"/>
              <a:gd name="T15" fmla="*/ 1013 h 1193"/>
              <a:gd name="T16" fmla="*/ 980 w 1119"/>
              <a:gd name="T17" fmla="*/ 986 h 1193"/>
              <a:gd name="T18" fmla="*/ 1003 w 1119"/>
              <a:gd name="T19" fmla="*/ 925 h 1193"/>
              <a:gd name="T20" fmla="*/ 1050 w 1119"/>
              <a:gd name="T21" fmla="*/ 872 h 1193"/>
              <a:gd name="T22" fmla="*/ 954 w 1119"/>
              <a:gd name="T23" fmla="*/ 790 h 1193"/>
              <a:gd name="T24" fmla="*/ 991 w 1119"/>
              <a:gd name="T25" fmla="*/ 626 h 1193"/>
              <a:gd name="T26" fmla="*/ 1118 w 1119"/>
              <a:gd name="T27" fmla="*/ 428 h 1193"/>
              <a:gd name="T28" fmla="*/ 995 w 1119"/>
              <a:gd name="T29" fmla="*/ 420 h 1193"/>
              <a:gd name="T30" fmla="*/ 925 w 1119"/>
              <a:gd name="T31" fmla="*/ 344 h 1193"/>
              <a:gd name="T32" fmla="*/ 856 w 1119"/>
              <a:gd name="T33" fmla="*/ 220 h 1193"/>
              <a:gd name="T34" fmla="*/ 723 w 1119"/>
              <a:gd name="T35" fmla="*/ 95 h 1193"/>
              <a:gd name="T36" fmla="*/ 584 w 1119"/>
              <a:gd name="T37" fmla="*/ 109 h 1193"/>
              <a:gd name="T38" fmla="*/ 487 w 1119"/>
              <a:gd name="T39" fmla="*/ 15 h 1193"/>
              <a:gd name="T40" fmla="*/ 349 w 1119"/>
              <a:gd name="T41" fmla="*/ 6 h 1193"/>
              <a:gd name="T42" fmla="*/ 198 w 1119"/>
              <a:gd name="T43" fmla="*/ 37 h 1193"/>
              <a:gd name="T44" fmla="*/ 54 w 1119"/>
              <a:gd name="T45" fmla="*/ 207 h 1193"/>
              <a:gd name="T46" fmla="*/ 39 w 1119"/>
              <a:gd name="T47" fmla="*/ 440 h 1193"/>
              <a:gd name="T48" fmla="*/ 107 w 1119"/>
              <a:gd name="T49" fmla="*/ 528 h 1193"/>
              <a:gd name="T50" fmla="*/ 318 w 1119"/>
              <a:gd name="T51" fmla="*/ 524 h 1193"/>
              <a:gd name="T52" fmla="*/ 439 w 1119"/>
              <a:gd name="T53" fmla="*/ 686 h 1193"/>
              <a:gd name="T54" fmla="*/ 486 w 1119"/>
              <a:gd name="T55" fmla="*/ 967 h 1193"/>
              <a:gd name="T56" fmla="*/ 541 w 1119"/>
              <a:gd name="T57" fmla="*/ 1129 h 1193"/>
              <a:gd name="T58" fmla="*/ 655 w 1119"/>
              <a:gd name="T59" fmla="*/ 1183 h 1193"/>
              <a:gd name="T60" fmla="*/ 863 w 1119"/>
              <a:gd name="T61" fmla="*/ 983 h 1193"/>
              <a:gd name="T62" fmla="*/ 825 w 1119"/>
              <a:gd name="T63" fmla="*/ 983 h 1193"/>
              <a:gd name="T64" fmla="*/ 675 w 1119"/>
              <a:gd name="T65" fmla="*/ 1149 h 1193"/>
              <a:gd name="T66" fmla="*/ 598 w 1119"/>
              <a:gd name="T67" fmla="*/ 1153 h 1193"/>
              <a:gd name="T68" fmla="*/ 539 w 1119"/>
              <a:gd name="T69" fmla="*/ 1017 h 1193"/>
              <a:gd name="T70" fmla="*/ 503 w 1119"/>
              <a:gd name="T71" fmla="*/ 858 h 1193"/>
              <a:gd name="T72" fmla="*/ 388 w 1119"/>
              <a:gd name="T73" fmla="*/ 529 h 1193"/>
              <a:gd name="T74" fmla="*/ 238 w 1119"/>
              <a:gd name="T75" fmla="*/ 507 h 1193"/>
              <a:gd name="T76" fmla="*/ 106 w 1119"/>
              <a:gd name="T77" fmla="*/ 480 h 1193"/>
              <a:gd name="T78" fmla="*/ 46 w 1119"/>
              <a:gd name="T79" fmla="*/ 390 h 1193"/>
              <a:gd name="T80" fmla="*/ 100 w 1119"/>
              <a:gd name="T81" fmla="*/ 205 h 1193"/>
              <a:gd name="T82" fmla="*/ 268 w 1119"/>
              <a:gd name="T83" fmla="*/ 45 h 1193"/>
              <a:gd name="T84" fmla="*/ 407 w 1119"/>
              <a:gd name="T85" fmla="*/ 42 h 1193"/>
              <a:gd name="T86" fmla="*/ 468 w 1119"/>
              <a:gd name="T87" fmla="*/ 57 h 1193"/>
              <a:gd name="T88" fmla="*/ 614 w 1119"/>
              <a:gd name="T89" fmla="*/ 134 h 1193"/>
              <a:gd name="T90" fmla="*/ 754 w 1119"/>
              <a:gd name="T91" fmla="*/ 124 h 1193"/>
              <a:gd name="T92" fmla="*/ 828 w 1119"/>
              <a:gd name="T93" fmla="*/ 244 h 1193"/>
              <a:gd name="T94" fmla="*/ 888 w 1119"/>
              <a:gd name="T95" fmla="*/ 352 h 1193"/>
              <a:gd name="T96" fmla="*/ 996 w 1119"/>
              <a:gd name="T97" fmla="*/ 457 h 1193"/>
              <a:gd name="T98" fmla="*/ 1065 w 1119"/>
              <a:gd name="T99" fmla="*/ 474 h 1193"/>
              <a:gd name="T100" fmla="*/ 906 w 1119"/>
              <a:gd name="T101" fmla="*/ 681 h 1193"/>
              <a:gd name="T102" fmla="*/ 886 w 1119"/>
              <a:gd name="T103" fmla="*/ 884 h 1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119" h="1193">
                <a:moveTo>
                  <a:pt x="1073" y="797"/>
                </a:moveTo>
                <a:lnTo>
                  <a:pt x="1068" y="797"/>
                </a:lnTo>
                <a:lnTo>
                  <a:pt x="1065" y="798"/>
                </a:lnTo>
                <a:cubicBezTo>
                  <a:pt x="1053" y="803"/>
                  <a:pt x="1046" y="816"/>
                  <a:pt x="1042" y="825"/>
                </a:cubicBezTo>
                <a:cubicBezTo>
                  <a:pt x="1042" y="826"/>
                  <a:pt x="1041" y="827"/>
                  <a:pt x="1041" y="827"/>
                </a:cubicBezTo>
                <a:cubicBezTo>
                  <a:pt x="1036" y="836"/>
                  <a:pt x="1033" y="838"/>
                  <a:pt x="1027" y="843"/>
                </a:cubicBezTo>
                <a:cubicBezTo>
                  <a:pt x="1021" y="847"/>
                  <a:pt x="1014" y="853"/>
                  <a:pt x="1005" y="864"/>
                </a:cubicBezTo>
                <a:cubicBezTo>
                  <a:pt x="1004" y="865"/>
                  <a:pt x="1004" y="865"/>
                  <a:pt x="999" y="867"/>
                </a:cubicBezTo>
                <a:cubicBezTo>
                  <a:pt x="992" y="869"/>
                  <a:pt x="978" y="874"/>
                  <a:pt x="970" y="893"/>
                </a:cubicBezTo>
                <a:cubicBezTo>
                  <a:pt x="963" y="910"/>
                  <a:pt x="965" y="923"/>
                  <a:pt x="966" y="931"/>
                </a:cubicBezTo>
                <a:cubicBezTo>
                  <a:pt x="966" y="932"/>
                  <a:pt x="967" y="933"/>
                  <a:pt x="967" y="934"/>
                </a:cubicBezTo>
                <a:cubicBezTo>
                  <a:pt x="965" y="937"/>
                  <a:pt x="964" y="939"/>
                  <a:pt x="960" y="943"/>
                </a:cubicBezTo>
                <a:cubicBezTo>
                  <a:pt x="954" y="948"/>
                  <a:pt x="946" y="956"/>
                  <a:pt x="943" y="970"/>
                </a:cubicBezTo>
                <a:cubicBezTo>
                  <a:pt x="940" y="985"/>
                  <a:pt x="943" y="994"/>
                  <a:pt x="946" y="1001"/>
                </a:cubicBezTo>
                <a:cubicBezTo>
                  <a:pt x="947" y="1004"/>
                  <a:pt x="947" y="1004"/>
                  <a:pt x="947" y="1005"/>
                </a:cubicBezTo>
                <a:cubicBezTo>
                  <a:pt x="944" y="1024"/>
                  <a:pt x="950" y="1036"/>
                  <a:pt x="956" y="1042"/>
                </a:cubicBezTo>
                <a:cubicBezTo>
                  <a:pt x="964" y="1051"/>
                  <a:pt x="975" y="1056"/>
                  <a:pt x="988" y="1056"/>
                </a:cubicBezTo>
                <a:cubicBezTo>
                  <a:pt x="1004" y="1056"/>
                  <a:pt x="1020" y="1049"/>
                  <a:pt x="1030" y="1039"/>
                </a:cubicBezTo>
                <a:cubicBezTo>
                  <a:pt x="1038" y="1031"/>
                  <a:pt x="1044" y="1019"/>
                  <a:pt x="1050" y="1006"/>
                </a:cubicBezTo>
                <a:cubicBezTo>
                  <a:pt x="1056" y="992"/>
                  <a:pt x="1063" y="977"/>
                  <a:pt x="1074" y="966"/>
                </a:cubicBezTo>
                <a:cubicBezTo>
                  <a:pt x="1091" y="949"/>
                  <a:pt x="1089" y="925"/>
                  <a:pt x="1088" y="911"/>
                </a:cubicBezTo>
                <a:cubicBezTo>
                  <a:pt x="1088" y="910"/>
                  <a:pt x="1088" y="908"/>
                  <a:pt x="1088" y="906"/>
                </a:cubicBezTo>
                <a:cubicBezTo>
                  <a:pt x="1088" y="906"/>
                  <a:pt x="1088" y="906"/>
                  <a:pt x="1088" y="906"/>
                </a:cubicBezTo>
                <a:cubicBezTo>
                  <a:pt x="1093" y="901"/>
                  <a:pt x="1103" y="892"/>
                  <a:pt x="1104" y="873"/>
                </a:cubicBezTo>
                <a:cubicBezTo>
                  <a:pt x="1104" y="872"/>
                  <a:pt x="1105" y="820"/>
                  <a:pt x="1089" y="804"/>
                </a:cubicBezTo>
                <a:cubicBezTo>
                  <a:pt x="1085" y="800"/>
                  <a:pt x="1079" y="797"/>
                  <a:pt x="1073" y="797"/>
                </a:cubicBezTo>
                <a:close/>
                <a:moveTo>
                  <a:pt x="1063" y="878"/>
                </a:moveTo>
                <a:cubicBezTo>
                  <a:pt x="1060" y="880"/>
                  <a:pt x="1058" y="882"/>
                  <a:pt x="1056" y="885"/>
                </a:cubicBezTo>
                <a:cubicBezTo>
                  <a:pt x="1049" y="894"/>
                  <a:pt x="1050" y="904"/>
                  <a:pt x="1051" y="914"/>
                </a:cubicBezTo>
                <a:cubicBezTo>
                  <a:pt x="1052" y="926"/>
                  <a:pt x="1052" y="935"/>
                  <a:pt x="1047" y="940"/>
                </a:cubicBezTo>
                <a:cubicBezTo>
                  <a:pt x="1032" y="955"/>
                  <a:pt x="1023" y="974"/>
                  <a:pt x="1016" y="990"/>
                </a:cubicBezTo>
                <a:cubicBezTo>
                  <a:pt x="1011" y="999"/>
                  <a:pt x="1007" y="1009"/>
                  <a:pt x="1003" y="1013"/>
                </a:cubicBezTo>
                <a:cubicBezTo>
                  <a:pt x="1000" y="1016"/>
                  <a:pt x="994" y="1018"/>
                  <a:pt x="988" y="1018"/>
                </a:cubicBezTo>
                <a:cubicBezTo>
                  <a:pt x="986" y="1018"/>
                  <a:pt x="984" y="1018"/>
                  <a:pt x="984" y="1018"/>
                </a:cubicBezTo>
                <a:cubicBezTo>
                  <a:pt x="984" y="1017"/>
                  <a:pt x="983" y="1015"/>
                  <a:pt x="984" y="1010"/>
                </a:cubicBezTo>
                <a:cubicBezTo>
                  <a:pt x="985" y="998"/>
                  <a:pt x="982" y="991"/>
                  <a:pt x="980" y="986"/>
                </a:cubicBezTo>
                <a:cubicBezTo>
                  <a:pt x="979" y="983"/>
                  <a:pt x="979" y="983"/>
                  <a:pt x="980" y="979"/>
                </a:cubicBezTo>
                <a:cubicBezTo>
                  <a:pt x="980" y="975"/>
                  <a:pt x="982" y="974"/>
                  <a:pt x="986" y="969"/>
                </a:cubicBezTo>
                <a:cubicBezTo>
                  <a:pt x="991" y="964"/>
                  <a:pt x="998" y="957"/>
                  <a:pt x="1003" y="945"/>
                </a:cubicBezTo>
                <a:cubicBezTo>
                  <a:pt x="1005" y="938"/>
                  <a:pt x="1004" y="931"/>
                  <a:pt x="1003" y="925"/>
                </a:cubicBezTo>
                <a:cubicBezTo>
                  <a:pt x="1003" y="920"/>
                  <a:pt x="1002" y="915"/>
                  <a:pt x="1005" y="908"/>
                </a:cubicBezTo>
                <a:cubicBezTo>
                  <a:pt x="1006" y="904"/>
                  <a:pt x="1006" y="904"/>
                  <a:pt x="1011" y="903"/>
                </a:cubicBezTo>
                <a:cubicBezTo>
                  <a:pt x="1017" y="901"/>
                  <a:pt x="1026" y="898"/>
                  <a:pt x="1035" y="887"/>
                </a:cubicBezTo>
                <a:cubicBezTo>
                  <a:pt x="1041" y="879"/>
                  <a:pt x="1045" y="876"/>
                  <a:pt x="1050" y="872"/>
                </a:cubicBezTo>
                <a:cubicBezTo>
                  <a:pt x="1055" y="869"/>
                  <a:pt x="1060" y="865"/>
                  <a:pt x="1066" y="858"/>
                </a:cubicBezTo>
                <a:cubicBezTo>
                  <a:pt x="1066" y="862"/>
                  <a:pt x="1066" y="867"/>
                  <a:pt x="1066" y="871"/>
                </a:cubicBezTo>
                <a:cubicBezTo>
                  <a:pt x="1066" y="875"/>
                  <a:pt x="1066" y="875"/>
                  <a:pt x="1063" y="878"/>
                </a:cubicBezTo>
                <a:close/>
                <a:moveTo>
                  <a:pt x="954" y="790"/>
                </a:moveTo>
                <a:lnTo>
                  <a:pt x="953" y="784"/>
                </a:lnTo>
                <a:cubicBezTo>
                  <a:pt x="949" y="762"/>
                  <a:pt x="941" y="747"/>
                  <a:pt x="936" y="735"/>
                </a:cubicBezTo>
                <a:cubicBezTo>
                  <a:pt x="928" y="719"/>
                  <a:pt x="927" y="717"/>
                  <a:pt x="937" y="702"/>
                </a:cubicBezTo>
                <a:cubicBezTo>
                  <a:pt x="942" y="695"/>
                  <a:pt x="980" y="640"/>
                  <a:pt x="991" y="626"/>
                </a:cubicBezTo>
                <a:cubicBezTo>
                  <a:pt x="1004" y="610"/>
                  <a:pt x="1017" y="599"/>
                  <a:pt x="1030" y="589"/>
                </a:cubicBezTo>
                <a:cubicBezTo>
                  <a:pt x="1051" y="571"/>
                  <a:pt x="1072" y="554"/>
                  <a:pt x="1087" y="516"/>
                </a:cubicBezTo>
                <a:cubicBezTo>
                  <a:pt x="1091" y="507"/>
                  <a:pt x="1095" y="498"/>
                  <a:pt x="1099" y="489"/>
                </a:cubicBezTo>
                <a:cubicBezTo>
                  <a:pt x="1111" y="463"/>
                  <a:pt x="1119" y="444"/>
                  <a:pt x="1118" y="428"/>
                </a:cubicBezTo>
                <a:cubicBezTo>
                  <a:pt x="1115" y="408"/>
                  <a:pt x="1100" y="394"/>
                  <a:pt x="1078" y="394"/>
                </a:cubicBezTo>
                <a:cubicBezTo>
                  <a:pt x="1066" y="394"/>
                  <a:pt x="1054" y="398"/>
                  <a:pt x="1039" y="405"/>
                </a:cubicBezTo>
                <a:cubicBezTo>
                  <a:pt x="1020" y="413"/>
                  <a:pt x="1009" y="418"/>
                  <a:pt x="998" y="419"/>
                </a:cubicBezTo>
                <a:cubicBezTo>
                  <a:pt x="997" y="419"/>
                  <a:pt x="997" y="420"/>
                  <a:pt x="995" y="420"/>
                </a:cubicBezTo>
                <a:cubicBezTo>
                  <a:pt x="994" y="418"/>
                  <a:pt x="992" y="413"/>
                  <a:pt x="991" y="410"/>
                </a:cubicBezTo>
                <a:cubicBezTo>
                  <a:pt x="986" y="399"/>
                  <a:pt x="979" y="384"/>
                  <a:pt x="963" y="370"/>
                </a:cubicBezTo>
                <a:cubicBezTo>
                  <a:pt x="958" y="365"/>
                  <a:pt x="951" y="361"/>
                  <a:pt x="944" y="358"/>
                </a:cubicBezTo>
                <a:cubicBezTo>
                  <a:pt x="937" y="354"/>
                  <a:pt x="926" y="348"/>
                  <a:pt x="925" y="344"/>
                </a:cubicBezTo>
                <a:cubicBezTo>
                  <a:pt x="919" y="314"/>
                  <a:pt x="906" y="301"/>
                  <a:pt x="897" y="292"/>
                </a:cubicBezTo>
                <a:cubicBezTo>
                  <a:pt x="891" y="286"/>
                  <a:pt x="888" y="283"/>
                  <a:pt x="887" y="275"/>
                </a:cubicBezTo>
                <a:cubicBezTo>
                  <a:pt x="883" y="248"/>
                  <a:pt x="874" y="238"/>
                  <a:pt x="863" y="227"/>
                </a:cubicBezTo>
                <a:cubicBezTo>
                  <a:pt x="860" y="225"/>
                  <a:pt x="858" y="223"/>
                  <a:pt x="856" y="220"/>
                </a:cubicBezTo>
                <a:cubicBezTo>
                  <a:pt x="832" y="192"/>
                  <a:pt x="832" y="173"/>
                  <a:pt x="834" y="152"/>
                </a:cubicBezTo>
                <a:cubicBezTo>
                  <a:pt x="837" y="125"/>
                  <a:pt x="834" y="111"/>
                  <a:pt x="818" y="94"/>
                </a:cubicBezTo>
                <a:cubicBezTo>
                  <a:pt x="799" y="72"/>
                  <a:pt x="775" y="71"/>
                  <a:pt x="737" y="91"/>
                </a:cubicBezTo>
                <a:cubicBezTo>
                  <a:pt x="732" y="93"/>
                  <a:pt x="728" y="95"/>
                  <a:pt x="723" y="95"/>
                </a:cubicBezTo>
                <a:cubicBezTo>
                  <a:pt x="717" y="95"/>
                  <a:pt x="710" y="93"/>
                  <a:pt x="700" y="90"/>
                </a:cubicBezTo>
                <a:cubicBezTo>
                  <a:pt x="682" y="84"/>
                  <a:pt x="666" y="81"/>
                  <a:pt x="651" y="81"/>
                </a:cubicBezTo>
                <a:cubicBezTo>
                  <a:pt x="619" y="81"/>
                  <a:pt x="602" y="95"/>
                  <a:pt x="590" y="105"/>
                </a:cubicBezTo>
                <a:cubicBezTo>
                  <a:pt x="588" y="106"/>
                  <a:pt x="586" y="108"/>
                  <a:pt x="584" y="109"/>
                </a:cubicBezTo>
                <a:cubicBezTo>
                  <a:pt x="584" y="109"/>
                  <a:pt x="584" y="109"/>
                  <a:pt x="583" y="109"/>
                </a:cubicBezTo>
                <a:cubicBezTo>
                  <a:pt x="562" y="92"/>
                  <a:pt x="547" y="82"/>
                  <a:pt x="522" y="72"/>
                </a:cubicBezTo>
                <a:cubicBezTo>
                  <a:pt x="508" y="67"/>
                  <a:pt x="507" y="62"/>
                  <a:pt x="505" y="50"/>
                </a:cubicBezTo>
                <a:cubicBezTo>
                  <a:pt x="503" y="40"/>
                  <a:pt x="501" y="26"/>
                  <a:pt x="487" y="15"/>
                </a:cubicBezTo>
                <a:cubicBezTo>
                  <a:pt x="478" y="9"/>
                  <a:pt x="469" y="5"/>
                  <a:pt x="458" y="5"/>
                </a:cubicBezTo>
                <a:cubicBezTo>
                  <a:pt x="453" y="5"/>
                  <a:pt x="449" y="6"/>
                  <a:pt x="444" y="7"/>
                </a:cubicBezTo>
                <a:cubicBezTo>
                  <a:pt x="435" y="8"/>
                  <a:pt x="426" y="8"/>
                  <a:pt x="418" y="6"/>
                </a:cubicBezTo>
                <a:cubicBezTo>
                  <a:pt x="396" y="0"/>
                  <a:pt x="376" y="0"/>
                  <a:pt x="349" y="6"/>
                </a:cubicBezTo>
                <a:cubicBezTo>
                  <a:pt x="337" y="9"/>
                  <a:pt x="325" y="10"/>
                  <a:pt x="313" y="10"/>
                </a:cubicBezTo>
                <a:cubicBezTo>
                  <a:pt x="304" y="10"/>
                  <a:pt x="297" y="9"/>
                  <a:pt x="289" y="9"/>
                </a:cubicBezTo>
                <a:cubicBezTo>
                  <a:pt x="282" y="8"/>
                  <a:pt x="275" y="8"/>
                  <a:pt x="268" y="8"/>
                </a:cubicBezTo>
                <a:cubicBezTo>
                  <a:pt x="242" y="8"/>
                  <a:pt x="221" y="17"/>
                  <a:pt x="198" y="37"/>
                </a:cubicBezTo>
                <a:cubicBezTo>
                  <a:pt x="181" y="53"/>
                  <a:pt x="175" y="70"/>
                  <a:pt x="171" y="84"/>
                </a:cubicBezTo>
                <a:cubicBezTo>
                  <a:pt x="166" y="99"/>
                  <a:pt x="163" y="108"/>
                  <a:pt x="145" y="116"/>
                </a:cubicBezTo>
                <a:cubicBezTo>
                  <a:pt x="113" y="128"/>
                  <a:pt x="90" y="140"/>
                  <a:pt x="67" y="188"/>
                </a:cubicBezTo>
                <a:cubicBezTo>
                  <a:pt x="63" y="195"/>
                  <a:pt x="59" y="201"/>
                  <a:pt x="54" y="207"/>
                </a:cubicBezTo>
                <a:cubicBezTo>
                  <a:pt x="40" y="225"/>
                  <a:pt x="24" y="244"/>
                  <a:pt x="30" y="292"/>
                </a:cubicBezTo>
                <a:cubicBezTo>
                  <a:pt x="33" y="319"/>
                  <a:pt x="26" y="331"/>
                  <a:pt x="19" y="343"/>
                </a:cubicBezTo>
                <a:cubicBezTo>
                  <a:pt x="10" y="357"/>
                  <a:pt x="0" y="375"/>
                  <a:pt x="12" y="404"/>
                </a:cubicBezTo>
                <a:cubicBezTo>
                  <a:pt x="18" y="420"/>
                  <a:pt x="29" y="431"/>
                  <a:pt x="39" y="440"/>
                </a:cubicBezTo>
                <a:cubicBezTo>
                  <a:pt x="48" y="448"/>
                  <a:pt x="55" y="456"/>
                  <a:pt x="58" y="465"/>
                </a:cubicBezTo>
                <a:cubicBezTo>
                  <a:pt x="59" y="466"/>
                  <a:pt x="59" y="468"/>
                  <a:pt x="59" y="469"/>
                </a:cubicBezTo>
                <a:cubicBezTo>
                  <a:pt x="61" y="480"/>
                  <a:pt x="66" y="503"/>
                  <a:pt x="91" y="514"/>
                </a:cubicBezTo>
                <a:cubicBezTo>
                  <a:pt x="99" y="518"/>
                  <a:pt x="102" y="522"/>
                  <a:pt x="107" y="528"/>
                </a:cubicBezTo>
                <a:cubicBezTo>
                  <a:pt x="110" y="532"/>
                  <a:pt x="115" y="538"/>
                  <a:pt x="121" y="543"/>
                </a:cubicBezTo>
                <a:cubicBezTo>
                  <a:pt x="142" y="557"/>
                  <a:pt x="162" y="564"/>
                  <a:pt x="183" y="564"/>
                </a:cubicBezTo>
                <a:cubicBezTo>
                  <a:pt x="211" y="564"/>
                  <a:pt x="234" y="551"/>
                  <a:pt x="256" y="540"/>
                </a:cubicBezTo>
                <a:cubicBezTo>
                  <a:pt x="278" y="528"/>
                  <a:pt x="299" y="517"/>
                  <a:pt x="318" y="524"/>
                </a:cubicBezTo>
                <a:cubicBezTo>
                  <a:pt x="328" y="528"/>
                  <a:pt x="331" y="532"/>
                  <a:pt x="336" y="538"/>
                </a:cubicBezTo>
                <a:cubicBezTo>
                  <a:pt x="343" y="547"/>
                  <a:pt x="353" y="559"/>
                  <a:pt x="380" y="565"/>
                </a:cubicBezTo>
                <a:cubicBezTo>
                  <a:pt x="410" y="572"/>
                  <a:pt x="412" y="584"/>
                  <a:pt x="416" y="615"/>
                </a:cubicBezTo>
                <a:cubicBezTo>
                  <a:pt x="419" y="635"/>
                  <a:pt x="423" y="660"/>
                  <a:pt x="439" y="686"/>
                </a:cubicBezTo>
                <a:cubicBezTo>
                  <a:pt x="461" y="720"/>
                  <a:pt x="474" y="743"/>
                  <a:pt x="479" y="755"/>
                </a:cubicBezTo>
                <a:cubicBezTo>
                  <a:pt x="493" y="791"/>
                  <a:pt x="481" y="816"/>
                  <a:pt x="469" y="842"/>
                </a:cubicBezTo>
                <a:cubicBezTo>
                  <a:pt x="458" y="867"/>
                  <a:pt x="446" y="894"/>
                  <a:pt x="462" y="925"/>
                </a:cubicBezTo>
                <a:cubicBezTo>
                  <a:pt x="472" y="943"/>
                  <a:pt x="480" y="956"/>
                  <a:pt x="486" y="967"/>
                </a:cubicBezTo>
                <a:cubicBezTo>
                  <a:pt x="493" y="977"/>
                  <a:pt x="498" y="985"/>
                  <a:pt x="500" y="991"/>
                </a:cubicBezTo>
                <a:cubicBezTo>
                  <a:pt x="503" y="998"/>
                  <a:pt x="502" y="1006"/>
                  <a:pt x="502" y="1014"/>
                </a:cubicBezTo>
                <a:cubicBezTo>
                  <a:pt x="501" y="1028"/>
                  <a:pt x="499" y="1046"/>
                  <a:pt x="514" y="1065"/>
                </a:cubicBezTo>
                <a:cubicBezTo>
                  <a:pt x="532" y="1089"/>
                  <a:pt x="537" y="1110"/>
                  <a:pt x="541" y="1129"/>
                </a:cubicBezTo>
                <a:cubicBezTo>
                  <a:pt x="546" y="1149"/>
                  <a:pt x="551" y="1169"/>
                  <a:pt x="571" y="1183"/>
                </a:cubicBezTo>
                <a:cubicBezTo>
                  <a:pt x="580" y="1188"/>
                  <a:pt x="589" y="1191"/>
                  <a:pt x="598" y="1191"/>
                </a:cubicBezTo>
                <a:cubicBezTo>
                  <a:pt x="608" y="1191"/>
                  <a:pt x="616" y="1188"/>
                  <a:pt x="625" y="1186"/>
                </a:cubicBezTo>
                <a:cubicBezTo>
                  <a:pt x="636" y="1182"/>
                  <a:pt x="646" y="1180"/>
                  <a:pt x="655" y="1183"/>
                </a:cubicBezTo>
                <a:cubicBezTo>
                  <a:pt x="682" y="1193"/>
                  <a:pt x="712" y="1182"/>
                  <a:pt x="745" y="1149"/>
                </a:cubicBezTo>
                <a:cubicBezTo>
                  <a:pt x="758" y="1136"/>
                  <a:pt x="769" y="1122"/>
                  <a:pt x="781" y="1107"/>
                </a:cubicBezTo>
                <a:cubicBezTo>
                  <a:pt x="798" y="1084"/>
                  <a:pt x="817" y="1059"/>
                  <a:pt x="844" y="1035"/>
                </a:cubicBezTo>
                <a:cubicBezTo>
                  <a:pt x="862" y="1019"/>
                  <a:pt x="862" y="999"/>
                  <a:pt x="863" y="983"/>
                </a:cubicBezTo>
                <a:cubicBezTo>
                  <a:pt x="863" y="962"/>
                  <a:pt x="863" y="941"/>
                  <a:pt x="905" y="916"/>
                </a:cubicBezTo>
                <a:cubicBezTo>
                  <a:pt x="970" y="877"/>
                  <a:pt x="961" y="827"/>
                  <a:pt x="954" y="790"/>
                </a:cubicBezTo>
                <a:close/>
                <a:moveTo>
                  <a:pt x="886" y="884"/>
                </a:moveTo>
                <a:cubicBezTo>
                  <a:pt x="826" y="920"/>
                  <a:pt x="825" y="958"/>
                  <a:pt x="825" y="983"/>
                </a:cubicBezTo>
                <a:cubicBezTo>
                  <a:pt x="825" y="997"/>
                  <a:pt x="824" y="1002"/>
                  <a:pt x="819" y="1007"/>
                </a:cubicBezTo>
                <a:cubicBezTo>
                  <a:pt x="789" y="1034"/>
                  <a:pt x="769" y="1060"/>
                  <a:pt x="751" y="1084"/>
                </a:cubicBezTo>
                <a:cubicBezTo>
                  <a:pt x="739" y="1098"/>
                  <a:pt x="729" y="1111"/>
                  <a:pt x="719" y="1122"/>
                </a:cubicBezTo>
                <a:cubicBezTo>
                  <a:pt x="697" y="1145"/>
                  <a:pt x="683" y="1149"/>
                  <a:pt x="675" y="1149"/>
                </a:cubicBezTo>
                <a:cubicBezTo>
                  <a:pt x="673" y="1149"/>
                  <a:pt x="671" y="1149"/>
                  <a:pt x="669" y="1148"/>
                </a:cubicBezTo>
                <a:cubicBezTo>
                  <a:pt x="661" y="1145"/>
                  <a:pt x="653" y="1144"/>
                  <a:pt x="645" y="1144"/>
                </a:cubicBezTo>
                <a:cubicBezTo>
                  <a:pt x="633" y="1144"/>
                  <a:pt x="622" y="1147"/>
                  <a:pt x="614" y="1150"/>
                </a:cubicBezTo>
                <a:cubicBezTo>
                  <a:pt x="608" y="1152"/>
                  <a:pt x="602" y="1153"/>
                  <a:pt x="598" y="1153"/>
                </a:cubicBezTo>
                <a:cubicBezTo>
                  <a:pt x="596" y="1153"/>
                  <a:pt x="594" y="1153"/>
                  <a:pt x="592" y="1151"/>
                </a:cubicBezTo>
                <a:cubicBezTo>
                  <a:pt x="584" y="1146"/>
                  <a:pt x="582" y="1138"/>
                  <a:pt x="578" y="1120"/>
                </a:cubicBezTo>
                <a:cubicBezTo>
                  <a:pt x="573" y="1100"/>
                  <a:pt x="566" y="1073"/>
                  <a:pt x="544" y="1043"/>
                </a:cubicBezTo>
                <a:cubicBezTo>
                  <a:pt x="538" y="1035"/>
                  <a:pt x="538" y="1029"/>
                  <a:pt x="539" y="1017"/>
                </a:cubicBezTo>
                <a:cubicBezTo>
                  <a:pt x="540" y="1006"/>
                  <a:pt x="540" y="993"/>
                  <a:pt x="535" y="979"/>
                </a:cubicBezTo>
                <a:cubicBezTo>
                  <a:pt x="532" y="969"/>
                  <a:pt x="526" y="960"/>
                  <a:pt x="518" y="947"/>
                </a:cubicBezTo>
                <a:cubicBezTo>
                  <a:pt x="512" y="937"/>
                  <a:pt x="504" y="924"/>
                  <a:pt x="495" y="907"/>
                </a:cubicBezTo>
                <a:cubicBezTo>
                  <a:pt x="488" y="894"/>
                  <a:pt x="493" y="881"/>
                  <a:pt x="503" y="858"/>
                </a:cubicBezTo>
                <a:cubicBezTo>
                  <a:pt x="516" y="830"/>
                  <a:pt x="534" y="791"/>
                  <a:pt x="514" y="741"/>
                </a:cubicBezTo>
                <a:cubicBezTo>
                  <a:pt x="506" y="722"/>
                  <a:pt x="486" y="689"/>
                  <a:pt x="471" y="665"/>
                </a:cubicBezTo>
                <a:cubicBezTo>
                  <a:pt x="459" y="647"/>
                  <a:pt x="456" y="628"/>
                  <a:pt x="453" y="609"/>
                </a:cubicBezTo>
                <a:cubicBezTo>
                  <a:pt x="448" y="577"/>
                  <a:pt x="443" y="541"/>
                  <a:pt x="388" y="529"/>
                </a:cubicBezTo>
                <a:cubicBezTo>
                  <a:pt x="374" y="526"/>
                  <a:pt x="371" y="522"/>
                  <a:pt x="365" y="514"/>
                </a:cubicBezTo>
                <a:cubicBezTo>
                  <a:pt x="359" y="507"/>
                  <a:pt x="350" y="496"/>
                  <a:pt x="330" y="489"/>
                </a:cubicBezTo>
                <a:cubicBezTo>
                  <a:pt x="322" y="486"/>
                  <a:pt x="313" y="484"/>
                  <a:pt x="304" y="484"/>
                </a:cubicBezTo>
                <a:cubicBezTo>
                  <a:pt x="280" y="484"/>
                  <a:pt x="258" y="496"/>
                  <a:pt x="238" y="507"/>
                </a:cubicBezTo>
                <a:cubicBezTo>
                  <a:pt x="219" y="517"/>
                  <a:pt x="201" y="526"/>
                  <a:pt x="183" y="526"/>
                </a:cubicBezTo>
                <a:cubicBezTo>
                  <a:pt x="170" y="526"/>
                  <a:pt x="157" y="521"/>
                  <a:pt x="143" y="512"/>
                </a:cubicBezTo>
                <a:cubicBezTo>
                  <a:pt x="141" y="510"/>
                  <a:pt x="139" y="508"/>
                  <a:pt x="136" y="504"/>
                </a:cubicBezTo>
                <a:cubicBezTo>
                  <a:pt x="130" y="497"/>
                  <a:pt x="122" y="487"/>
                  <a:pt x="106" y="480"/>
                </a:cubicBezTo>
                <a:cubicBezTo>
                  <a:pt x="99" y="477"/>
                  <a:pt x="98" y="472"/>
                  <a:pt x="96" y="462"/>
                </a:cubicBezTo>
                <a:cubicBezTo>
                  <a:pt x="95" y="459"/>
                  <a:pt x="95" y="456"/>
                  <a:pt x="94" y="454"/>
                </a:cubicBezTo>
                <a:cubicBezTo>
                  <a:pt x="88" y="435"/>
                  <a:pt x="76" y="423"/>
                  <a:pt x="65" y="413"/>
                </a:cubicBezTo>
                <a:cubicBezTo>
                  <a:pt x="57" y="405"/>
                  <a:pt x="50" y="399"/>
                  <a:pt x="46" y="390"/>
                </a:cubicBezTo>
                <a:cubicBezTo>
                  <a:pt x="41" y="378"/>
                  <a:pt x="44" y="374"/>
                  <a:pt x="51" y="362"/>
                </a:cubicBezTo>
                <a:cubicBezTo>
                  <a:pt x="60" y="347"/>
                  <a:pt x="72" y="327"/>
                  <a:pt x="67" y="288"/>
                </a:cubicBezTo>
                <a:cubicBezTo>
                  <a:pt x="63" y="255"/>
                  <a:pt x="71" y="246"/>
                  <a:pt x="83" y="231"/>
                </a:cubicBezTo>
                <a:cubicBezTo>
                  <a:pt x="88" y="224"/>
                  <a:pt x="95" y="216"/>
                  <a:pt x="100" y="205"/>
                </a:cubicBezTo>
                <a:cubicBezTo>
                  <a:pt x="119" y="168"/>
                  <a:pt x="133" y="161"/>
                  <a:pt x="159" y="150"/>
                </a:cubicBezTo>
                <a:cubicBezTo>
                  <a:pt x="194" y="136"/>
                  <a:pt x="201" y="113"/>
                  <a:pt x="207" y="95"/>
                </a:cubicBezTo>
                <a:cubicBezTo>
                  <a:pt x="210" y="83"/>
                  <a:pt x="213" y="74"/>
                  <a:pt x="224" y="65"/>
                </a:cubicBezTo>
                <a:cubicBezTo>
                  <a:pt x="243" y="47"/>
                  <a:pt x="256" y="45"/>
                  <a:pt x="268" y="45"/>
                </a:cubicBezTo>
                <a:cubicBezTo>
                  <a:pt x="274" y="45"/>
                  <a:pt x="280" y="46"/>
                  <a:pt x="286" y="46"/>
                </a:cubicBezTo>
                <a:cubicBezTo>
                  <a:pt x="294" y="47"/>
                  <a:pt x="303" y="48"/>
                  <a:pt x="313" y="48"/>
                </a:cubicBezTo>
                <a:cubicBezTo>
                  <a:pt x="328" y="48"/>
                  <a:pt x="343" y="46"/>
                  <a:pt x="358" y="42"/>
                </a:cubicBezTo>
                <a:cubicBezTo>
                  <a:pt x="378" y="38"/>
                  <a:pt x="392" y="37"/>
                  <a:pt x="407" y="42"/>
                </a:cubicBezTo>
                <a:cubicBezTo>
                  <a:pt x="422" y="46"/>
                  <a:pt x="437" y="45"/>
                  <a:pt x="449" y="44"/>
                </a:cubicBezTo>
                <a:cubicBezTo>
                  <a:pt x="452" y="43"/>
                  <a:pt x="455" y="43"/>
                  <a:pt x="458" y="43"/>
                </a:cubicBezTo>
                <a:cubicBezTo>
                  <a:pt x="461" y="43"/>
                  <a:pt x="462" y="43"/>
                  <a:pt x="464" y="45"/>
                </a:cubicBezTo>
                <a:cubicBezTo>
                  <a:pt x="466" y="46"/>
                  <a:pt x="467" y="49"/>
                  <a:pt x="468" y="57"/>
                </a:cubicBezTo>
                <a:cubicBezTo>
                  <a:pt x="471" y="71"/>
                  <a:pt x="475" y="94"/>
                  <a:pt x="508" y="107"/>
                </a:cubicBezTo>
                <a:cubicBezTo>
                  <a:pt x="528" y="115"/>
                  <a:pt x="540" y="123"/>
                  <a:pt x="561" y="138"/>
                </a:cubicBezTo>
                <a:cubicBezTo>
                  <a:pt x="568" y="144"/>
                  <a:pt x="576" y="147"/>
                  <a:pt x="584" y="147"/>
                </a:cubicBezTo>
                <a:cubicBezTo>
                  <a:pt x="597" y="147"/>
                  <a:pt x="606" y="140"/>
                  <a:pt x="614" y="134"/>
                </a:cubicBezTo>
                <a:cubicBezTo>
                  <a:pt x="623" y="126"/>
                  <a:pt x="632" y="118"/>
                  <a:pt x="651" y="118"/>
                </a:cubicBezTo>
                <a:cubicBezTo>
                  <a:pt x="661" y="118"/>
                  <a:pt x="674" y="121"/>
                  <a:pt x="688" y="126"/>
                </a:cubicBezTo>
                <a:cubicBezTo>
                  <a:pt x="702" y="130"/>
                  <a:pt x="713" y="132"/>
                  <a:pt x="723" y="132"/>
                </a:cubicBezTo>
                <a:cubicBezTo>
                  <a:pt x="737" y="132"/>
                  <a:pt x="746" y="128"/>
                  <a:pt x="754" y="124"/>
                </a:cubicBezTo>
                <a:cubicBezTo>
                  <a:pt x="769" y="116"/>
                  <a:pt x="777" y="114"/>
                  <a:pt x="781" y="114"/>
                </a:cubicBezTo>
                <a:cubicBezTo>
                  <a:pt x="784" y="114"/>
                  <a:pt x="786" y="115"/>
                  <a:pt x="790" y="119"/>
                </a:cubicBezTo>
                <a:cubicBezTo>
                  <a:pt x="797" y="126"/>
                  <a:pt x="799" y="129"/>
                  <a:pt x="797" y="147"/>
                </a:cubicBezTo>
                <a:cubicBezTo>
                  <a:pt x="794" y="176"/>
                  <a:pt x="795" y="207"/>
                  <a:pt x="828" y="244"/>
                </a:cubicBezTo>
                <a:cubicBezTo>
                  <a:pt x="831" y="248"/>
                  <a:pt x="834" y="251"/>
                  <a:pt x="837" y="254"/>
                </a:cubicBezTo>
                <a:cubicBezTo>
                  <a:pt x="844" y="261"/>
                  <a:pt x="847" y="264"/>
                  <a:pt x="850" y="281"/>
                </a:cubicBezTo>
                <a:cubicBezTo>
                  <a:pt x="853" y="301"/>
                  <a:pt x="863" y="311"/>
                  <a:pt x="870" y="318"/>
                </a:cubicBezTo>
                <a:cubicBezTo>
                  <a:pt x="878" y="326"/>
                  <a:pt x="884" y="332"/>
                  <a:pt x="888" y="352"/>
                </a:cubicBezTo>
                <a:cubicBezTo>
                  <a:pt x="893" y="373"/>
                  <a:pt x="913" y="383"/>
                  <a:pt x="927" y="391"/>
                </a:cubicBezTo>
                <a:cubicBezTo>
                  <a:pt x="931" y="393"/>
                  <a:pt x="937" y="396"/>
                  <a:pt x="939" y="398"/>
                </a:cubicBezTo>
                <a:cubicBezTo>
                  <a:pt x="948" y="406"/>
                  <a:pt x="952" y="416"/>
                  <a:pt x="956" y="425"/>
                </a:cubicBezTo>
                <a:cubicBezTo>
                  <a:pt x="962" y="438"/>
                  <a:pt x="970" y="457"/>
                  <a:pt x="996" y="457"/>
                </a:cubicBezTo>
                <a:cubicBezTo>
                  <a:pt x="998" y="457"/>
                  <a:pt x="1000" y="457"/>
                  <a:pt x="1003" y="456"/>
                </a:cubicBezTo>
                <a:cubicBezTo>
                  <a:pt x="1020" y="454"/>
                  <a:pt x="1037" y="447"/>
                  <a:pt x="1055" y="438"/>
                </a:cubicBezTo>
                <a:cubicBezTo>
                  <a:pt x="1076" y="428"/>
                  <a:pt x="1081" y="432"/>
                  <a:pt x="1080" y="432"/>
                </a:cubicBezTo>
                <a:cubicBezTo>
                  <a:pt x="1081" y="438"/>
                  <a:pt x="1072" y="459"/>
                  <a:pt x="1065" y="474"/>
                </a:cubicBezTo>
                <a:cubicBezTo>
                  <a:pt x="1061" y="483"/>
                  <a:pt x="1057" y="492"/>
                  <a:pt x="1053" y="502"/>
                </a:cubicBezTo>
                <a:cubicBezTo>
                  <a:pt x="1041" y="531"/>
                  <a:pt x="1026" y="543"/>
                  <a:pt x="1006" y="560"/>
                </a:cubicBezTo>
                <a:cubicBezTo>
                  <a:pt x="993" y="571"/>
                  <a:pt x="977" y="584"/>
                  <a:pt x="962" y="603"/>
                </a:cubicBezTo>
                <a:cubicBezTo>
                  <a:pt x="950" y="618"/>
                  <a:pt x="909" y="676"/>
                  <a:pt x="906" y="681"/>
                </a:cubicBezTo>
                <a:cubicBezTo>
                  <a:pt x="883" y="714"/>
                  <a:pt x="893" y="733"/>
                  <a:pt x="902" y="752"/>
                </a:cubicBezTo>
                <a:cubicBezTo>
                  <a:pt x="907" y="762"/>
                  <a:pt x="913" y="774"/>
                  <a:pt x="916" y="791"/>
                </a:cubicBezTo>
                <a:lnTo>
                  <a:pt x="917" y="797"/>
                </a:lnTo>
                <a:cubicBezTo>
                  <a:pt x="923" y="833"/>
                  <a:pt x="928" y="859"/>
                  <a:pt x="886" y="884"/>
                </a:cubicBezTo>
                <a:close/>
              </a:path>
            </a:pathLst>
          </a:custGeom>
          <a:solidFill>
            <a:srgbClr val="4BACC6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45" name="Shape 121"/>
          <p:cNvSpPr txBox="1">
            <a:spLocks/>
          </p:cNvSpPr>
          <p:nvPr/>
        </p:nvSpPr>
        <p:spPr>
          <a:xfrm>
            <a:off x="478899" y="342428"/>
            <a:ext cx="11568646" cy="3787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>
              <a:defRPr/>
            </a:pPr>
            <a:r>
              <a:rPr kumimoji="0" lang="en-US" sz="2100" b="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Calibri"/>
                <a:cs typeface="Calibri"/>
                <a:sym typeface="Calibri" panose="020F0502020204030204" pitchFamily="34" charset="0"/>
              </a:rPr>
              <a:t>We are a continent primed to realise significant potential</a:t>
            </a:r>
            <a:r>
              <a:rPr lang="en-US" sz="2100" kern="0" dirty="0">
                <a:latin typeface="Calibri"/>
                <a:cs typeface="Calibri"/>
              </a:rPr>
              <a:t> 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DA3568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9" name="Picture 108">
            <a:extLst>
              <a:ext uri="{FF2B5EF4-FFF2-40B4-BE49-F238E27FC236}">
                <a16:creationId xmlns:a16="http://schemas.microsoft.com/office/drawing/2014/main" id="{6EAA5852-4C89-4A0A-AC6E-1C10D562AC8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40364" y="1441575"/>
            <a:ext cx="4679123" cy="3076614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83E19EB5-CDFE-4A54-BA2F-981E17EE434F}"/>
              </a:ext>
            </a:extLst>
          </p:cNvPr>
          <p:cNvSpPr/>
          <p:nvPr/>
        </p:nvSpPr>
        <p:spPr>
          <a:xfrm>
            <a:off x="478899" y="4731741"/>
            <a:ext cx="58020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0" i="1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Financial Times: “Improved governance means the continent is almost predestined to enjoy a long period of mid-to-high single-digit economic growth, rising incomes and an emerging middle class."</a:t>
            </a:r>
          </a:p>
        </p:txBody>
      </p:sp>
      <p:sp>
        <p:nvSpPr>
          <p:cNvPr id="110" name="TextBox 20">
            <a:extLst>
              <a:ext uri="{FF2B5EF4-FFF2-40B4-BE49-F238E27FC236}">
                <a16:creationId xmlns:a16="http://schemas.microsoft.com/office/drawing/2014/main" id="{89B323C2-8C45-4F95-A3FC-0E95DAAF9D69}"/>
              </a:ext>
            </a:extLst>
          </p:cNvPr>
          <p:cNvSpPr txBox="1"/>
          <p:nvPr/>
        </p:nvSpPr>
        <p:spPr>
          <a:xfrm>
            <a:off x="6425184" y="1290656"/>
            <a:ext cx="4809171" cy="28380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entral opportunity: human capital + demographic </a:t>
            </a:r>
            <a:r>
              <a:rPr lang="en-US" sz="1200" b="1" dirty="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ansition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</a:p>
        </p:txBody>
      </p:sp>
      <p:sp>
        <p:nvSpPr>
          <p:cNvPr id="111" name="TextBox 20">
            <a:extLst>
              <a:ext uri="{FF2B5EF4-FFF2-40B4-BE49-F238E27FC236}">
                <a16:creationId xmlns:a16="http://schemas.microsoft.com/office/drawing/2014/main" id="{BBBE6B1E-B782-413F-AB37-27047047AC7A}"/>
              </a:ext>
            </a:extLst>
          </p:cNvPr>
          <p:cNvSpPr txBox="1"/>
          <p:nvPr/>
        </p:nvSpPr>
        <p:spPr>
          <a:xfrm>
            <a:off x="6472515" y="2874385"/>
            <a:ext cx="4809171" cy="353841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Cross-cutting opportunities </a:t>
            </a:r>
          </a:p>
        </p:txBody>
      </p:sp>
    </p:spTree>
    <p:extLst>
      <p:ext uri="{BB962C8B-B14F-4D97-AF65-F5344CB8AC3E}">
        <p14:creationId xmlns:p14="http://schemas.microsoft.com/office/powerpoint/2010/main" val="7294152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D13940BE-AF5A-4892-B93D-AE37AD1E7E34}"/>
              </a:ext>
            </a:extLst>
          </p:cNvPr>
          <p:cNvSpPr/>
          <p:nvPr/>
        </p:nvSpPr>
        <p:spPr>
          <a:xfrm>
            <a:off x="611229" y="4148174"/>
            <a:ext cx="2980611" cy="1456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0EF163D1-2F6D-41D6-AD7B-D038FA6D0146}"/>
              </a:ext>
            </a:extLst>
          </p:cNvPr>
          <p:cNvSpPr/>
          <p:nvPr/>
        </p:nvSpPr>
        <p:spPr>
          <a:xfrm>
            <a:off x="7990477" y="4237694"/>
            <a:ext cx="2980611" cy="145691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Chevron 215">
            <a:extLst>
              <a:ext uri="{FF2B5EF4-FFF2-40B4-BE49-F238E27FC236}">
                <a16:creationId xmlns:a16="http://schemas.microsoft.com/office/drawing/2014/main" id="{3A84D9BE-B4C0-4335-9FA2-962B9A4FBFD0}"/>
              </a:ext>
            </a:extLst>
          </p:cNvPr>
          <p:cNvSpPr/>
          <p:nvPr/>
        </p:nvSpPr>
        <p:spPr>
          <a:xfrm rot="207859">
            <a:off x="6069589" y="2543761"/>
            <a:ext cx="181881" cy="111297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1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  <a:sym typeface="Calibri" panose="020F0502020204030204" pitchFamily="34" charset="0"/>
            </a:endParaRPr>
          </a:p>
        </p:txBody>
      </p:sp>
      <p:sp>
        <p:nvSpPr>
          <p:cNvPr id="42" name="Title 1">
            <a:extLst>
              <a:ext uri="{FF2B5EF4-FFF2-40B4-BE49-F238E27FC236}">
                <a16:creationId xmlns:a16="http://schemas.microsoft.com/office/drawing/2014/main" id="{FC503876-78CA-4431-BE95-5268B92D9C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0137" y="-14469"/>
            <a:ext cx="5717512" cy="822326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lvl="0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400" b="1" spc="-150" dirty="0"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CIFF AFRICA – Strategy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CC86EAFB-D3DD-4B0B-9801-18E085A2113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564246" y="690931"/>
            <a:ext cx="8894399" cy="3520211"/>
          </a:xfrm>
          <a:prstGeom prst="rect">
            <a:avLst/>
          </a:prstGeom>
        </p:spPr>
      </p:pic>
      <p:sp>
        <p:nvSpPr>
          <p:cNvPr id="43" name="TextBox 42">
            <a:extLst>
              <a:ext uri="{FF2B5EF4-FFF2-40B4-BE49-F238E27FC236}">
                <a16:creationId xmlns:a16="http://schemas.microsoft.com/office/drawing/2014/main" id="{13F58D3C-0AC1-4D7C-BB58-5F31085F2512}"/>
              </a:ext>
            </a:extLst>
          </p:cNvPr>
          <p:cNvSpPr txBox="1"/>
          <p:nvPr/>
        </p:nvSpPr>
        <p:spPr>
          <a:xfrm>
            <a:off x="1220913" y="4187713"/>
            <a:ext cx="958106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400" b="0" i="0" u="none" strike="noStrike" kern="1200" cap="none" spc="-150" normalizeH="0" baseline="0" noProof="0">
                <a:ln>
                  <a:noFill/>
                </a:ln>
                <a:solidFill>
                  <a:srgbClr val="D91875"/>
                </a:solidFill>
                <a:effectLst/>
                <a:uLnTx/>
                <a:uFillTx/>
                <a:latin typeface="Aharoni" panose="02010803020104030203" pitchFamily="2" charset="-79"/>
                <a:ea typeface="+mn-ea"/>
                <a:cs typeface="Aharoni" panose="02010803020104030203" pitchFamily="2" charset="-79"/>
              </a:rPr>
              <a:t>Success Drivers</a:t>
            </a:r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97FFC525-116C-4947-AA18-3976678665ED}"/>
              </a:ext>
            </a:extLst>
          </p:cNvPr>
          <p:cNvSpPr txBox="1"/>
          <p:nvPr/>
        </p:nvSpPr>
        <p:spPr>
          <a:xfrm>
            <a:off x="81280" y="4673712"/>
            <a:ext cx="2773680" cy="1384995"/>
          </a:xfrm>
          <a:prstGeom prst="rect">
            <a:avLst/>
          </a:prstGeom>
          <a:noFill/>
          <a:ln w="19050">
            <a:solidFill>
              <a:srgbClr val="FF6699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Integration</a:t>
            </a: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Africa’s challenges and opportunities are interwoven. Cross-sectoral, integrated approaches enabled for lasting social change.</a:t>
            </a:r>
            <a:r>
              <a:rPr lang="en-GB" sz="1200" dirty="0">
                <a:latin typeface="Arial" panose="020B0604020202020204"/>
              </a:rPr>
              <a:t> </a:t>
            </a:r>
            <a:endParaRPr lang="en-GB" sz="1200" dirty="0">
              <a:latin typeface="Arial" panose="020B0604020202020204"/>
              <a:cs typeface="Arial"/>
            </a:endParaRPr>
          </a:p>
          <a:p>
            <a:pPr algn="ctr">
              <a:defRPr/>
            </a:pPr>
            <a:endParaRPr lang="en-GB" sz="2400" dirty="0">
              <a:solidFill>
                <a:srgbClr val="E7E6E6"/>
              </a:solidFill>
              <a:latin typeface="Arial" panose="020B0604020202020204"/>
              <a:cs typeface="Calibri"/>
            </a:endParaRP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E82B94B6-5EAF-4754-B18C-BD9A2414E90B}"/>
              </a:ext>
            </a:extLst>
          </p:cNvPr>
          <p:cNvSpPr txBox="1"/>
          <p:nvPr/>
        </p:nvSpPr>
        <p:spPr>
          <a:xfrm>
            <a:off x="3028893" y="4658325"/>
            <a:ext cx="2773680" cy="1384995"/>
          </a:xfrm>
          <a:prstGeom prst="rect">
            <a:avLst/>
          </a:prstGeom>
          <a:noFill/>
          <a:ln w="15875">
            <a:solidFill>
              <a:srgbClr val="FF6699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lisation</a:t>
            </a: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ocal knowledge and insights, delivery of context-specific </a:t>
            </a:r>
            <a:r>
              <a:rPr lang="en-GB" sz="1200" dirty="0">
                <a:solidFill>
                  <a:srgbClr val="000000"/>
                </a:solidFill>
                <a:latin typeface="Arial" panose="020B0604020202020204"/>
              </a:rPr>
              <a:t>investments; government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and other stakeholder partnerships</a:t>
            </a:r>
            <a:endParaRPr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2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36270CDB-1A7A-4E50-8C96-EF0B5A05B423}"/>
              </a:ext>
            </a:extLst>
          </p:cNvPr>
          <p:cNvSpPr txBox="1"/>
          <p:nvPr/>
        </p:nvSpPr>
        <p:spPr>
          <a:xfrm>
            <a:off x="5972867" y="4649378"/>
            <a:ext cx="3027680" cy="1384995"/>
          </a:xfrm>
          <a:prstGeom prst="rect">
            <a:avLst/>
          </a:prstGeom>
          <a:noFill/>
          <a:ln w="15875">
            <a:solidFill>
              <a:srgbClr val="FF6699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Execution</a:t>
            </a: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Use evidence to map out priority geographies. Improve execution of current portfolios and identify non-performance early, putting in place robust course correction actions</a:t>
            </a:r>
            <a:r>
              <a:rPr lang="en-GB" sz="1200" dirty="0">
                <a:solidFill>
                  <a:srgbClr val="000000"/>
                </a:solidFill>
                <a:latin typeface="Arial" panose="020B0604020202020204"/>
              </a:rPr>
              <a:t> </a:t>
            </a:r>
            <a:endParaRPr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  <a:p>
            <a:pPr algn="ctr">
              <a:defRPr/>
            </a:pPr>
            <a:endParaRPr lang="en-GB" sz="1200" dirty="0">
              <a:solidFill>
                <a:srgbClr val="000000"/>
              </a:solidFill>
              <a:latin typeface="Arial" panose="020B0604020202020204"/>
              <a:cs typeface="Arial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F022B5CE-2D5D-4BC5-AE7A-57E3074D58A2}"/>
              </a:ext>
            </a:extLst>
          </p:cNvPr>
          <p:cNvSpPr txBox="1"/>
          <p:nvPr/>
        </p:nvSpPr>
        <p:spPr>
          <a:xfrm>
            <a:off x="9193242" y="4648511"/>
            <a:ext cx="2905760" cy="1384995"/>
          </a:xfrm>
          <a:prstGeom prst="rect">
            <a:avLst/>
          </a:prstGeom>
          <a:noFill/>
          <a:ln w="15875">
            <a:solidFill>
              <a:srgbClr val="FF6699"/>
            </a:solidFill>
          </a:ln>
        </p:spPr>
        <p:txBody>
          <a:bodyPr wrap="square" lIns="91440" tIns="45720" rIns="91440" bIns="45720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ustainability</a:t>
            </a:r>
          </a:p>
          <a:p>
            <a:pPr algn="ctr">
              <a:defRPr/>
            </a:pP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om the outset, all investments</a:t>
            </a:r>
            <a:r>
              <a:rPr lang="en-GB" sz="1200" dirty="0">
                <a:solidFill>
                  <a:srgbClr val="000000"/>
                </a:solidFill>
                <a:latin typeface="Arial" panose="020B0604020202020204"/>
              </a:rPr>
              <a:t> </a:t>
            </a:r>
            <a:r>
              <a:rPr kumimoji="0" lang="en-GB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designed with sustainability in mind, with fit for purpose pathways defined and supported through complementary strategic engagement efforts</a:t>
            </a:r>
            <a:endParaRPr lang="en-GB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498562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" grpId="0" animBg="1"/>
      <p:bldP spid="45" grpId="0" animBg="1"/>
      <p:bldP spid="46" grpId="0" animBg="1"/>
      <p:bldP spid="47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9" name="Rectangle: Top Corners Rounded 143">
            <a:extLst>
              <a:ext uri="{FF2B5EF4-FFF2-40B4-BE49-F238E27FC236}">
                <a16:creationId xmlns:a16="http://schemas.microsoft.com/office/drawing/2014/main" id="{47201C8B-2E1D-4CE4-A3D7-2469599F706C}"/>
              </a:ext>
            </a:extLst>
          </p:cNvPr>
          <p:cNvSpPr/>
          <p:nvPr/>
        </p:nvSpPr>
        <p:spPr>
          <a:xfrm rot="10800000">
            <a:off x="3561955" y="2402454"/>
            <a:ext cx="7899228" cy="1160958"/>
          </a:xfrm>
          <a:prstGeom prst="round2SameRect">
            <a:avLst>
              <a:gd name="adj1" fmla="val 10851"/>
              <a:gd name="adj2" fmla="val 0"/>
            </a:avLst>
          </a:prstGeom>
          <a:solidFill>
            <a:srgbClr val="FAB7D1">
              <a:alpha val="56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grpSp>
        <p:nvGrpSpPr>
          <p:cNvPr id="11" name="Group 6"/>
          <p:cNvGrpSpPr>
            <a:grpSpLocks noChangeAspect="1"/>
          </p:cNvGrpSpPr>
          <p:nvPr/>
        </p:nvGrpSpPr>
        <p:grpSpPr bwMode="auto">
          <a:xfrm>
            <a:off x="4564807" y="1328777"/>
            <a:ext cx="659569" cy="659569"/>
            <a:chOff x="3421" y="399"/>
            <a:chExt cx="553" cy="553"/>
          </a:xfrm>
          <a:solidFill>
            <a:srgbClr val="000000"/>
          </a:solidFill>
        </p:grpSpPr>
        <p:sp>
          <p:nvSpPr>
            <p:cNvPr id="13" name="Oval 7"/>
            <p:cNvSpPr>
              <a:spLocks noChangeArrowheads="1"/>
            </p:cNvSpPr>
            <p:nvPr/>
          </p:nvSpPr>
          <p:spPr bwMode="auto">
            <a:xfrm>
              <a:off x="3628" y="399"/>
              <a:ext cx="139" cy="13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4" name="Freeform 8"/>
            <p:cNvSpPr>
              <a:spLocks/>
            </p:cNvSpPr>
            <p:nvPr/>
          </p:nvSpPr>
          <p:spPr bwMode="auto">
            <a:xfrm>
              <a:off x="3593" y="572"/>
              <a:ext cx="209" cy="380"/>
            </a:xfrm>
            <a:custGeom>
              <a:avLst/>
              <a:gdLst>
                <a:gd name="T0" fmla="*/ 2404 w 2412"/>
                <a:gd name="T1" fmla="*/ 1774 h 4400"/>
                <a:gd name="T2" fmla="*/ 2223 w 2412"/>
                <a:gd name="T3" fmla="*/ 360 h 4400"/>
                <a:gd name="T4" fmla="*/ 1825 w 2412"/>
                <a:gd name="T5" fmla="*/ 0 h 4400"/>
                <a:gd name="T6" fmla="*/ 1606 w 2412"/>
                <a:gd name="T7" fmla="*/ 0 h 4400"/>
                <a:gd name="T8" fmla="*/ 1464 w 2412"/>
                <a:gd name="T9" fmla="*/ 58 h 4400"/>
                <a:gd name="T10" fmla="*/ 1206 w 2412"/>
                <a:gd name="T11" fmla="*/ 317 h 4400"/>
                <a:gd name="T12" fmla="*/ 948 w 2412"/>
                <a:gd name="T13" fmla="*/ 58 h 4400"/>
                <a:gd name="T14" fmla="*/ 806 w 2412"/>
                <a:gd name="T15" fmla="*/ 0 h 4400"/>
                <a:gd name="T16" fmla="*/ 587 w 2412"/>
                <a:gd name="T17" fmla="*/ 0 h 4400"/>
                <a:gd name="T18" fmla="*/ 190 w 2412"/>
                <a:gd name="T19" fmla="*/ 355 h 4400"/>
                <a:gd name="T20" fmla="*/ 8 w 2412"/>
                <a:gd name="T21" fmla="*/ 1775 h 4400"/>
                <a:gd name="T22" fmla="*/ 56 w 2412"/>
                <a:gd name="T23" fmla="*/ 1932 h 4400"/>
                <a:gd name="T24" fmla="*/ 206 w 2412"/>
                <a:gd name="T25" fmla="*/ 2000 h 4400"/>
                <a:gd name="T26" fmla="*/ 422 w 2412"/>
                <a:gd name="T27" fmla="*/ 2000 h 4400"/>
                <a:gd name="T28" fmla="*/ 589 w 2412"/>
                <a:gd name="T29" fmla="*/ 4040 h 4400"/>
                <a:gd name="T30" fmla="*/ 987 w 2412"/>
                <a:gd name="T31" fmla="*/ 4400 h 4400"/>
                <a:gd name="T32" fmla="*/ 1425 w 2412"/>
                <a:gd name="T33" fmla="*/ 4400 h 4400"/>
                <a:gd name="T34" fmla="*/ 1824 w 2412"/>
                <a:gd name="T35" fmla="*/ 4036 h 4400"/>
                <a:gd name="T36" fmla="*/ 1990 w 2412"/>
                <a:gd name="T37" fmla="*/ 2000 h 4400"/>
                <a:gd name="T38" fmla="*/ 2206 w 2412"/>
                <a:gd name="T39" fmla="*/ 2000 h 4400"/>
                <a:gd name="T40" fmla="*/ 2356 w 2412"/>
                <a:gd name="T41" fmla="*/ 1932 h 4400"/>
                <a:gd name="T42" fmla="*/ 2404 w 2412"/>
                <a:gd name="T43" fmla="*/ 1774 h 44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412" h="4400">
                  <a:moveTo>
                    <a:pt x="2404" y="1774"/>
                  </a:moveTo>
                  <a:lnTo>
                    <a:pt x="2223" y="360"/>
                  </a:lnTo>
                  <a:cubicBezTo>
                    <a:pt x="2202" y="155"/>
                    <a:pt x="2031" y="0"/>
                    <a:pt x="1825" y="0"/>
                  </a:cubicBezTo>
                  <a:lnTo>
                    <a:pt x="1606" y="0"/>
                  </a:lnTo>
                  <a:cubicBezTo>
                    <a:pt x="1553" y="0"/>
                    <a:pt x="1502" y="21"/>
                    <a:pt x="1464" y="58"/>
                  </a:cubicBezTo>
                  <a:lnTo>
                    <a:pt x="1206" y="317"/>
                  </a:lnTo>
                  <a:lnTo>
                    <a:pt x="948" y="58"/>
                  </a:lnTo>
                  <a:cubicBezTo>
                    <a:pt x="910" y="21"/>
                    <a:pt x="859" y="0"/>
                    <a:pt x="806" y="0"/>
                  </a:cubicBezTo>
                  <a:lnTo>
                    <a:pt x="587" y="0"/>
                  </a:lnTo>
                  <a:cubicBezTo>
                    <a:pt x="381" y="0"/>
                    <a:pt x="210" y="155"/>
                    <a:pt x="190" y="355"/>
                  </a:cubicBezTo>
                  <a:lnTo>
                    <a:pt x="8" y="1775"/>
                  </a:lnTo>
                  <a:cubicBezTo>
                    <a:pt x="0" y="1832"/>
                    <a:pt x="18" y="1889"/>
                    <a:pt x="56" y="1932"/>
                  </a:cubicBezTo>
                  <a:cubicBezTo>
                    <a:pt x="94" y="1975"/>
                    <a:pt x="148" y="2000"/>
                    <a:pt x="206" y="2000"/>
                  </a:cubicBezTo>
                  <a:lnTo>
                    <a:pt x="422" y="2000"/>
                  </a:lnTo>
                  <a:lnTo>
                    <a:pt x="589" y="4040"/>
                  </a:lnTo>
                  <a:cubicBezTo>
                    <a:pt x="609" y="4245"/>
                    <a:pt x="781" y="4400"/>
                    <a:pt x="987" y="4400"/>
                  </a:cubicBezTo>
                  <a:lnTo>
                    <a:pt x="1425" y="4400"/>
                  </a:lnTo>
                  <a:cubicBezTo>
                    <a:pt x="1632" y="4400"/>
                    <a:pt x="1803" y="4245"/>
                    <a:pt x="1824" y="4036"/>
                  </a:cubicBezTo>
                  <a:lnTo>
                    <a:pt x="1990" y="2000"/>
                  </a:lnTo>
                  <a:lnTo>
                    <a:pt x="2206" y="2000"/>
                  </a:lnTo>
                  <a:cubicBezTo>
                    <a:pt x="2264" y="2000"/>
                    <a:pt x="2318" y="1975"/>
                    <a:pt x="2356" y="1932"/>
                  </a:cubicBezTo>
                  <a:cubicBezTo>
                    <a:pt x="2394" y="1889"/>
                    <a:pt x="2412" y="1832"/>
                    <a:pt x="2404" y="17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5" name="Oval 9"/>
            <p:cNvSpPr>
              <a:spLocks noChangeArrowheads="1"/>
            </p:cNvSpPr>
            <p:nvPr/>
          </p:nvSpPr>
          <p:spPr bwMode="auto">
            <a:xfrm>
              <a:off x="3801" y="399"/>
              <a:ext cx="138" cy="13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" name="Oval 10"/>
            <p:cNvSpPr>
              <a:spLocks noChangeArrowheads="1"/>
            </p:cNvSpPr>
            <p:nvPr/>
          </p:nvSpPr>
          <p:spPr bwMode="auto">
            <a:xfrm>
              <a:off x="3456" y="399"/>
              <a:ext cx="138" cy="138"/>
            </a:xfrm>
            <a:prstGeom prst="ellipse">
              <a:avLst/>
            </a:pr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7" name="Freeform 11"/>
            <p:cNvSpPr>
              <a:spLocks/>
            </p:cNvSpPr>
            <p:nvPr/>
          </p:nvSpPr>
          <p:spPr bwMode="auto">
            <a:xfrm>
              <a:off x="3805" y="572"/>
              <a:ext cx="169" cy="345"/>
            </a:xfrm>
            <a:custGeom>
              <a:avLst/>
              <a:gdLst>
                <a:gd name="T0" fmla="*/ 1947 w 1955"/>
                <a:gd name="T1" fmla="*/ 1774 h 4000"/>
                <a:gd name="T2" fmla="*/ 1766 w 1955"/>
                <a:gd name="T3" fmla="*/ 360 h 4000"/>
                <a:gd name="T4" fmla="*/ 1368 w 1955"/>
                <a:gd name="T5" fmla="*/ 0 h 4000"/>
                <a:gd name="T6" fmla="*/ 1149 w 1955"/>
                <a:gd name="T7" fmla="*/ 0 h 4000"/>
                <a:gd name="T8" fmla="*/ 1007 w 1955"/>
                <a:gd name="T9" fmla="*/ 58 h 4000"/>
                <a:gd name="T10" fmla="*/ 749 w 1955"/>
                <a:gd name="T11" fmla="*/ 317 h 4000"/>
                <a:gd name="T12" fmla="*/ 491 w 1955"/>
                <a:gd name="T13" fmla="*/ 58 h 4000"/>
                <a:gd name="T14" fmla="*/ 349 w 1955"/>
                <a:gd name="T15" fmla="*/ 0 h 4000"/>
                <a:gd name="T16" fmla="*/ 130 w 1955"/>
                <a:gd name="T17" fmla="*/ 0 h 4000"/>
                <a:gd name="T18" fmla="*/ 59 w 1955"/>
                <a:gd name="T19" fmla="*/ 13 h 4000"/>
                <a:gd name="T20" fmla="*/ 163 w 1955"/>
                <a:gd name="T21" fmla="*/ 314 h 4000"/>
                <a:gd name="T22" fmla="*/ 345 w 1955"/>
                <a:gd name="T23" fmla="*/ 1724 h 4000"/>
                <a:gd name="T24" fmla="*/ 198 w 1955"/>
                <a:gd name="T25" fmla="*/ 2198 h 4000"/>
                <a:gd name="T26" fmla="*/ 0 w 1955"/>
                <a:gd name="T27" fmla="*/ 2339 h 4000"/>
                <a:gd name="T28" fmla="*/ 133 w 1955"/>
                <a:gd name="T29" fmla="*/ 3640 h 4000"/>
                <a:gd name="T30" fmla="*/ 531 w 1955"/>
                <a:gd name="T31" fmla="*/ 4000 h 4000"/>
                <a:gd name="T32" fmla="*/ 969 w 1955"/>
                <a:gd name="T33" fmla="*/ 4000 h 4000"/>
                <a:gd name="T34" fmla="*/ 1367 w 1955"/>
                <a:gd name="T35" fmla="*/ 3636 h 4000"/>
                <a:gd name="T36" fmla="*/ 1533 w 1955"/>
                <a:gd name="T37" fmla="*/ 2000 h 4000"/>
                <a:gd name="T38" fmla="*/ 1749 w 1955"/>
                <a:gd name="T39" fmla="*/ 2000 h 4000"/>
                <a:gd name="T40" fmla="*/ 1899 w 1955"/>
                <a:gd name="T41" fmla="*/ 1932 h 4000"/>
                <a:gd name="T42" fmla="*/ 1947 w 1955"/>
                <a:gd name="T43" fmla="*/ 1774 h 4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55" h="4000">
                  <a:moveTo>
                    <a:pt x="1947" y="1774"/>
                  </a:moveTo>
                  <a:lnTo>
                    <a:pt x="1766" y="360"/>
                  </a:lnTo>
                  <a:cubicBezTo>
                    <a:pt x="1745" y="155"/>
                    <a:pt x="1575" y="0"/>
                    <a:pt x="1368" y="0"/>
                  </a:cubicBezTo>
                  <a:lnTo>
                    <a:pt x="1149" y="0"/>
                  </a:lnTo>
                  <a:cubicBezTo>
                    <a:pt x="1096" y="0"/>
                    <a:pt x="1045" y="21"/>
                    <a:pt x="1007" y="58"/>
                  </a:cubicBezTo>
                  <a:lnTo>
                    <a:pt x="749" y="317"/>
                  </a:lnTo>
                  <a:lnTo>
                    <a:pt x="491" y="58"/>
                  </a:lnTo>
                  <a:cubicBezTo>
                    <a:pt x="453" y="21"/>
                    <a:pt x="402" y="0"/>
                    <a:pt x="349" y="0"/>
                  </a:cubicBezTo>
                  <a:lnTo>
                    <a:pt x="130" y="0"/>
                  </a:lnTo>
                  <a:cubicBezTo>
                    <a:pt x="105" y="0"/>
                    <a:pt x="83" y="9"/>
                    <a:pt x="59" y="13"/>
                  </a:cubicBezTo>
                  <a:cubicBezTo>
                    <a:pt x="111" y="104"/>
                    <a:pt x="151" y="203"/>
                    <a:pt x="163" y="314"/>
                  </a:cubicBezTo>
                  <a:lnTo>
                    <a:pt x="345" y="1724"/>
                  </a:lnTo>
                  <a:cubicBezTo>
                    <a:pt x="367" y="1895"/>
                    <a:pt x="313" y="2068"/>
                    <a:pt x="198" y="2198"/>
                  </a:cubicBezTo>
                  <a:cubicBezTo>
                    <a:pt x="144" y="2260"/>
                    <a:pt x="74" y="2304"/>
                    <a:pt x="0" y="2339"/>
                  </a:cubicBezTo>
                  <a:lnTo>
                    <a:pt x="133" y="3640"/>
                  </a:lnTo>
                  <a:cubicBezTo>
                    <a:pt x="153" y="3845"/>
                    <a:pt x="324" y="4000"/>
                    <a:pt x="531" y="4000"/>
                  </a:cubicBezTo>
                  <a:lnTo>
                    <a:pt x="969" y="4000"/>
                  </a:lnTo>
                  <a:cubicBezTo>
                    <a:pt x="1175" y="4000"/>
                    <a:pt x="1346" y="3845"/>
                    <a:pt x="1367" y="3636"/>
                  </a:cubicBezTo>
                  <a:lnTo>
                    <a:pt x="1533" y="2000"/>
                  </a:lnTo>
                  <a:lnTo>
                    <a:pt x="1749" y="2000"/>
                  </a:lnTo>
                  <a:cubicBezTo>
                    <a:pt x="1807" y="2000"/>
                    <a:pt x="1861" y="1975"/>
                    <a:pt x="1899" y="1932"/>
                  </a:cubicBezTo>
                  <a:cubicBezTo>
                    <a:pt x="1937" y="1889"/>
                    <a:pt x="1955" y="1832"/>
                    <a:pt x="1947" y="1774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8" name="Freeform 12"/>
            <p:cNvSpPr>
              <a:spLocks/>
            </p:cNvSpPr>
            <p:nvPr/>
          </p:nvSpPr>
          <p:spPr bwMode="auto">
            <a:xfrm>
              <a:off x="3421" y="572"/>
              <a:ext cx="168" cy="345"/>
            </a:xfrm>
            <a:custGeom>
              <a:avLst/>
              <a:gdLst>
                <a:gd name="T0" fmla="*/ 1756 w 1956"/>
                <a:gd name="T1" fmla="*/ 2196 h 4000"/>
                <a:gd name="T2" fmla="*/ 1611 w 1956"/>
                <a:gd name="T3" fmla="*/ 1724 h 4000"/>
                <a:gd name="T4" fmla="*/ 1793 w 1956"/>
                <a:gd name="T5" fmla="*/ 304 h 4000"/>
                <a:gd name="T6" fmla="*/ 1892 w 1956"/>
                <a:gd name="T7" fmla="*/ 13 h 4000"/>
                <a:gd name="T8" fmla="*/ 1825 w 1956"/>
                <a:gd name="T9" fmla="*/ 0 h 4000"/>
                <a:gd name="T10" fmla="*/ 1606 w 1956"/>
                <a:gd name="T11" fmla="*/ 0 h 4000"/>
                <a:gd name="T12" fmla="*/ 1464 w 1956"/>
                <a:gd name="T13" fmla="*/ 58 h 4000"/>
                <a:gd name="T14" fmla="*/ 1206 w 1956"/>
                <a:gd name="T15" fmla="*/ 317 h 4000"/>
                <a:gd name="T16" fmla="*/ 948 w 1956"/>
                <a:gd name="T17" fmla="*/ 58 h 4000"/>
                <a:gd name="T18" fmla="*/ 806 w 1956"/>
                <a:gd name="T19" fmla="*/ 0 h 4000"/>
                <a:gd name="T20" fmla="*/ 587 w 1956"/>
                <a:gd name="T21" fmla="*/ 0 h 4000"/>
                <a:gd name="T22" fmla="*/ 190 w 1956"/>
                <a:gd name="T23" fmla="*/ 355 h 4000"/>
                <a:gd name="T24" fmla="*/ 8 w 1956"/>
                <a:gd name="T25" fmla="*/ 1775 h 4000"/>
                <a:gd name="T26" fmla="*/ 56 w 1956"/>
                <a:gd name="T27" fmla="*/ 1932 h 4000"/>
                <a:gd name="T28" fmla="*/ 206 w 1956"/>
                <a:gd name="T29" fmla="*/ 2000 h 4000"/>
                <a:gd name="T30" fmla="*/ 422 w 1956"/>
                <a:gd name="T31" fmla="*/ 2000 h 4000"/>
                <a:gd name="T32" fmla="*/ 589 w 1956"/>
                <a:gd name="T33" fmla="*/ 3640 h 4000"/>
                <a:gd name="T34" fmla="*/ 987 w 1956"/>
                <a:gd name="T35" fmla="*/ 4000 h 4000"/>
                <a:gd name="T36" fmla="*/ 1425 w 1956"/>
                <a:gd name="T37" fmla="*/ 4000 h 4000"/>
                <a:gd name="T38" fmla="*/ 1824 w 1956"/>
                <a:gd name="T39" fmla="*/ 3636 h 4000"/>
                <a:gd name="T40" fmla="*/ 1956 w 1956"/>
                <a:gd name="T41" fmla="*/ 2338 h 4000"/>
                <a:gd name="T42" fmla="*/ 1756 w 1956"/>
                <a:gd name="T43" fmla="*/ 2196 h 4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956" h="4000">
                  <a:moveTo>
                    <a:pt x="1756" y="2196"/>
                  </a:moveTo>
                  <a:cubicBezTo>
                    <a:pt x="1642" y="2068"/>
                    <a:pt x="1589" y="1895"/>
                    <a:pt x="1611" y="1724"/>
                  </a:cubicBezTo>
                  <a:lnTo>
                    <a:pt x="1793" y="304"/>
                  </a:lnTo>
                  <a:cubicBezTo>
                    <a:pt x="1803" y="198"/>
                    <a:pt x="1842" y="102"/>
                    <a:pt x="1892" y="13"/>
                  </a:cubicBezTo>
                  <a:cubicBezTo>
                    <a:pt x="1870" y="9"/>
                    <a:pt x="1849" y="0"/>
                    <a:pt x="1825" y="0"/>
                  </a:cubicBezTo>
                  <a:lnTo>
                    <a:pt x="1606" y="0"/>
                  </a:lnTo>
                  <a:cubicBezTo>
                    <a:pt x="1553" y="0"/>
                    <a:pt x="1502" y="21"/>
                    <a:pt x="1464" y="58"/>
                  </a:cubicBezTo>
                  <a:lnTo>
                    <a:pt x="1206" y="317"/>
                  </a:lnTo>
                  <a:lnTo>
                    <a:pt x="948" y="58"/>
                  </a:lnTo>
                  <a:cubicBezTo>
                    <a:pt x="910" y="21"/>
                    <a:pt x="859" y="0"/>
                    <a:pt x="806" y="0"/>
                  </a:cubicBezTo>
                  <a:lnTo>
                    <a:pt x="587" y="0"/>
                  </a:lnTo>
                  <a:cubicBezTo>
                    <a:pt x="381" y="0"/>
                    <a:pt x="210" y="155"/>
                    <a:pt x="190" y="355"/>
                  </a:cubicBezTo>
                  <a:lnTo>
                    <a:pt x="8" y="1775"/>
                  </a:lnTo>
                  <a:cubicBezTo>
                    <a:pt x="0" y="1832"/>
                    <a:pt x="18" y="1889"/>
                    <a:pt x="56" y="1932"/>
                  </a:cubicBezTo>
                  <a:cubicBezTo>
                    <a:pt x="94" y="1975"/>
                    <a:pt x="149" y="2000"/>
                    <a:pt x="206" y="2000"/>
                  </a:cubicBezTo>
                  <a:lnTo>
                    <a:pt x="422" y="2000"/>
                  </a:lnTo>
                  <a:lnTo>
                    <a:pt x="589" y="3640"/>
                  </a:lnTo>
                  <a:cubicBezTo>
                    <a:pt x="609" y="3845"/>
                    <a:pt x="781" y="4000"/>
                    <a:pt x="987" y="4000"/>
                  </a:cubicBezTo>
                  <a:lnTo>
                    <a:pt x="1425" y="4000"/>
                  </a:lnTo>
                  <a:cubicBezTo>
                    <a:pt x="1632" y="4000"/>
                    <a:pt x="1803" y="3845"/>
                    <a:pt x="1824" y="3636"/>
                  </a:cubicBezTo>
                  <a:lnTo>
                    <a:pt x="1956" y="2338"/>
                  </a:lnTo>
                  <a:cubicBezTo>
                    <a:pt x="1882" y="2304"/>
                    <a:pt x="1812" y="2259"/>
                    <a:pt x="1756" y="2196"/>
                  </a:cubicBez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</p:grpSp>
      <p:sp>
        <p:nvSpPr>
          <p:cNvPr id="166" name="TextBox 165">
            <a:extLst>
              <a:ext uri="{FF2B5EF4-FFF2-40B4-BE49-F238E27FC236}">
                <a16:creationId xmlns:a16="http://schemas.microsoft.com/office/drawing/2014/main" id="{5BB6721E-73F5-4586-8C82-992DD9587E0A}"/>
              </a:ext>
            </a:extLst>
          </p:cNvPr>
          <p:cNvSpPr txBox="1"/>
          <p:nvPr/>
        </p:nvSpPr>
        <p:spPr>
          <a:xfrm rot="10800000">
            <a:off x="658813" y="1676441"/>
            <a:ext cx="2821383" cy="4448921"/>
          </a:xfrm>
          <a:prstGeom prst="round2SameRect">
            <a:avLst>
              <a:gd name="adj1" fmla="val 6009"/>
              <a:gd name="adj2" fmla="val 0"/>
            </a:avLst>
          </a:prstGeom>
          <a:solidFill>
            <a:srgbClr val="F2F2F2"/>
          </a:solidFill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679BBC9-1840-44E0-ADB4-BB49947316A3}"/>
              </a:ext>
            </a:extLst>
          </p:cNvPr>
          <p:cNvSpPr txBox="1"/>
          <p:nvPr/>
        </p:nvSpPr>
        <p:spPr>
          <a:xfrm>
            <a:off x="658813" y="2140407"/>
            <a:ext cx="2814986" cy="4002834"/>
          </a:xfrm>
          <a:prstGeom prst="rect">
            <a:avLst/>
          </a:prstGeom>
          <a:noFill/>
          <a:ln>
            <a:noFill/>
          </a:ln>
        </p:spPr>
        <p:txBody>
          <a:bodyPr wrap="square" lIns="90000" tIns="90000" rIns="90000" bIns="90000" rtlCol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“If donors want to be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ore effective in Africa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they should be creating solutions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with Africans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to the challenges diagnosed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by Africans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, using expertise and resources that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re African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. This is what real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ccountability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nd real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ED1267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sustainability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srgbClr val="404040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actually mean.</a:t>
            </a:r>
            <a:r>
              <a:rPr kumimoji="0" lang="en-GB" sz="16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”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6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-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airo</a:t>
            </a:r>
            <a:r>
              <a:rPr kumimoji="0" lang="en-GB" sz="12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</a:t>
            </a:r>
            <a:r>
              <a:rPr kumimoji="0" lang="en-GB" sz="1200" b="1" i="1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andara</a:t>
            </a:r>
            <a:endParaRPr kumimoji="0" lang="en-US" sz="1200" b="1" i="1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FFFF00"/>
              </a:highlight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B8A9D08D-9B39-45F8-BFF9-99BE69D9D653}"/>
              </a:ext>
            </a:extLst>
          </p:cNvPr>
          <p:cNvCxnSpPr>
            <a:cxnSpLocks/>
          </p:cNvCxnSpPr>
          <p:nvPr/>
        </p:nvCxnSpPr>
        <p:spPr>
          <a:xfrm flipH="1">
            <a:off x="658814" y="1676441"/>
            <a:ext cx="2821383" cy="0"/>
          </a:xfrm>
          <a:prstGeom prst="line">
            <a:avLst/>
          </a:prstGeom>
          <a:ln w="34925">
            <a:solidFill>
              <a:srgbClr val="ED126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Oval 14">
            <a:extLst>
              <a:ext uri="{FF2B5EF4-FFF2-40B4-BE49-F238E27FC236}">
                <a16:creationId xmlns:a16="http://schemas.microsoft.com/office/drawing/2014/main" id="{EA6EE44D-5D2B-4E2E-A2A5-737D71C49793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36130" y="1361331"/>
            <a:ext cx="666750" cy="666750"/>
          </a:xfrm>
          <a:prstGeom prst="ellipse">
            <a:avLst/>
          </a:prstGeom>
          <a:solidFill>
            <a:srgbClr val="ED1267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24" name="Freeform 97">
            <a:extLst>
              <a:ext uri="{FF2B5EF4-FFF2-40B4-BE49-F238E27FC236}">
                <a16:creationId xmlns:a16="http://schemas.microsoft.com/office/drawing/2014/main" id="{602E9A8A-AB22-460C-9FE2-7A56F843BFE8}"/>
              </a:ext>
            </a:extLst>
          </p:cNvPr>
          <p:cNvSpPr>
            <a:spLocks noEditPoints="1"/>
          </p:cNvSpPr>
          <p:nvPr/>
        </p:nvSpPr>
        <p:spPr bwMode="auto">
          <a:xfrm>
            <a:off x="1855193" y="1523256"/>
            <a:ext cx="427037" cy="342900"/>
          </a:xfrm>
          <a:custGeom>
            <a:avLst/>
            <a:gdLst>
              <a:gd name="T0" fmla="*/ 156 w 164"/>
              <a:gd name="T1" fmla="*/ 107 h 132"/>
              <a:gd name="T2" fmla="*/ 164 w 164"/>
              <a:gd name="T3" fmla="*/ 86 h 132"/>
              <a:gd name="T4" fmla="*/ 131 w 164"/>
              <a:gd name="T5" fmla="*/ 52 h 132"/>
              <a:gd name="T6" fmla="*/ 65 w 164"/>
              <a:gd name="T7" fmla="*/ 0 h 132"/>
              <a:gd name="T8" fmla="*/ 0 w 164"/>
              <a:gd name="T9" fmla="*/ 54 h 132"/>
              <a:gd name="T10" fmla="*/ 13 w 164"/>
              <a:gd name="T11" fmla="*/ 86 h 132"/>
              <a:gd name="T12" fmla="*/ 3 w 164"/>
              <a:gd name="T13" fmla="*/ 114 h 132"/>
              <a:gd name="T14" fmla="*/ 3 w 164"/>
              <a:gd name="T15" fmla="*/ 120 h 132"/>
              <a:gd name="T16" fmla="*/ 7 w 164"/>
              <a:gd name="T17" fmla="*/ 123 h 132"/>
              <a:gd name="T18" fmla="*/ 8 w 164"/>
              <a:gd name="T19" fmla="*/ 123 h 132"/>
              <a:gd name="T20" fmla="*/ 48 w 164"/>
              <a:gd name="T21" fmla="*/ 105 h 132"/>
              <a:gd name="T22" fmla="*/ 65 w 164"/>
              <a:gd name="T23" fmla="*/ 107 h 132"/>
              <a:gd name="T24" fmla="*/ 85 w 164"/>
              <a:gd name="T25" fmla="*/ 105 h 132"/>
              <a:gd name="T26" fmla="*/ 121 w 164"/>
              <a:gd name="T27" fmla="*/ 121 h 132"/>
              <a:gd name="T28" fmla="*/ 133 w 164"/>
              <a:gd name="T29" fmla="*/ 120 h 132"/>
              <a:gd name="T30" fmla="*/ 160 w 164"/>
              <a:gd name="T31" fmla="*/ 132 h 132"/>
              <a:gd name="T32" fmla="*/ 160 w 164"/>
              <a:gd name="T33" fmla="*/ 132 h 132"/>
              <a:gd name="T34" fmla="*/ 162 w 164"/>
              <a:gd name="T35" fmla="*/ 130 h 132"/>
              <a:gd name="T36" fmla="*/ 162 w 164"/>
              <a:gd name="T37" fmla="*/ 127 h 132"/>
              <a:gd name="T38" fmla="*/ 156 w 164"/>
              <a:gd name="T39" fmla="*/ 107 h 132"/>
              <a:gd name="T40" fmla="*/ 48 w 164"/>
              <a:gd name="T41" fmla="*/ 94 h 132"/>
              <a:gd name="T42" fmla="*/ 42 w 164"/>
              <a:gd name="T43" fmla="*/ 96 h 132"/>
              <a:gd name="T44" fmla="*/ 19 w 164"/>
              <a:gd name="T45" fmla="*/ 110 h 132"/>
              <a:gd name="T46" fmla="*/ 23 w 164"/>
              <a:gd name="T47" fmla="*/ 82 h 132"/>
              <a:gd name="T48" fmla="*/ 22 w 164"/>
              <a:gd name="T49" fmla="*/ 80 h 132"/>
              <a:gd name="T50" fmla="*/ 10 w 164"/>
              <a:gd name="T51" fmla="*/ 54 h 132"/>
              <a:gd name="T52" fmla="*/ 65 w 164"/>
              <a:gd name="T53" fmla="*/ 11 h 132"/>
              <a:gd name="T54" fmla="*/ 121 w 164"/>
              <a:gd name="T55" fmla="*/ 54 h 132"/>
              <a:gd name="T56" fmla="*/ 65 w 164"/>
              <a:gd name="T57" fmla="*/ 97 h 132"/>
              <a:gd name="T58" fmla="*/ 48 w 164"/>
              <a:gd name="T59" fmla="*/ 94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</a:cxnLst>
            <a:rect l="0" t="0" r="r" b="b"/>
            <a:pathLst>
              <a:path w="164" h="132">
                <a:moveTo>
                  <a:pt x="156" y="107"/>
                </a:moveTo>
                <a:cubicBezTo>
                  <a:pt x="161" y="101"/>
                  <a:pt x="164" y="94"/>
                  <a:pt x="164" y="86"/>
                </a:cubicBezTo>
                <a:cubicBezTo>
                  <a:pt x="164" y="70"/>
                  <a:pt x="150" y="56"/>
                  <a:pt x="131" y="52"/>
                </a:cubicBezTo>
                <a:cubicBezTo>
                  <a:pt x="130" y="23"/>
                  <a:pt x="101" y="0"/>
                  <a:pt x="65" y="0"/>
                </a:cubicBezTo>
                <a:cubicBezTo>
                  <a:pt x="29" y="0"/>
                  <a:pt x="0" y="24"/>
                  <a:pt x="0" y="54"/>
                </a:cubicBezTo>
                <a:cubicBezTo>
                  <a:pt x="0" y="65"/>
                  <a:pt x="4" y="76"/>
                  <a:pt x="13" y="86"/>
                </a:cubicBezTo>
                <a:cubicBezTo>
                  <a:pt x="14" y="95"/>
                  <a:pt x="10" y="108"/>
                  <a:pt x="3" y="114"/>
                </a:cubicBezTo>
                <a:cubicBezTo>
                  <a:pt x="2" y="116"/>
                  <a:pt x="2" y="118"/>
                  <a:pt x="3" y="120"/>
                </a:cubicBezTo>
                <a:cubicBezTo>
                  <a:pt x="4" y="122"/>
                  <a:pt x="5" y="123"/>
                  <a:pt x="7" y="123"/>
                </a:cubicBezTo>
                <a:cubicBezTo>
                  <a:pt x="8" y="123"/>
                  <a:pt x="8" y="123"/>
                  <a:pt x="8" y="123"/>
                </a:cubicBezTo>
                <a:cubicBezTo>
                  <a:pt x="23" y="122"/>
                  <a:pt x="37" y="116"/>
                  <a:pt x="48" y="105"/>
                </a:cubicBezTo>
                <a:cubicBezTo>
                  <a:pt x="54" y="107"/>
                  <a:pt x="60" y="107"/>
                  <a:pt x="65" y="107"/>
                </a:cubicBezTo>
                <a:cubicBezTo>
                  <a:pt x="72" y="107"/>
                  <a:pt x="79" y="106"/>
                  <a:pt x="85" y="105"/>
                </a:cubicBezTo>
                <a:cubicBezTo>
                  <a:pt x="92" y="115"/>
                  <a:pt x="106" y="121"/>
                  <a:pt x="121" y="121"/>
                </a:cubicBezTo>
                <a:cubicBezTo>
                  <a:pt x="125" y="121"/>
                  <a:pt x="129" y="121"/>
                  <a:pt x="133" y="120"/>
                </a:cubicBezTo>
                <a:cubicBezTo>
                  <a:pt x="140" y="127"/>
                  <a:pt x="150" y="131"/>
                  <a:pt x="160" y="132"/>
                </a:cubicBezTo>
                <a:cubicBezTo>
                  <a:pt x="160" y="132"/>
                  <a:pt x="160" y="132"/>
                  <a:pt x="160" y="132"/>
                </a:cubicBezTo>
                <a:cubicBezTo>
                  <a:pt x="161" y="132"/>
                  <a:pt x="162" y="131"/>
                  <a:pt x="162" y="130"/>
                </a:cubicBezTo>
                <a:cubicBezTo>
                  <a:pt x="163" y="129"/>
                  <a:pt x="163" y="128"/>
                  <a:pt x="162" y="127"/>
                </a:cubicBezTo>
                <a:cubicBezTo>
                  <a:pt x="158" y="123"/>
                  <a:pt x="155" y="114"/>
                  <a:pt x="156" y="107"/>
                </a:cubicBezTo>
                <a:close/>
                <a:moveTo>
                  <a:pt x="48" y="94"/>
                </a:moveTo>
                <a:cubicBezTo>
                  <a:pt x="46" y="94"/>
                  <a:pt x="44" y="94"/>
                  <a:pt x="42" y="96"/>
                </a:cubicBezTo>
                <a:cubicBezTo>
                  <a:pt x="36" y="102"/>
                  <a:pt x="28" y="108"/>
                  <a:pt x="19" y="110"/>
                </a:cubicBezTo>
                <a:cubicBezTo>
                  <a:pt x="23" y="101"/>
                  <a:pt x="25" y="91"/>
                  <a:pt x="23" y="82"/>
                </a:cubicBezTo>
                <a:cubicBezTo>
                  <a:pt x="23" y="81"/>
                  <a:pt x="22" y="80"/>
                  <a:pt x="22" y="80"/>
                </a:cubicBezTo>
                <a:cubicBezTo>
                  <a:pt x="14" y="72"/>
                  <a:pt x="10" y="63"/>
                  <a:pt x="10" y="54"/>
                </a:cubicBezTo>
                <a:cubicBezTo>
                  <a:pt x="10" y="30"/>
                  <a:pt x="35" y="11"/>
                  <a:pt x="65" y="11"/>
                </a:cubicBezTo>
                <a:cubicBezTo>
                  <a:pt x="96" y="11"/>
                  <a:pt x="121" y="30"/>
                  <a:pt x="121" y="54"/>
                </a:cubicBezTo>
                <a:cubicBezTo>
                  <a:pt x="121" y="77"/>
                  <a:pt x="96" y="97"/>
                  <a:pt x="65" y="97"/>
                </a:cubicBezTo>
                <a:cubicBezTo>
                  <a:pt x="59" y="97"/>
                  <a:pt x="53" y="96"/>
                  <a:pt x="48" y="94"/>
                </a:cubicBezTo>
                <a:close/>
              </a:path>
            </a:pathLst>
          </a:cu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5" name="Rectangle: Top Corners Rounded 144">
            <a:extLst>
              <a:ext uri="{FF2B5EF4-FFF2-40B4-BE49-F238E27FC236}">
                <a16:creationId xmlns:a16="http://schemas.microsoft.com/office/drawing/2014/main" id="{5967E6D7-2DC9-44AA-856C-8AA226C85C08}"/>
              </a:ext>
            </a:extLst>
          </p:cNvPr>
          <p:cNvSpPr/>
          <p:nvPr/>
        </p:nvSpPr>
        <p:spPr>
          <a:xfrm>
            <a:off x="3561959" y="1948525"/>
            <a:ext cx="7899227" cy="455631"/>
          </a:xfrm>
          <a:prstGeom prst="round2Same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148" name="TextBox 147">
            <a:extLst>
              <a:ext uri="{FF2B5EF4-FFF2-40B4-BE49-F238E27FC236}">
                <a16:creationId xmlns:a16="http://schemas.microsoft.com/office/drawing/2014/main" id="{D562D35E-34B6-47B9-B14F-998CDF9A0860}"/>
              </a:ext>
            </a:extLst>
          </p:cNvPr>
          <p:cNvSpPr txBox="1"/>
          <p:nvPr/>
        </p:nvSpPr>
        <p:spPr>
          <a:xfrm>
            <a:off x="6227222" y="2404055"/>
            <a:ext cx="258848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Of philanthropic funding for Africa goes to organisations headquartered in Africa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49" name="TextBox 148">
            <a:extLst>
              <a:ext uri="{FF2B5EF4-FFF2-40B4-BE49-F238E27FC236}">
                <a16:creationId xmlns:a16="http://schemas.microsoft.com/office/drawing/2014/main" id="{09842B22-9714-46E1-B3C1-161F7830A226}"/>
              </a:ext>
            </a:extLst>
          </p:cNvPr>
          <p:cNvSpPr txBox="1"/>
          <p:nvPr/>
        </p:nvSpPr>
        <p:spPr>
          <a:xfrm>
            <a:off x="8853391" y="2404055"/>
            <a:ext cx="257184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Estimated size of African giving (</a:t>
            </a:r>
            <a:r>
              <a:rPr kumimoji="0" lang="en-GB" sz="14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inc.</a:t>
            </a: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 $46b remittances)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42AD5D-AE01-4050-AA7B-3ABB8A2F8B93}"/>
              </a:ext>
            </a:extLst>
          </p:cNvPr>
          <p:cNvSpPr txBox="1"/>
          <p:nvPr/>
        </p:nvSpPr>
        <p:spPr>
          <a:xfrm>
            <a:off x="3600587" y="2404055"/>
            <a:ext cx="256916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% of African population under 25 years of age (748M) and is expected to increase by 50% over the next 30 years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cxnSp>
        <p:nvCxnSpPr>
          <p:cNvPr id="152" name="Straight Connector 151">
            <a:extLst>
              <a:ext uri="{FF2B5EF4-FFF2-40B4-BE49-F238E27FC236}">
                <a16:creationId xmlns:a16="http://schemas.microsoft.com/office/drawing/2014/main" id="{23593138-B99D-47D6-8202-8AB2EC903617}"/>
              </a:ext>
            </a:extLst>
          </p:cNvPr>
          <p:cNvCxnSpPr/>
          <p:nvPr/>
        </p:nvCxnSpPr>
        <p:spPr>
          <a:xfrm>
            <a:off x="6207910" y="2074853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3" name="Straight Connector 152">
            <a:extLst>
              <a:ext uri="{FF2B5EF4-FFF2-40B4-BE49-F238E27FC236}">
                <a16:creationId xmlns:a16="http://schemas.microsoft.com/office/drawing/2014/main" id="{5867B366-C1F6-4CE1-AA23-800CC7AD5075}"/>
              </a:ext>
            </a:extLst>
          </p:cNvPr>
          <p:cNvCxnSpPr/>
          <p:nvPr/>
        </p:nvCxnSpPr>
        <p:spPr>
          <a:xfrm>
            <a:off x="8834547" y="2074853"/>
            <a:ext cx="0" cy="1195495"/>
          </a:xfrm>
          <a:prstGeom prst="line">
            <a:avLst/>
          </a:prstGeom>
          <a:ln w="28575">
            <a:gradFill>
              <a:gsLst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52000">
                  <a:schemeClr val="bg1"/>
                </a:gs>
                <a:gs pos="100000">
                  <a:schemeClr val="bg1">
                    <a:alpha val="0"/>
                  </a:schemeClr>
                </a:gs>
              </a:gsLst>
              <a:lin ang="54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4"/>
          <p:cNvGrpSpPr/>
          <p:nvPr/>
        </p:nvGrpSpPr>
        <p:grpSpPr>
          <a:xfrm>
            <a:off x="6901457" y="1336011"/>
            <a:ext cx="1239542" cy="1117388"/>
            <a:chOff x="7014031" y="849449"/>
            <a:chExt cx="1239542" cy="1117388"/>
          </a:xfrm>
        </p:grpSpPr>
        <p:sp>
          <p:nvSpPr>
            <p:cNvPr id="161" name="Freeform 82">
              <a:extLst>
                <a:ext uri="{FF2B5EF4-FFF2-40B4-BE49-F238E27FC236}">
                  <a16:creationId xmlns:a16="http://schemas.microsoft.com/office/drawing/2014/main" id="{966CA873-94BA-4C47-9183-97A5276AC99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7267090" y="849449"/>
              <a:ext cx="733425" cy="660188"/>
            </a:xfrm>
            <a:custGeom>
              <a:avLst/>
              <a:gdLst>
                <a:gd name="T0" fmla="*/ 232 w 462"/>
                <a:gd name="T1" fmla="*/ 0 h 227"/>
                <a:gd name="T2" fmla="*/ 230 w 462"/>
                <a:gd name="T3" fmla="*/ 0 h 227"/>
                <a:gd name="T4" fmla="*/ 0 w 462"/>
                <a:gd name="T5" fmla="*/ 61 h 227"/>
                <a:gd name="T6" fmla="*/ 0 w 462"/>
                <a:gd name="T7" fmla="*/ 83 h 227"/>
                <a:gd name="T8" fmla="*/ 0 w 462"/>
                <a:gd name="T9" fmla="*/ 159 h 227"/>
                <a:gd name="T10" fmla="*/ 0 w 462"/>
                <a:gd name="T11" fmla="*/ 210 h 227"/>
                <a:gd name="T12" fmla="*/ 230 w 462"/>
                <a:gd name="T13" fmla="*/ 227 h 227"/>
                <a:gd name="T14" fmla="*/ 462 w 462"/>
                <a:gd name="T15" fmla="*/ 227 h 227"/>
                <a:gd name="T16" fmla="*/ 462 w 462"/>
                <a:gd name="T17" fmla="*/ 204 h 227"/>
                <a:gd name="T18" fmla="*/ 462 w 462"/>
                <a:gd name="T19" fmla="*/ 128 h 227"/>
                <a:gd name="T20" fmla="*/ 462 w 462"/>
                <a:gd name="T21" fmla="*/ 64 h 227"/>
                <a:gd name="T22" fmla="*/ 232 w 462"/>
                <a:gd name="T23" fmla="*/ 0 h 227"/>
                <a:gd name="T24" fmla="*/ 17 w 462"/>
                <a:gd name="T25" fmla="*/ 204 h 227"/>
                <a:gd name="T26" fmla="*/ 55 w 462"/>
                <a:gd name="T27" fmla="*/ 152 h 227"/>
                <a:gd name="T28" fmla="*/ 55 w 462"/>
                <a:gd name="T29" fmla="*/ 121 h 227"/>
                <a:gd name="T30" fmla="*/ 17 w 462"/>
                <a:gd name="T31" fmla="*/ 80 h 227"/>
                <a:gd name="T32" fmla="*/ 55 w 462"/>
                <a:gd name="T33" fmla="*/ 121 h 227"/>
                <a:gd name="T34" fmla="*/ 78 w 462"/>
                <a:gd name="T35" fmla="*/ 201 h 227"/>
                <a:gd name="T36" fmla="*/ 119 w 462"/>
                <a:gd name="T37" fmla="*/ 144 h 227"/>
                <a:gd name="T38" fmla="*/ 119 w 462"/>
                <a:gd name="T39" fmla="*/ 113 h 227"/>
                <a:gd name="T40" fmla="*/ 78 w 462"/>
                <a:gd name="T41" fmla="*/ 66 h 227"/>
                <a:gd name="T42" fmla="*/ 119 w 462"/>
                <a:gd name="T43" fmla="*/ 113 h 227"/>
                <a:gd name="T44" fmla="*/ 145 w 462"/>
                <a:gd name="T45" fmla="*/ 198 h 227"/>
                <a:gd name="T46" fmla="*/ 204 w 462"/>
                <a:gd name="T47" fmla="*/ 135 h 227"/>
                <a:gd name="T48" fmla="*/ 204 w 462"/>
                <a:gd name="T49" fmla="*/ 100 h 227"/>
                <a:gd name="T50" fmla="*/ 145 w 462"/>
                <a:gd name="T51" fmla="*/ 52 h 227"/>
                <a:gd name="T52" fmla="*/ 204 w 462"/>
                <a:gd name="T53" fmla="*/ 100 h 227"/>
                <a:gd name="T54" fmla="*/ 258 w 462"/>
                <a:gd name="T55" fmla="*/ 196 h 227"/>
                <a:gd name="T56" fmla="*/ 317 w 462"/>
                <a:gd name="T57" fmla="*/ 142 h 227"/>
                <a:gd name="T58" fmla="*/ 317 w 462"/>
                <a:gd name="T59" fmla="*/ 107 h 227"/>
                <a:gd name="T60" fmla="*/ 258 w 462"/>
                <a:gd name="T61" fmla="*/ 40 h 227"/>
                <a:gd name="T62" fmla="*/ 317 w 462"/>
                <a:gd name="T63" fmla="*/ 107 h 227"/>
                <a:gd name="T64" fmla="*/ 343 w 462"/>
                <a:gd name="T65" fmla="*/ 199 h 227"/>
                <a:gd name="T66" fmla="*/ 385 w 462"/>
                <a:gd name="T67" fmla="*/ 149 h 227"/>
                <a:gd name="T68" fmla="*/ 385 w 462"/>
                <a:gd name="T69" fmla="*/ 118 h 227"/>
                <a:gd name="T70" fmla="*/ 343 w 462"/>
                <a:gd name="T71" fmla="*/ 57 h 227"/>
                <a:gd name="T72" fmla="*/ 385 w 462"/>
                <a:gd name="T73" fmla="*/ 118 h 227"/>
                <a:gd name="T74" fmla="*/ 409 w 462"/>
                <a:gd name="T75" fmla="*/ 203 h 227"/>
                <a:gd name="T76" fmla="*/ 447 w 462"/>
                <a:gd name="T77" fmla="*/ 158 h 227"/>
                <a:gd name="T78" fmla="*/ 447 w 462"/>
                <a:gd name="T79" fmla="*/ 126 h 227"/>
                <a:gd name="T80" fmla="*/ 409 w 462"/>
                <a:gd name="T81" fmla="*/ 71 h 227"/>
                <a:gd name="T82" fmla="*/ 447 w 462"/>
                <a:gd name="T83" fmla="*/ 126 h 2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462" h="227">
                  <a:moveTo>
                    <a:pt x="232" y="0"/>
                  </a:moveTo>
                  <a:lnTo>
                    <a:pt x="232" y="0"/>
                  </a:lnTo>
                  <a:lnTo>
                    <a:pt x="232" y="0"/>
                  </a:lnTo>
                  <a:lnTo>
                    <a:pt x="230" y="0"/>
                  </a:lnTo>
                  <a:lnTo>
                    <a:pt x="230" y="0"/>
                  </a:lnTo>
                  <a:lnTo>
                    <a:pt x="0" y="61"/>
                  </a:lnTo>
                  <a:lnTo>
                    <a:pt x="0" y="64"/>
                  </a:lnTo>
                  <a:lnTo>
                    <a:pt x="0" y="83"/>
                  </a:lnTo>
                  <a:lnTo>
                    <a:pt x="0" y="128"/>
                  </a:lnTo>
                  <a:lnTo>
                    <a:pt x="0" y="159"/>
                  </a:lnTo>
                  <a:lnTo>
                    <a:pt x="0" y="204"/>
                  </a:lnTo>
                  <a:lnTo>
                    <a:pt x="0" y="210"/>
                  </a:lnTo>
                  <a:lnTo>
                    <a:pt x="0" y="227"/>
                  </a:lnTo>
                  <a:lnTo>
                    <a:pt x="230" y="227"/>
                  </a:lnTo>
                  <a:lnTo>
                    <a:pt x="232" y="227"/>
                  </a:lnTo>
                  <a:lnTo>
                    <a:pt x="462" y="227"/>
                  </a:lnTo>
                  <a:lnTo>
                    <a:pt x="462" y="210"/>
                  </a:lnTo>
                  <a:lnTo>
                    <a:pt x="462" y="204"/>
                  </a:lnTo>
                  <a:lnTo>
                    <a:pt x="462" y="159"/>
                  </a:lnTo>
                  <a:lnTo>
                    <a:pt x="462" y="128"/>
                  </a:lnTo>
                  <a:lnTo>
                    <a:pt x="462" y="83"/>
                  </a:lnTo>
                  <a:lnTo>
                    <a:pt x="462" y="64"/>
                  </a:lnTo>
                  <a:lnTo>
                    <a:pt x="462" y="61"/>
                  </a:lnTo>
                  <a:lnTo>
                    <a:pt x="232" y="0"/>
                  </a:lnTo>
                  <a:close/>
                  <a:moveTo>
                    <a:pt x="55" y="203"/>
                  </a:moveTo>
                  <a:lnTo>
                    <a:pt x="17" y="204"/>
                  </a:lnTo>
                  <a:lnTo>
                    <a:pt x="17" y="158"/>
                  </a:lnTo>
                  <a:lnTo>
                    <a:pt x="55" y="152"/>
                  </a:lnTo>
                  <a:lnTo>
                    <a:pt x="55" y="203"/>
                  </a:lnTo>
                  <a:close/>
                  <a:moveTo>
                    <a:pt x="55" y="121"/>
                  </a:moveTo>
                  <a:lnTo>
                    <a:pt x="17" y="126"/>
                  </a:lnTo>
                  <a:lnTo>
                    <a:pt x="17" y="80"/>
                  </a:lnTo>
                  <a:lnTo>
                    <a:pt x="55" y="71"/>
                  </a:lnTo>
                  <a:lnTo>
                    <a:pt x="55" y="121"/>
                  </a:lnTo>
                  <a:close/>
                  <a:moveTo>
                    <a:pt x="119" y="199"/>
                  </a:moveTo>
                  <a:lnTo>
                    <a:pt x="78" y="201"/>
                  </a:lnTo>
                  <a:lnTo>
                    <a:pt x="78" y="149"/>
                  </a:lnTo>
                  <a:lnTo>
                    <a:pt x="119" y="144"/>
                  </a:lnTo>
                  <a:lnTo>
                    <a:pt x="119" y="199"/>
                  </a:lnTo>
                  <a:close/>
                  <a:moveTo>
                    <a:pt x="119" y="113"/>
                  </a:moveTo>
                  <a:lnTo>
                    <a:pt x="78" y="118"/>
                  </a:lnTo>
                  <a:lnTo>
                    <a:pt x="78" y="66"/>
                  </a:lnTo>
                  <a:lnTo>
                    <a:pt x="119" y="57"/>
                  </a:lnTo>
                  <a:lnTo>
                    <a:pt x="119" y="113"/>
                  </a:lnTo>
                  <a:close/>
                  <a:moveTo>
                    <a:pt x="204" y="196"/>
                  </a:moveTo>
                  <a:lnTo>
                    <a:pt x="145" y="198"/>
                  </a:lnTo>
                  <a:lnTo>
                    <a:pt x="145" y="142"/>
                  </a:lnTo>
                  <a:lnTo>
                    <a:pt x="204" y="135"/>
                  </a:lnTo>
                  <a:lnTo>
                    <a:pt x="204" y="196"/>
                  </a:lnTo>
                  <a:close/>
                  <a:moveTo>
                    <a:pt x="204" y="100"/>
                  </a:moveTo>
                  <a:lnTo>
                    <a:pt x="145" y="107"/>
                  </a:lnTo>
                  <a:lnTo>
                    <a:pt x="145" y="52"/>
                  </a:lnTo>
                  <a:lnTo>
                    <a:pt x="204" y="40"/>
                  </a:lnTo>
                  <a:lnTo>
                    <a:pt x="204" y="100"/>
                  </a:lnTo>
                  <a:close/>
                  <a:moveTo>
                    <a:pt x="317" y="198"/>
                  </a:moveTo>
                  <a:lnTo>
                    <a:pt x="258" y="196"/>
                  </a:lnTo>
                  <a:lnTo>
                    <a:pt x="258" y="135"/>
                  </a:lnTo>
                  <a:lnTo>
                    <a:pt x="317" y="142"/>
                  </a:lnTo>
                  <a:lnTo>
                    <a:pt x="317" y="198"/>
                  </a:lnTo>
                  <a:close/>
                  <a:moveTo>
                    <a:pt x="317" y="107"/>
                  </a:moveTo>
                  <a:lnTo>
                    <a:pt x="258" y="100"/>
                  </a:lnTo>
                  <a:lnTo>
                    <a:pt x="258" y="40"/>
                  </a:lnTo>
                  <a:lnTo>
                    <a:pt x="317" y="52"/>
                  </a:lnTo>
                  <a:lnTo>
                    <a:pt x="317" y="107"/>
                  </a:lnTo>
                  <a:close/>
                  <a:moveTo>
                    <a:pt x="385" y="201"/>
                  </a:moveTo>
                  <a:lnTo>
                    <a:pt x="343" y="199"/>
                  </a:lnTo>
                  <a:lnTo>
                    <a:pt x="343" y="144"/>
                  </a:lnTo>
                  <a:lnTo>
                    <a:pt x="385" y="149"/>
                  </a:lnTo>
                  <a:lnTo>
                    <a:pt x="385" y="201"/>
                  </a:lnTo>
                  <a:close/>
                  <a:moveTo>
                    <a:pt x="385" y="118"/>
                  </a:moveTo>
                  <a:lnTo>
                    <a:pt x="343" y="113"/>
                  </a:lnTo>
                  <a:lnTo>
                    <a:pt x="343" y="57"/>
                  </a:lnTo>
                  <a:lnTo>
                    <a:pt x="385" y="66"/>
                  </a:lnTo>
                  <a:lnTo>
                    <a:pt x="385" y="118"/>
                  </a:lnTo>
                  <a:close/>
                  <a:moveTo>
                    <a:pt x="447" y="204"/>
                  </a:moveTo>
                  <a:lnTo>
                    <a:pt x="409" y="203"/>
                  </a:lnTo>
                  <a:lnTo>
                    <a:pt x="409" y="152"/>
                  </a:lnTo>
                  <a:lnTo>
                    <a:pt x="447" y="158"/>
                  </a:lnTo>
                  <a:lnTo>
                    <a:pt x="447" y="204"/>
                  </a:lnTo>
                  <a:close/>
                  <a:moveTo>
                    <a:pt x="447" y="126"/>
                  </a:moveTo>
                  <a:lnTo>
                    <a:pt x="409" y="121"/>
                  </a:lnTo>
                  <a:lnTo>
                    <a:pt x="409" y="71"/>
                  </a:lnTo>
                  <a:lnTo>
                    <a:pt x="447" y="80"/>
                  </a:lnTo>
                  <a:lnTo>
                    <a:pt x="447" y="126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2" name="Freeform: Shape 161">
              <a:extLst>
                <a:ext uri="{FF2B5EF4-FFF2-40B4-BE49-F238E27FC236}">
                  <a16:creationId xmlns:a16="http://schemas.microsoft.com/office/drawing/2014/main" id="{138DF561-E58A-40A9-86CC-7DECE6D790C5}"/>
                </a:ext>
              </a:extLst>
            </p:cNvPr>
            <p:cNvSpPr/>
            <p:nvPr/>
          </p:nvSpPr>
          <p:spPr>
            <a:xfrm>
              <a:off x="7014031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3" name="TextBox 162">
              <a:extLst>
                <a:ext uri="{FF2B5EF4-FFF2-40B4-BE49-F238E27FC236}">
                  <a16:creationId xmlns:a16="http://schemas.microsoft.com/office/drawing/2014/main" id="{9503A564-3BF9-452B-8CC6-DFFC1DA551BF}"/>
                </a:ext>
              </a:extLst>
            </p:cNvPr>
            <p:cNvSpPr txBox="1"/>
            <p:nvPr/>
          </p:nvSpPr>
          <p:spPr>
            <a:xfrm>
              <a:off x="7068211" y="1443617"/>
              <a:ext cx="113118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16%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9512568" y="1305896"/>
            <a:ext cx="1270593" cy="1147503"/>
            <a:chOff x="9597053" y="819334"/>
            <a:chExt cx="1270593" cy="1147503"/>
          </a:xfrm>
        </p:grpSpPr>
        <p:sp>
          <p:nvSpPr>
            <p:cNvPr id="146" name="Freeform 77">
              <a:extLst>
                <a:ext uri="{FF2B5EF4-FFF2-40B4-BE49-F238E27FC236}">
                  <a16:creationId xmlns:a16="http://schemas.microsoft.com/office/drawing/2014/main" id="{64438CEC-9B46-490E-B18C-E644D07386F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9837062" y="1108175"/>
              <a:ext cx="790575" cy="409575"/>
            </a:xfrm>
            <a:custGeom>
              <a:avLst/>
              <a:gdLst>
                <a:gd name="T0" fmla="*/ 287 w 287"/>
                <a:gd name="T1" fmla="*/ 149 h 149"/>
                <a:gd name="T2" fmla="*/ 287 w 287"/>
                <a:gd name="T3" fmla="*/ 144 h 149"/>
                <a:gd name="T4" fmla="*/ 143 w 287"/>
                <a:gd name="T5" fmla="*/ 0 h 149"/>
                <a:gd name="T6" fmla="*/ 0 w 287"/>
                <a:gd name="T7" fmla="*/ 144 h 149"/>
                <a:gd name="T8" fmla="*/ 0 w 287"/>
                <a:gd name="T9" fmla="*/ 149 h 149"/>
                <a:gd name="T10" fmla="*/ 287 w 287"/>
                <a:gd name="T11" fmla="*/ 149 h 149"/>
                <a:gd name="T12" fmla="*/ 182 w 287"/>
                <a:gd name="T13" fmla="*/ 75 h 149"/>
                <a:gd name="T14" fmla="*/ 222 w 287"/>
                <a:gd name="T15" fmla="*/ 75 h 149"/>
                <a:gd name="T16" fmla="*/ 235 w 287"/>
                <a:gd name="T17" fmla="*/ 142 h 149"/>
                <a:gd name="T18" fmla="*/ 187 w 287"/>
                <a:gd name="T19" fmla="*/ 142 h 149"/>
                <a:gd name="T20" fmla="*/ 182 w 287"/>
                <a:gd name="T21" fmla="*/ 75 h 149"/>
                <a:gd name="T22" fmla="*/ 108 w 287"/>
                <a:gd name="T23" fmla="*/ 142 h 149"/>
                <a:gd name="T24" fmla="*/ 113 w 287"/>
                <a:gd name="T25" fmla="*/ 75 h 149"/>
                <a:gd name="T26" fmla="*/ 173 w 287"/>
                <a:gd name="T27" fmla="*/ 75 h 149"/>
                <a:gd name="T28" fmla="*/ 178 w 287"/>
                <a:gd name="T29" fmla="*/ 142 h 149"/>
                <a:gd name="T30" fmla="*/ 108 w 287"/>
                <a:gd name="T31" fmla="*/ 142 h 149"/>
                <a:gd name="T32" fmla="*/ 50 w 287"/>
                <a:gd name="T33" fmla="*/ 142 h 149"/>
                <a:gd name="T34" fmla="*/ 63 w 287"/>
                <a:gd name="T35" fmla="*/ 75 h 149"/>
                <a:gd name="T36" fmla="*/ 104 w 287"/>
                <a:gd name="T37" fmla="*/ 75 h 149"/>
                <a:gd name="T38" fmla="*/ 99 w 287"/>
                <a:gd name="T39" fmla="*/ 142 h 149"/>
                <a:gd name="T40" fmla="*/ 50 w 287"/>
                <a:gd name="T41" fmla="*/ 142 h 149"/>
                <a:gd name="T42" fmla="*/ 27 w 287"/>
                <a:gd name="T43" fmla="*/ 75 h 149"/>
                <a:gd name="T44" fmla="*/ 54 w 287"/>
                <a:gd name="T45" fmla="*/ 75 h 149"/>
                <a:gd name="T46" fmla="*/ 42 w 287"/>
                <a:gd name="T47" fmla="*/ 142 h 149"/>
                <a:gd name="T48" fmla="*/ 8 w 287"/>
                <a:gd name="T49" fmla="*/ 142 h 149"/>
                <a:gd name="T50" fmla="*/ 27 w 287"/>
                <a:gd name="T51" fmla="*/ 75 h 149"/>
                <a:gd name="T52" fmla="*/ 93 w 287"/>
                <a:gd name="T53" fmla="*/ 19 h 149"/>
                <a:gd name="T54" fmla="*/ 57 w 287"/>
                <a:gd name="T55" fmla="*/ 66 h 149"/>
                <a:gd name="T56" fmla="*/ 33 w 287"/>
                <a:gd name="T57" fmla="*/ 66 h 149"/>
                <a:gd name="T58" fmla="*/ 93 w 287"/>
                <a:gd name="T59" fmla="*/ 19 h 149"/>
                <a:gd name="T60" fmla="*/ 125 w 287"/>
                <a:gd name="T61" fmla="*/ 11 h 149"/>
                <a:gd name="T62" fmla="*/ 105 w 287"/>
                <a:gd name="T63" fmla="*/ 66 h 149"/>
                <a:gd name="T64" fmla="*/ 67 w 287"/>
                <a:gd name="T65" fmla="*/ 66 h 149"/>
                <a:gd name="T66" fmla="*/ 125 w 287"/>
                <a:gd name="T67" fmla="*/ 11 h 149"/>
                <a:gd name="T68" fmla="*/ 172 w 287"/>
                <a:gd name="T69" fmla="*/ 66 h 149"/>
                <a:gd name="T70" fmla="*/ 114 w 287"/>
                <a:gd name="T71" fmla="*/ 66 h 149"/>
                <a:gd name="T72" fmla="*/ 138 w 287"/>
                <a:gd name="T73" fmla="*/ 9 h 149"/>
                <a:gd name="T74" fmla="*/ 138 w 287"/>
                <a:gd name="T75" fmla="*/ 9 h 149"/>
                <a:gd name="T76" fmla="*/ 143 w 287"/>
                <a:gd name="T77" fmla="*/ 9 h 149"/>
                <a:gd name="T78" fmla="*/ 148 w 287"/>
                <a:gd name="T79" fmla="*/ 9 h 149"/>
                <a:gd name="T80" fmla="*/ 148 w 287"/>
                <a:gd name="T81" fmla="*/ 9 h 149"/>
                <a:gd name="T82" fmla="*/ 148 w 287"/>
                <a:gd name="T83" fmla="*/ 9 h 149"/>
                <a:gd name="T84" fmla="*/ 172 w 287"/>
                <a:gd name="T85" fmla="*/ 66 h 149"/>
                <a:gd name="T86" fmla="*/ 161 w 287"/>
                <a:gd name="T87" fmla="*/ 11 h 149"/>
                <a:gd name="T88" fmla="*/ 218 w 287"/>
                <a:gd name="T89" fmla="*/ 66 h 149"/>
                <a:gd name="T90" fmla="*/ 181 w 287"/>
                <a:gd name="T91" fmla="*/ 66 h 149"/>
                <a:gd name="T92" fmla="*/ 161 w 287"/>
                <a:gd name="T93" fmla="*/ 11 h 149"/>
                <a:gd name="T94" fmla="*/ 254 w 287"/>
                <a:gd name="T95" fmla="*/ 66 h 149"/>
                <a:gd name="T96" fmla="*/ 228 w 287"/>
                <a:gd name="T97" fmla="*/ 66 h 149"/>
                <a:gd name="T98" fmla="*/ 191 w 287"/>
                <a:gd name="T99" fmla="*/ 17 h 149"/>
                <a:gd name="T100" fmla="*/ 254 w 287"/>
                <a:gd name="T101" fmla="*/ 66 h 149"/>
                <a:gd name="T102" fmla="*/ 260 w 287"/>
                <a:gd name="T103" fmla="*/ 75 h 149"/>
                <a:gd name="T104" fmla="*/ 278 w 287"/>
                <a:gd name="T105" fmla="*/ 142 h 149"/>
                <a:gd name="T106" fmla="*/ 243 w 287"/>
                <a:gd name="T107" fmla="*/ 142 h 149"/>
                <a:gd name="T108" fmla="*/ 231 w 287"/>
                <a:gd name="T109" fmla="*/ 75 h 149"/>
                <a:gd name="T110" fmla="*/ 260 w 287"/>
                <a:gd name="T111" fmla="*/ 75 h 1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87" h="149">
                  <a:moveTo>
                    <a:pt x="287" y="149"/>
                  </a:moveTo>
                  <a:cubicBezTo>
                    <a:pt x="287" y="147"/>
                    <a:pt x="287" y="146"/>
                    <a:pt x="287" y="144"/>
                  </a:cubicBezTo>
                  <a:cubicBezTo>
                    <a:pt x="287" y="64"/>
                    <a:pt x="223" y="0"/>
                    <a:pt x="143" y="0"/>
                  </a:cubicBezTo>
                  <a:cubicBezTo>
                    <a:pt x="64" y="0"/>
                    <a:pt x="0" y="64"/>
                    <a:pt x="0" y="144"/>
                  </a:cubicBezTo>
                  <a:cubicBezTo>
                    <a:pt x="0" y="146"/>
                    <a:pt x="0" y="147"/>
                    <a:pt x="0" y="149"/>
                  </a:cubicBezTo>
                  <a:lnTo>
                    <a:pt x="287" y="149"/>
                  </a:lnTo>
                  <a:close/>
                  <a:moveTo>
                    <a:pt x="182" y="75"/>
                  </a:moveTo>
                  <a:cubicBezTo>
                    <a:pt x="222" y="75"/>
                    <a:pt x="222" y="75"/>
                    <a:pt x="222" y="75"/>
                  </a:cubicBezTo>
                  <a:cubicBezTo>
                    <a:pt x="230" y="95"/>
                    <a:pt x="234" y="117"/>
                    <a:pt x="235" y="142"/>
                  </a:cubicBezTo>
                  <a:cubicBezTo>
                    <a:pt x="187" y="142"/>
                    <a:pt x="187" y="142"/>
                    <a:pt x="187" y="142"/>
                  </a:cubicBezTo>
                  <a:cubicBezTo>
                    <a:pt x="187" y="119"/>
                    <a:pt x="185" y="96"/>
                    <a:pt x="182" y="75"/>
                  </a:cubicBezTo>
                  <a:close/>
                  <a:moveTo>
                    <a:pt x="108" y="142"/>
                  </a:moveTo>
                  <a:cubicBezTo>
                    <a:pt x="108" y="117"/>
                    <a:pt x="109" y="94"/>
                    <a:pt x="113" y="75"/>
                  </a:cubicBezTo>
                  <a:cubicBezTo>
                    <a:pt x="173" y="75"/>
                    <a:pt x="173" y="75"/>
                    <a:pt x="173" y="75"/>
                  </a:cubicBezTo>
                  <a:cubicBezTo>
                    <a:pt x="176" y="94"/>
                    <a:pt x="178" y="117"/>
                    <a:pt x="178" y="142"/>
                  </a:cubicBezTo>
                  <a:lnTo>
                    <a:pt x="108" y="142"/>
                  </a:lnTo>
                  <a:close/>
                  <a:moveTo>
                    <a:pt x="50" y="142"/>
                  </a:moveTo>
                  <a:cubicBezTo>
                    <a:pt x="51" y="117"/>
                    <a:pt x="55" y="95"/>
                    <a:pt x="63" y="75"/>
                  </a:cubicBezTo>
                  <a:cubicBezTo>
                    <a:pt x="104" y="75"/>
                    <a:pt x="104" y="75"/>
                    <a:pt x="104" y="75"/>
                  </a:cubicBezTo>
                  <a:cubicBezTo>
                    <a:pt x="101" y="96"/>
                    <a:pt x="99" y="119"/>
                    <a:pt x="99" y="142"/>
                  </a:cubicBezTo>
                  <a:lnTo>
                    <a:pt x="50" y="142"/>
                  </a:lnTo>
                  <a:close/>
                  <a:moveTo>
                    <a:pt x="27" y="75"/>
                  </a:moveTo>
                  <a:cubicBezTo>
                    <a:pt x="54" y="75"/>
                    <a:pt x="54" y="75"/>
                    <a:pt x="54" y="75"/>
                  </a:cubicBezTo>
                  <a:cubicBezTo>
                    <a:pt x="46" y="95"/>
                    <a:pt x="42" y="118"/>
                    <a:pt x="42" y="142"/>
                  </a:cubicBezTo>
                  <a:cubicBezTo>
                    <a:pt x="8" y="142"/>
                    <a:pt x="8" y="142"/>
                    <a:pt x="8" y="142"/>
                  </a:cubicBezTo>
                  <a:cubicBezTo>
                    <a:pt x="9" y="117"/>
                    <a:pt x="15" y="95"/>
                    <a:pt x="27" y="75"/>
                  </a:cubicBezTo>
                  <a:close/>
                  <a:moveTo>
                    <a:pt x="93" y="19"/>
                  </a:moveTo>
                  <a:cubicBezTo>
                    <a:pt x="78" y="30"/>
                    <a:pt x="66" y="47"/>
                    <a:pt x="57" y="66"/>
                  </a:cubicBezTo>
                  <a:cubicBezTo>
                    <a:pt x="33" y="66"/>
                    <a:pt x="33" y="66"/>
                    <a:pt x="33" y="66"/>
                  </a:cubicBezTo>
                  <a:cubicBezTo>
                    <a:pt x="48" y="45"/>
                    <a:pt x="68" y="28"/>
                    <a:pt x="93" y="19"/>
                  </a:cubicBezTo>
                  <a:close/>
                  <a:moveTo>
                    <a:pt x="125" y="11"/>
                  </a:moveTo>
                  <a:cubicBezTo>
                    <a:pt x="116" y="23"/>
                    <a:pt x="110" y="43"/>
                    <a:pt x="105" y="66"/>
                  </a:cubicBezTo>
                  <a:cubicBezTo>
                    <a:pt x="67" y="66"/>
                    <a:pt x="67" y="66"/>
                    <a:pt x="67" y="66"/>
                  </a:cubicBezTo>
                  <a:cubicBezTo>
                    <a:pt x="80" y="38"/>
                    <a:pt x="101" y="18"/>
                    <a:pt x="125" y="11"/>
                  </a:cubicBezTo>
                  <a:close/>
                  <a:moveTo>
                    <a:pt x="172" y="66"/>
                  </a:moveTo>
                  <a:cubicBezTo>
                    <a:pt x="114" y="66"/>
                    <a:pt x="114" y="66"/>
                    <a:pt x="114" y="66"/>
                  </a:cubicBezTo>
                  <a:cubicBezTo>
                    <a:pt x="120" y="35"/>
                    <a:pt x="129" y="14"/>
                    <a:pt x="138" y="9"/>
                  </a:cubicBezTo>
                  <a:cubicBezTo>
                    <a:pt x="138" y="9"/>
                    <a:pt x="138" y="9"/>
                    <a:pt x="138" y="9"/>
                  </a:cubicBezTo>
                  <a:cubicBezTo>
                    <a:pt x="140" y="9"/>
                    <a:pt x="141" y="9"/>
                    <a:pt x="143" y="9"/>
                  </a:cubicBezTo>
                  <a:cubicBezTo>
                    <a:pt x="145" y="9"/>
                    <a:pt x="146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48" y="9"/>
                    <a:pt x="148" y="9"/>
                    <a:pt x="148" y="9"/>
                  </a:cubicBezTo>
                  <a:cubicBezTo>
                    <a:pt x="157" y="14"/>
                    <a:pt x="166" y="35"/>
                    <a:pt x="172" y="66"/>
                  </a:cubicBezTo>
                  <a:close/>
                  <a:moveTo>
                    <a:pt x="161" y="11"/>
                  </a:moveTo>
                  <a:cubicBezTo>
                    <a:pt x="185" y="18"/>
                    <a:pt x="205" y="39"/>
                    <a:pt x="218" y="66"/>
                  </a:cubicBezTo>
                  <a:cubicBezTo>
                    <a:pt x="181" y="66"/>
                    <a:pt x="181" y="66"/>
                    <a:pt x="181" y="66"/>
                  </a:cubicBezTo>
                  <a:cubicBezTo>
                    <a:pt x="176" y="43"/>
                    <a:pt x="170" y="23"/>
                    <a:pt x="161" y="11"/>
                  </a:cubicBezTo>
                  <a:close/>
                  <a:moveTo>
                    <a:pt x="254" y="66"/>
                  </a:moveTo>
                  <a:cubicBezTo>
                    <a:pt x="228" y="66"/>
                    <a:pt x="228" y="66"/>
                    <a:pt x="228" y="66"/>
                  </a:cubicBezTo>
                  <a:cubicBezTo>
                    <a:pt x="218" y="46"/>
                    <a:pt x="206" y="29"/>
                    <a:pt x="191" y="17"/>
                  </a:cubicBezTo>
                  <a:cubicBezTo>
                    <a:pt x="216" y="27"/>
                    <a:pt x="238" y="44"/>
                    <a:pt x="254" y="66"/>
                  </a:cubicBezTo>
                  <a:close/>
                  <a:moveTo>
                    <a:pt x="260" y="75"/>
                  </a:moveTo>
                  <a:cubicBezTo>
                    <a:pt x="271" y="95"/>
                    <a:pt x="278" y="117"/>
                    <a:pt x="278" y="142"/>
                  </a:cubicBezTo>
                  <a:cubicBezTo>
                    <a:pt x="243" y="142"/>
                    <a:pt x="243" y="142"/>
                    <a:pt x="243" y="142"/>
                  </a:cubicBezTo>
                  <a:cubicBezTo>
                    <a:pt x="243" y="118"/>
                    <a:pt x="239" y="95"/>
                    <a:pt x="231" y="75"/>
                  </a:cubicBezTo>
                  <a:lnTo>
                    <a:pt x="260" y="75"/>
                  </a:lnTo>
                  <a:close/>
                </a:path>
              </a:pathLst>
            </a:cu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pic>
          <p:nvPicPr>
            <p:cNvPr id="147" name="Graphic 146">
              <a:extLst>
                <a:ext uri="{FF2B5EF4-FFF2-40B4-BE49-F238E27FC236}">
                  <a16:creationId xmlns:a16="http://schemas.microsoft.com/office/drawing/2014/main" id="{EADFF006-DF5B-48C1-8D0D-7B307020594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9962247" y="819334"/>
              <a:ext cx="540205" cy="540205"/>
            </a:xfrm>
            <a:prstGeom prst="rect">
              <a:avLst/>
            </a:prstGeom>
            <a:effectLst>
              <a:outerShdw blurRad="76200" dir="18900000" sy="23000" kx="-1200000" algn="bl" rotWithShape="0">
                <a:prstClr val="black">
                  <a:alpha val="20000"/>
                </a:prstClr>
              </a:outerShdw>
            </a:effectLst>
          </p:spPr>
        </p:pic>
        <p:sp>
          <p:nvSpPr>
            <p:cNvPr id="154" name="Freeform: Shape 153">
              <a:extLst>
                <a:ext uri="{FF2B5EF4-FFF2-40B4-BE49-F238E27FC236}">
                  <a16:creationId xmlns:a16="http://schemas.microsoft.com/office/drawing/2014/main" id="{37C6DD32-5ABE-4D38-919B-28E62F084D07}"/>
                </a:ext>
              </a:extLst>
            </p:cNvPr>
            <p:cNvSpPr/>
            <p:nvPr/>
          </p:nvSpPr>
          <p:spPr>
            <a:xfrm>
              <a:off x="9612578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4" name="TextBox 163">
              <a:extLst>
                <a:ext uri="{FF2B5EF4-FFF2-40B4-BE49-F238E27FC236}">
                  <a16:creationId xmlns:a16="http://schemas.microsoft.com/office/drawing/2014/main" id="{9006C19C-E2F3-4F1C-AACF-A637E29C693D}"/>
                </a:ext>
              </a:extLst>
            </p:cNvPr>
            <p:cNvSpPr txBox="1"/>
            <p:nvPr/>
          </p:nvSpPr>
          <p:spPr>
            <a:xfrm>
              <a:off x="9597053" y="1443617"/>
              <a:ext cx="1270593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$56b</a:t>
              </a:r>
              <a:endParaRPr kumimoji="0" lang="en-US" sz="2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grpSp>
        <p:nvGrpSpPr>
          <p:cNvPr id="4" name="Group 3"/>
          <p:cNvGrpSpPr/>
          <p:nvPr/>
        </p:nvGrpSpPr>
        <p:grpSpPr>
          <a:xfrm>
            <a:off x="4186664" y="1846755"/>
            <a:ext cx="1415854" cy="606644"/>
            <a:chOff x="4319528" y="1360193"/>
            <a:chExt cx="1415854" cy="606644"/>
          </a:xfrm>
        </p:grpSpPr>
        <p:sp>
          <p:nvSpPr>
            <p:cNvPr id="160" name="Freeform: Shape 159">
              <a:extLst>
                <a:ext uri="{FF2B5EF4-FFF2-40B4-BE49-F238E27FC236}">
                  <a16:creationId xmlns:a16="http://schemas.microsoft.com/office/drawing/2014/main" id="{A974497B-9144-409C-808F-DC6D06FBCD33}"/>
                </a:ext>
              </a:extLst>
            </p:cNvPr>
            <p:cNvSpPr/>
            <p:nvPr/>
          </p:nvSpPr>
          <p:spPr>
            <a:xfrm>
              <a:off x="4407684" y="1360193"/>
              <a:ext cx="1239542" cy="306770"/>
            </a:xfrm>
            <a:custGeom>
              <a:avLst/>
              <a:gdLst>
                <a:gd name="connsiteX0" fmla="*/ 443243 w 886486"/>
                <a:gd name="connsiteY0" fmla="*/ 0 h 219394"/>
                <a:gd name="connsiteX1" fmla="*/ 841617 w 886486"/>
                <a:gd name="connsiteY1" fmla="*/ 165012 h 219394"/>
                <a:gd name="connsiteX2" fmla="*/ 886486 w 886486"/>
                <a:gd name="connsiteY2" fmla="*/ 219394 h 219394"/>
                <a:gd name="connsiteX3" fmla="*/ 0 w 886486"/>
                <a:gd name="connsiteY3" fmla="*/ 219394 h 219394"/>
                <a:gd name="connsiteX4" fmla="*/ 44869 w 886486"/>
                <a:gd name="connsiteY4" fmla="*/ 165012 h 219394"/>
                <a:gd name="connsiteX5" fmla="*/ 443243 w 886486"/>
                <a:gd name="connsiteY5" fmla="*/ 0 h 2193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886486" h="219394">
                  <a:moveTo>
                    <a:pt x="443243" y="0"/>
                  </a:moveTo>
                  <a:cubicBezTo>
                    <a:pt x="598818" y="0"/>
                    <a:pt x="739664" y="63059"/>
                    <a:pt x="841617" y="165012"/>
                  </a:cubicBezTo>
                  <a:lnTo>
                    <a:pt x="886486" y="219394"/>
                  </a:lnTo>
                  <a:lnTo>
                    <a:pt x="0" y="219394"/>
                  </a:lnTo>
                  <a:lnTo>
                    <a:pt x="44869" y="165012"/>
                  </a:lnTo>
                  <a:cubicBezTo>
                    <a:pt x="146822" y="63059"/>
                    <a:pt x="287669" y="0"/>
                    <a:pt x="443243" y="0"/>
                  </a:cubicBezTo>
                  <a:close/>
                </a:path>
              </a:pathLst>
            </a:custGeom>
            <a:solidFill>
              <a:srgbClr val="ED1267"/>
            </a:solidFill>
            <a:ln>
              <a:noFill/>
            </a:ln>
            <a:effectLst>
              <a:outerShdw blurRad="50800" dist="38100" dir="16200000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IN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+mn-cs"/>
              </a:endParaRPr>
            </a:p>
          </p:txBody>
        </p:sp>
        <p:sp>
          <p:nvSpPr>
            <p:cNvPr id="165" name="TextBox 164">
              <a:extLst>
                <a:ext uri="{FF2B5EF4-FFF2-40B4-BE49-F238E27FC236}">
                  <a16:creationId xmlns:a16="http://schemas.microsoft.com/office/drawing/2014/main" id="{CFD83849-E3B5-4DC3-BC69-6541C2BA83D1}"/>
                </a:ext>
              </a:extLst>
            </p:cNvPr>
            <p:cNvSpPr txBox="1"/>
            <p:nvPr/>
          </p:nvSpPr>
          <p:spPr>
            <a:xfrm>
              <a:off x="4319528" y="1443617"/>
              <a:ext cx="1415854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28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Lato"/>
                  <a:ea typeface="+mn-ea"/>
                  <a:cs typeface="Calibri" panose="020F0502020204030204" pitchFamily="34" charset="0"/>
                </a:rPr>
                <a:t>60%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endParaRPr>
            </a:p>
          </p:txBody>
        </p:sp>
      </p:grpSp>
      <p:sp>
        <p:nvSpPr>
          <p:cNvPr id="86" name="Oval 85">
            <a:extLst>
              <a:ext uri="{FF2B5EF4-FFF2-40B4-BE49-F238E27FC236}">
                <a16:creationId xmlns:a16="http://schemas.microsoft.com/office/drawing/2014/main" id="{793046FD-AD4A-45F0-A396-EFE320AF01C8}"/>
              </a:ext>
            </a:extLst>
          </p:cNvPr>
          <p:cNvSpPr/>
          <p:nvPr/>
        </p:nvSpPr>
        <p:spPr>
          <a:xfrm>
            <a:off x="6390041" y="3856713"/>
            <a:ext cx="2260519" cy="2260515"/>
          </a:xfrm>
          <a:prstGeom prst="ellipse">
            <a:avLst/>
          </a:prstGeom>
          <a:solidFill>
            <a:schemeClr val="bg1">
              <a:lumMod val="65000"/>
            </a:schemeClr>
          </a:solidFill>
          <a:ln w="3175">
            <a:solidFill>
              <a:schemeClr val="bg1"/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88" name="TextBox 87">
            <a:extLst>
              <a:ext uri="{FF2B5EF4-FFF2-40B4-BE49-F238E27FC236}">
                <a16:creationId xmlns:a16="http://schemas.microsoft.com/office/drawing/2014/main" id="{107F7E0F-E49B-4C98-85B8-2FB77432C60D}"/>
              </a:ext>
            </a:extLst>
          </p:cNvPr>
          <p:cNvSpPr txBox="1"/>
          <p:nvPr/>
        </p:nvSpPr>
        <p:spPr>
          <a:xfrm>
            <a:off x="6538725" y="4073923"/>
            <a:ext cx="1988941" cy="1754326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Leverage existing African resources and work with African governments and institutions, to ensure Africa’s ownership of its own development agenda to foster sustainable change</a:t>
            </a:r>
            <a:endParaRPr kumimoji="0" lang="en-US" sz="1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Lato"/>
              <a:ea typeface="+mn-ea"/>
              <a:cs typeface="Calibri" panose="020F0502020204030204" pitchFamily="34" charset="0"/>
            </a:endParaRPr>
          </a:p>
        </p:txBody>
      </p:sp>
      <p:sp>
        <p:nvSpPr>
          <p:cNvPr id="90" name="Rectangle 23">
            <a:extLst>
              <a:ext uri="{FF2B5EF4-FFF2-40B4-BE49-F238E27FC236}">
                <a16:creationId xmlns:a16="http://schemas.microsoft.com/office/drawing/2014/main" id="{27F2A09A-C041-4696-8A3F-0A83A32FF991}"/>
              </a:ext>
            </a:extLst>
          </p:cNvPr>
          <p:cNvSpPr>
            <a:spLocks noChangeArrowheads="1"/>
          </p:cNvSpPr>
          <p:nvPr/>
        </p:nvSpPr>
        <p:spPr bwMode="gray">
          <a:xfrm>
            <a:off x="6668993" y="3555727"/>
            <a:ext cx="1649089" cy="374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MISSION</a:t>
            </a:r>
          </a:p>
        </p:txBody>
      </p:sp>
      <p:sp>
        <p:nvSpPr>
          <p:cNvPr id="91" name="Shape 121"/>
          <p:cNvSpPr txBox="1">
            <a:spLocks/>
          </p:cNvSpPr>
          <p:nvPr/>
        </p:nvSpPr>
        <p:spPr>
          <a:xfrm>
            <a:off x="658812" y="110886"/>
            <a:ext cx="11533188" cy="297874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defRPr sz="2400" b="0" i="0" u="none" strike="noStrike" cap="none">
                <a:solidFill>
                  <a:srgbClr val="ED1267"/>
                </a:solidFill>
                <a:latin typeface="Merriweather"/>
                <a:ea typeface="Merriweather"/>
                <a:cs typeface="Merriweather"/>
                <a:sym typeface="Merriweather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r>
              <a:rPr kumimoji="0" lang="en-GB" sz="2100" b="0" i="0" u="none" strike="noStrike" kern="1200" cap="none" spc="0" normalizeH="0" baseline="0" noProof="0" dirty="0">
                <a:ln>
                  <a:noFill/>
                </a:ln>
                <a:solidFill>
                  <a:srgbClr val="DA3568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Priority investment area: </a:t>
            </a:r>
            <a:r>
              <a:rPr kumimoji="0" lang="en-GB" sz="2100" b="1" i="0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‘</a:t>
            </a:r>
            <a:r>
              <a:rPr kumimoji="0" lang="en-GB" sz="2100" b="1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For Africa By Africa’ - </a:t>
            </a:r>
            <a:r>
              <a:rPr kumimoji="0" lang="en-GB" sz="2100" b="0" i="1" u="none" strike="noStrike" kern="1200" cap="none" spc="0" normalizeH="0" baseline="0" noProof="0" dirty="0">
                <a:ln>
                  <a:noFill/>
                </a:ln>
                <a:solidFill>
                  <a:srgbClr val="595959"/>
                </a:solidFill>
                <a:effectLst/>
                <a:uLnTx/>
                <a:uFillTx/>
                <a:latin typeface="Lato"/>
                <a:cs typeface="Calibri" panose="020F0502020204030204" pitchFamily="34" charset="0"/>
                <a:sym typeface="Calibri" panose="020F0502020204030204" pitchFamily="34" charset="0"/>
              </a:rPr>
              <a:t>harnessing the power of African giving and African-led institutions in championing the African development agenda</a:t>
            </a: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595959"/>
              </a:solidFill>
              <a:effectLst/>
              <a:uLnTx/>
              <a:uFillTx/>
              <a:latin typeface="Lato"/>
              <a:cs typeface="Calibri" panose="020F0502020204030204" pitchFamily="34" charset="0"/>
              <a:sym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300"/>
              <a:buFont typeface="Arial"/>
              <a:buNone/>
              <a:tabLst/>
              <a:defRPr/>
            </a:pPr>
            <a:endParaRPr kumimoji="0" lang="en-US" sz="2100" b="0" i="0" u="none" strike="noStrike" kern="0" cap="none" spc="0" normalizeH="0" baseline="0" noProof="0" dirty="0">
              <a:ln>
                <a:noFill/>
              </a:ln>
              <a:solidFill>
                <a:srgbClr val="DA3568"/>
              </a:solidFill>
              <a:effectLst/>
              <a:uLnTx/>
              <a:uFillTx/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A596B88C-AE17-4F29-96ED-B19B757EA0D1}"/>
              </a:ext>
            </a:extLst>
          </p:cNvPr>
          <p:cNvSpPr txBox="1"/>
          <p:nvPr/>
        </p:nvSpPr>
        <p:spPr>
          <a:xfrm>
            <a:off x="3579439" y="5114666"/>
            <a:ext cx="2447073" cy="1393304"/>
          </a:xfrm>
          <a:prstGeom prst="roundRect">
            <a:avLst>
              <a:gd name="adj" fmla="val 15569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Build the capacity of Civil Society to continue to hold governments accountable and sustain the momentum around CIFF priority areas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6CC3A7D6-881F-4841-BD16-DCEB99F2D7EA}"/>
              </a:ext>
            </a:extLst>
          </p:cNvPr>
          <p:cNvSpPr txBox="1"/>
          <p:nvPr/>
        </p:nvSpPr>
        <p:spPr>
          <a:xfrm>
            <a:off x="3561955" y="3616573"/>
            <a:ext cx="2464557" cy="1292842"/>
          </a:xfrm>
          <a:prstGeom prst="roundRect">
            <a:avLst>
              <a:gd name="adj" fmla="val 7644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Ensure sustainability by providing a transparent platform for diaspora ownership and co-investment in Africa’s development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30485034-013E-495B-9EF1-41E0DB0F4D82}"/>
              </a:ext>
            </a:extLst>
          </p:cNvPr>
          <p:cNvSpPr/>
          <p:nvPr/>
        </p:nvSpPr>
        <p:spPr>
          <a:xfrm>
            <a:off x="5980793" y="3616573"/>
            <a:ext cx="45719" cy="1292842"/>
          </a:xfrm>
          <a:prstGeom prst="rect">
            <a:avLst/>
          </a:prstGeom>
          <a:solidFill>
            <a:srgbClr val="F1458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2FB4515F-CA74-4BC8-8D1C-093C4BE8435D}"/>
              </a:ext>
            </a:extLst>
          </p:cNvPr>
          <p:cNvSpPr txBox="1"/>
          <p:nvPr/>
        </p:nvSpPr>
        <p:spPr>
          <a:xfrm>
            <a:off x="8983038" y="5437613"/>
            <a:ext cx="2480547" cy="1103696"/>
          </a:xfrm>
          <a:prstGeom prst="roundRect">
            <a:avLst>
              <a:gd name="adj" fmla="val 6143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Nurture government relationships in focus countries to secure co-funding for and alignment on strategic priorities</a:t>
            </a:r>
          </a:p>
        </p:txBody>
      </p:sp>
      <p:sp>
        <p:nvSpPr>
          <p:cNvPr id="51" name="Rectangle 50">
            <a:extLst>
              <a:ext uri="{FF2B5EF4-FFF2-40B4-BE49-F238E27FC236}">
                <a16:creationId xmlns:a16="http://schemas.microsoft.com/office/drawing/2014/main" id="{3268F01E-3318-4D81-A538-EF59DCAFBE50}"/>
              </a:ext>
            </a:extLst>
          </p:cNvPr>
          <p:cNvSpPr/>
          <p:nvPr/>
        </p:nvSpPr>
        <p:spPr>
          <a:xfrm>
            <a:off x="8983038" y="5457933"/>
            <a:ext cx="36234" cy="1104309"/>
          </a:xfrm>
          <a:prstGeom prst="rect">
            <a:avLst/>
          </a:prstGeom>
          <a:solidFill>
            <a:srgbClr val="D6105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A9D4EA6B-E35E-4D36-A68A-2B612E747372}"/>
              </a:ext>
            </a:extLst>
          </p:cNvPr>
          <p:cNvSpPr txBox="1"/>
          <p:nvPr/>
        </p:nvSpPr>
        <p:spPr>
          <a:xfrm>
            <a:off x="9014090" y="3660188"/>
            <a:ext cx="2449496" cy="1648714"/>
          </a:xfrm>
          <a:prstGeom prst="roundRect">
            <a:avLst>
              <a:gd name="adj" fmla="val 8571"/>
            </a:avLst>
          </a:prstGeom>
          <a:solidFill>
            <a:srgbClr val="F2F2F2"/>
          </a:solidFill>
        </p:spPr>
        <p:txBody>
          <a:bodyPr wrap="square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35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Lato"/>
                <a:ea typeface="+mn-ea"/>
                <a:cs typeface="Calibri" panose="020F0502020204030204" pitchFamily="34" charset="0"/>
              </a:rPr>
              <a:t>Work in partnership with African institutions to influence political economy around CIFF priorities, to maximize impact and sustainability of investments (AU, ECOWAS, COMESA)</a:t>
            </a:r>
          </a:p>
        </p:txBody>
      </p:sp>
      <p:sp>
        <p:nvSpPr>
          <p:cNvPr id="53" name="Rectangle 52">
            <a:extLst>
              <a:ext uri="{FF2B5EF4-FFF2-40B4-BE49-F238E27FC236}">
                <a16:creationId xmlns:a16="http://schemas.microsoft.com/office/drawing/2014/main" id="{CA99D29E-0DC1-4F66-9420-035E8C67BA46}"/>
              </a:ext>
            </a:extLst>
          </p:cNvPr>
          <p:cNvSpPr/>
          <p:nvPr/>
        </p:nvSpPr>
        <p:spPr>
          <a:xfrm flipH="1">
            <a:off x="5980791" y="5201174"/>
            <a:ext cx="45719" cy="1245836"/>
          </a:xfrm>
          <a:prstGeom prst="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  <p:sp>
        <p:nvSpPr>
          <p:cNvPr id="54" name="Rectangle 53">
            <a:extLst>
              <a:ext uri="{FF2B5EF4-FFF2-40B4-BE49-F238E27FC236}">
                <a16:creationId xmlns:a16="http://schemas.microsoft.com/office/drawing/2014/main" id="{1006DD9E-B3C3-4970-BB5F-3C2BCCFBAEAB}"/>
              </a:ext>
            </a:extLst>
          </p:cNvPr>
          <p:cNvSpPr/>
          <p:nvPr/>
        </p:nvSpPr>
        <p:spPr>
          <a:xfrm>
            <a:off x="8993506" y="3660188"/>
            <a:ext cx="45719" cy="1658875"/>
          </a:xfrm>
          <a:prstGeom prst="rect">
            <a:avLst/>
          </a:prstGeom>
          <a:solidFill>
            <a:srgbClr val="ED126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La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97807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28D50046-CE31-4204-B829-E2F77ACCC722}"/>
              </a:ext>
            </a:extLst>
          </p:cNvPr>
          <p:cNvSpPr txBox="1"/>
          <p:nvPr/>
        </p:nvSpPr>
        <p:spPr>
          <a:xfrm>
            <a:off x="757490" y="396253"/>
            <a:ext cx="9385894" cy="545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2500" b="1" dirty="0">
                <a:solidFill>
                  <a:srgbClr val="ED12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genous Social Investment in Africa- Key Facts &amp; Figures</a:t>
            </a:r>
            <a:endParaRPr lang="en-GB" sz="2500" dirty="0">
              <a:solidFill>
                <a:srgbClr val="ED1267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5" name="Straight Connector 54">
            <a:extLst>
              <a:ext uri="{FF2B5EF4-FFF2-40B4-BE49-F238E27FC236}">
                <a16:creationId xmlns:a16="http://schemas.microsoft.com/office/drawing/2014/main" id="{80ED91BF-0BE5-4299-B1C4-E6D0583958F6}"/>
              </a:ext>
            </a:extLst>
          </p:cNvPr>
          <p:cNvCxnSpPr>
            <a:cxnSpLocks/>
          </p:cNvCxnSpPr>
          <p:nvPr/>
        </p:nvCxnSpPr>
        <p:spPr>
          <a:xfrm>
            <a:off x="695325" y="1595893"/>
            <a:ext cx="5400675" cy="0"/>
          </a:xfrm>
          <a:prstGeom prst="line">
            <a:avLst/>
          </a:prstGeom>
          <a:ln w="12700">
            <a:solidFill>
              <a:srgbClr val="E4E25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6" name="Rectangle 55">
            <a:extLst>
              <a:ext uri="{FF2B5EF4-FFF2-40B4-BE49-F238E27FC236}">
                <a16:creationId xmlns:a16="http://schemas.microsoft.com/office/drawing/2014/main" id="{47BB6336-BD9D-4B3E-BFDF-45C16945A172}"/>
              </a:ext>
            </a:extLst>
          </p:cNvPr>
          <p:cNvSpPr/>
          <p:nvPr/>
        </p:nvSpPr>
        <p:spPr>
          <a:xfrm>
            <a:off x="310891" y="1222555"/>
            <a:ext cx="5785110" cy="5121611"/>
          </a:xfrm>
          <a:prstGeom prst="rect">
            <a:avLst/>
          </a:prstGeom>
          <a:solidFill>
            <a:srgbClr val="9D9D9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57" name="Rectangle 56">
            <a:extLst>
              <a:ext uri="{FF2B5EF4-FFF2-40B4-BE49-F238E27FC236}">
                <a16:creationId xmlns:a16="http://schemas.microsoft.com/office/drawing/2014/main" id="{A26D0CD4-D1F5-4D95-9E06-A4505E1C00F7}"/>
              </a:ext>
            </a:extLst>
          </p:cNvPr>
          <p:cNvSpPr/>
          <p:nvPr/>
        </p:nvSpPr>
        <p:spPr>
          <a:xfrm>
            <a:off x="344133" y="1351112"/>
            <a:ext cx="5635396" cy="48644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8" name="Picture 57">
            <a:extLst>
              <a:ext uri="{FF2B5EF4-FFF2-40B4-BE49-F238E27FC236}">
                <a16:creationId xmlns:a16="http://schemas.microsoft.com/office/drawing/2014/main" id="{E748F21D-433C-4E35-91AD-75613D94B5B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0193" y="1406258"/>
            <a:ext cx="5692583" cy="1872953"/>
          </a:xfrm>
          <a:prstGeom prst="rect">
            <a:avLst/>
          </a:prstGeom>
        </p:spPr>
      </p:pic>
      <p:sp>
        <p:nvSpPr>
          <p:cNvPr id="59" name="TextBox 58">
            <a:extLst>
              <a:ext uri="{FF2B5EF4-FFF2-40B4-BE49-F238E27FC236}">
                <a16:creationId xmlns:a16="http://schemas.microsoft.com/office/drawing/2014/main" id="{78C03BB5-E257-438C-A3FB-E95626556398}"/>
              </a:ext>
            </a:extLst>
          </p:cNvPr>
          <p:cNvSpPr txBox="1"/>
          <p:nvPr/>
        </p:nvSpPr>
        <p:spPr>
          <a:xfrm>
            <a:off x="695325" y="2259865"/>
            <a:ext cx="9490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444B5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aspora</a:t>
            </a: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F6F1202D-4181-4E12-82B3-A258460FC619}"/>
              </a:ext>
            </a:extLst>
          </p:cNvPr>
          <p:cNvSpPr txBox="1"/>
          <p:nvPr/>
        </p:nvSpPr>
        <p:spPr>
          <a:xfrm>
            <a:off x="2472858" y="2102483"/>
            <a:ext cx="13779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E6486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rporate Social Investment</a:t>
            </a:r>
          </a:p>
        </p:txBody>
      </p:sp>
      <p:sp>
        <p:nvSpPr>
          <p:cNvPr id="61" name="TextBox 60">
            <a:extLst>
              <a:ext uri="{FF2B5EF4-FFF2-40B4-BE49-F238E27FC236}">
                <a16:creationId xmlns:a16="http://schemas.microsoft.com/office/drawing/2014/main" id="{12C27311-D95E-453B-8194-4D45D090A264}"/>
              </a:ext>
            </a:extLst>
          </p:cNvPr>
          <p:cNvSpPr txBox="1"/>
          <p:nvPr/>
        </p:nvSpPr>
        <p:spPr>
          <a:xfrm>
            <a:off x="4430215" y="2167043"/>
            <a:ext cx="137794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48A1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mily</a:t>
            </a:r>
            <a:br>
              <a:rPr lang="en-ZA" sz="1200" b="1" dirty="0">
                <a:solidFill>
                  <a:srgbClr val="48A1B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ZA" sz="1200" b="1" dirty="0">
                <a:solidFill>
                  <a:srgbClr val="48A1B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undation</a:t>
            </a:r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2FE2DBF0-BA7F-41A5-A8B7-BFE84D372BFF}"/>
              </a:ext>
            </a:extLst>
          </p:cNvPr>
          <p:cNvSpPr txBox="1"/>
          <p:nvPr/>
        </p:nvSpPr>
        <p:spPr>
          <a:xfrm>
            <a:off x="537902" y="3719251"/>
            <a:ext cx="5247859" cy="206210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 typeface="Wingdings" panose="05000000000000000000" pitchFamily="2" charset="2"/>
              <a:buChar char="§"/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African Philanthropy is on the rise 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Diaspora giving, corporate social investment and family foundations are the fastest growing segments of philanthropy/giving</a:t>
            </a:r>
          </a:p>
          <a:p>
            <a:pPr marL="342900" indent="-342900">
              <a:buFont typeface="Wingdings" panose="05000000000000000000" pitchFamily="2" charset="2"/>
              <a:buChar char="§"/>
            </a:pPr>
            <a:endParaRPr lang="en-ZA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 panose="05000000000000000000" pitchFamily="2" charset="2"/>
              <a:buChar char="§"/>
            </a:pPr>
            <a:r>
              <a:rPr lang="en-ZA" sz="1600" dirty="0">
                <a:latin typeface="Arial" panose="020B0604020202020204" pitchFamily="34" charset="0"/>
                <a:cs typeface="Arial" panose="020B0604020202020204" pitchFamily="34" charset="0"/>
              </a:rPr>
              <a:t>The Foundation sector is growing fastest in China, Africa and India</a:t>
            </a:r>
          </a:p>
        </p:txBody>
      </p:sp>
      <p:grpSp>
        <p:nvGrpSpPr>
          <p:cNvPr id="71" name="Group 70">
            <a:extLst>
              <a:ext uri="{FF2B5EF4-FFF2-40B4-BE49-F238E27FC236}">
                <a16:creationId xmlns:a16="http://schemas.microsoft.com/office/drawing/2014/main" id="{865F1496-B38D-4801-9407-C0DE7B78648F}"/>
              </a:ext>
            </a:extLst>
          </p:cNvPr>
          <p:cNvGrpSpPr/>
          <p:nvPr/>
        </p:nvGrpSpPr>
        <p:grpSpPr>
          <a:xfrm>
            <a:off x="6365172" y="1301549"/>
            <a:ext cx="6238498" cy="5042283"/>
            <a:chOff x="6432587" y="1514150"/>
            <a:chExt cx="6238498" cy="5042283"/>
          </a:xfrm>
        </p:grpSpPr>
        <p:sp>
          <p:nvSpPr>
            <p:cNvPr id="72" name="Rectangle 71">
              <a:extLst>
                <a:ext uri="{FF2B5EF4-FFF2-40B4-BE49-F238E27FC236}">
                  <a16:creationId xmlns:a16="http://schemas.microsoft.com/office/drawing/2014/main" id="{2F1A400C-3081-494E-A76C-45FCBE10108F}"/>
                </a:ext>
              </a:extLst>
            </p:cNvPr>
            <p:cNvSpPr/>
            <p:nvPr/>
          </p:nvSpPr>
          <p:spPr>
            <a:xfrm>
              <a:off x="6432587" y="3424856"/>
              <a:ext cx="5525949" cy="3131577"/>
            </a:xfrm>
            <a:prstGeom prst="rect">
              <a:avLst/>
            </a:prstGeom>
            <a:solidFill>
              <a:srgbClr val="444B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901F40F5-7A08-461F-94A1-D7714A265A03}"/>
                </a:ext>
              </a:extLst>
            </p:cNvPr>
            <p:cNvGrpSpPr/>
            <p:nvPr/>
          </p:nvGrpSpPr>
          <p:grpSpPr>
            <a:xfrm>
              <a:off x="6624261" y="1720532"/>
              <a:ext cx="1465186" cy="1323439"/>
              <a:chOff x="10637261" y="1563382"/>
              <a:chExt cx="1465186" cy="1323439"/>
            </a:xfrm>
          </p:grpSpPr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233CBB16-87AF-4DD6-A0E5-D727F2B50061}"/>
                  </a:ext>
                </a:extLst>
              </p:cNvPr>
              <p:cNvSpPr txBox="1"/>
              <p:nvPr/>
            </p:nvSpPr>
            <p:spPr>
              <a:xfrm>
                <a:off x="10743574" y="1563382"/>
                <a:ext cx="1358873" cy="132343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sz="1600" dirty="0">
                    <a:solidFill>
                      <a:srgbClr val="72217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Growth of no. of African </a:t>
                </a:r>
                <a:br>
                  <a:rPr lang="en-US" sz="1600" dirty="0">
                    <a:solidFill>
                      <a:srgbClr val="72217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</a:br>
                <a:r>
                  <a:rPr lang="en-US" sz="1600" dirty="0">
                    <a:solidFill>
                      <a:srgbClr val="72217B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US$ millionaires </a:t>
                </a:r>
              </a:p>
            </p:txBody>
          </p:sp>
          <p:sp>
            <p:nvSpPr>
              <p:cNvPr id="85" name="Rectangle 84">
                <a:extLst>
                  <a:ext uri="{FF2B5EF4-FFF2-40B4-BE49-F238E27FC236}">
                    <a16:creationId xmlns:a16="http://schemas.microsoft.com/office/drawing/2014/main" id="{227384F0-2F90-4C7F-B425-FD94699E2434}"/>
                  </a:ext>
                </a:extLst>
              </p:cNvPr>
              <p:cNvSpPr/>
              <p:nvPr/>
            </p:nvSpPr>
            <p:spPr>
              <a:xfrm>
                <a:off x="10637261" y="1584568"/>
                <a:ext cx="45719" cy="1251263"/>
              </a:xfrm>
              <a:prstGeom prst="rect">
                <a:avLst/>
              </a:prstGeom>
              <a:solidFill>
                <a:srgbClr val="E6486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/>
              </a:p>
            </p:txBody>
          </p:sp>
        </p:grpSp>
        <p:sp>
          <p:nvSpPr>
            <p:cNvPr id="74" name="TextBox 73">
              <a:extLst>
                <a:ext uri="{FF2B5EF4-FFF2-40B4-BE49-F238E27FC236}">
                  <a16:creationId xmlns:a16="http://schemas.microsoft.com/office/drawing/2014/main" id="{99C381B5-67D1-41DD-82A5-ADD2109B95D9}"/>
                </a:ext>
              </a:extLst>
            </p:cNvPr>
            <p:cNvSpPr txBox="1"/>
            <p:nvPr/>
          </p:nvSpPr>
          <p:spPr>
            <a:xfrm>
              <a:off x="8522213" y="1535081"/>
              <a:ext cx="101535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rgbClr val="43BCE6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75" name="TextBox 74">
              <a:extLst>
                <a:ext uri="{FF2B5EF4-FFF2-40B4-BE49-F238E27FC236}">
                  <a16:creationId xmlns:a16="http://schemas.microsoft.com/office/drawing/2014/main" id="{D6E0F0C0-97D6-4BD1-9A16-1E8D7F4CDED6}"/>
                </a:ext>
              </a:extLst>
            </p:cNvPr>
            <p:cNvSpPr txBox="1"/>
            <p:nvPr/>
          </p:nvSpPr>
          <p:spPr>
            <a:xfrm>
              <a:off x="8472690" y="2075164"/>
              <a:ext cx="101535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rgbClr val="84488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  <p:sp>
          <p:nvSpPr>
            <p:cNvPr id="76" name="TextBox 75">
              <a:extLst>
                <a:ext uri="{FF2B5EF4-FFF2-40B4-BE49-F238E27FC236}">
                  <a16:creationId xmlns:a16="http://schemas.microsoft.com/office/drawing/2014/main" id="{03ECEB06-44B4-46E0-908E-95D1600562F0}"/>
                </a:ext>
              </a:extLst>
            </p:cNvPr>
            <p:cNvSpPr txBox="1"/>
            <p:nvPr/>
          </p:nvSpPr>
          <p:spPr>
            <a:xfrm>
              <a:off x="8528625" y="2631213"/>
              <a:ext cx="1015359" cy="40011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2000" b="1" dirty="0">
                  <a:solidFill>
                    <a:srgbClr val="F28B2D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23</a:t>
              </a:r>
            </a:p>
          </p:txBody>
        </p:sp>
        <p:sp>
          <p:nvSpPr>
            <p:cNvPr id="77" name="TextBox 76">
              <a:extLst>
                <a:ext uri="{FF2B5EF4-FFF2-40B4-BE49-F238E27FC236}">
                  <a16:creationId xmlns:a16="http://schemas.microsoft.com/office/drawing/2014/main" id="{89BAC0EA-150C-4A28-B3F1-21FE121FF9B6}"/>
                </a:ext>
              </a:extLst>
            </p:cNvPr>
            <p:cNvSpPr txBox="1"/>
            <p:nvPr/>
          </p:nvSpPr>
          <p:spPr>
            <a:xfrm>
              <a:off x="11145208" y="1519722"/>
              <a:ext cx="1495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8A1B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64,000</a:t>
              </a:r>
            </a:p>
          </p:txBody>
        </p:sp>
        <p:sp>
          <p:nvSpPr>
            <p:cNvPr id="78" name="TextBox 77">
              <a:extLst>
                <a:ext uri="{FF2B5EF4-FFF2-40B4-BE49-F238E27FC236}">
                  <a16:creationId xmlns:a16="http://schemas.microsoft.com/office/drawing/2014/main" id="{ACE0BC85-EB03-432E-9581-CF4D6C1BEDD0}"/>
                </a:ext>
              </a:extLst>
            </p:cNvPr>
            <p:cNvSpPr txBox="1"/>
            <p:nvPr/>
          </p:nvSpPr>
          <p:spPr>
            <a:xfrm>
              <a:off x="11145208" y="2043698"/>
              <a:ext cx="1171448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8A1B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77,000</a:t>
              </a:r>
            </a:p>
          </p:txBody>
        </p:sp>
        <p:sp>
          <p:nvSpPr>
            <p:cNvPr id="79" name="TextBox 78">
              <a:extLst>
                <a:ext uri="{FF2B5EF4-FFF2-40B4-BE49-F238E27FC236}">
                  <a16:creationId xmlns:a16="http://schemas.microsoft.com/office/drawing/2014/main" id="{E9AC8CE9-72E7-4E8A-965F-168D736BB572}"/>
                </a:ext>
              </a:extLst>
            </p:cNvPr>
            <p:cNvSpPr txBox="1"/>
            <p:nvPr/>
          </p:nvSpPr>
          <p:spPr>
            <a:xfrm>
              <a:off x="11175553" y="2631213"/>
              <a:ext cx="1495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rgbClr val="48A1B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00,000</a:t>
              </a:r>
            </a:p>
          </p:txBody>
        </p:sp>
        <p:pic>
          <p:nvPicPr>
            <p:cNvPr id="80" name="Picture 79">
              <a:extLst>
                <a:ext uri="{FF2B5EF4-FFF2-40B4-BE49-F238E27FC236}">
                  <a16:creationId xmlns:a16="http://schemas.microsoft.com/office/drawing/2014/main" id="{1A4A5607-699B-4898-8866-B872C428B6C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116" t="12524" r="12220" b="7095"/>
            <a:stretch/>
          </p:blipFill>
          <p:spPr>
            <a:xfrm>
              <a:off x="9304786" y="1514150"/>
              <a:ext cx="1812027" cy="1522139"/>
            </a:xfrm>
            <a:prstGeom prst="rect">
              <a:avLst/>
            </a:prstGeom>
          </p:spPr>
        </p:pic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F7462860-92E1-4005-B64C-FD32E7317039}"/>
                </a:ext>
              </a:extLst>
            </p:cNvPr>
            <p:cNvSpPr txBox="1"/>
            <p:nvPr/>
          </p:nvSpPr>
          <p:spPr>
            <a:xfrm>
              <a:off x="9655765" y="2105942"/>
              <a:ext cx="149553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.9%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8913CCC-121E-4522-B410-4014DA7BF090}"/>
                </a:ext>
              </a:extLst>
            </p:cNvPr>
            <p:cNvSpPr txBox="1"/>
            <p:nvPr/>
          </p:nvSpPr>
          <p:spPr>
            <a:xfrm>
              <a:off x="9700970" y="2677110"/>
              <a:ext cx="85629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600" b="1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3%</a:t>
              </a:r>
            </a:p>
          </p:txBody>
        </p:sp>
        <p:graphicFrame>
          <p:nvGraphicFramePr>
            <p:cNvPr id="83" name="Chart 82">
              <a:extLst>
                <a:ext uri="{FF2B5EF4-FFF2-40B4-BE49-F238E27FC236}">
                  <a16:creationId xmlns:a16="http://schemas.microsoft.com/office/drawing/2014/main" id="{DA9C6D3E-70AB-40A9-B0A6-E69AE08E4EF3}"/>
                </a:ext>
              </a:extLst>
            </p:cNvPr>
            <p:cNvGraphicFramePr>
              <a:graphicFrameLocks/>
            </p:cNvGraphicFramePr>
            <p:nvPr>
              <p:extLst/>
            </p:nvPr>
          </p:nvGraphicFramePr>
          <p:xfrm>
            <a:off x="6613822" y="3424856"/>
            <a:ext cx="4937567" cy="2911012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89367242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TextBox 46">
            <a:extLst>
              <a:ext uri="{FF2B5EF4-FFF2-40B4-BE49-F238E27FC236}">
                <a16:creationId xmlns:a16="http://schemas.microsoft.com/office/drawing/2014/main" id="{28D50046-CE31-4204-B829-E2F77ACCC722}"/>
              </a:ext>
            </a:extLst>
          </p:cNvPr>
          <p:cNvSpPr txBox="1"/>
          <p:nvPr/>
        </p:nvSpPr>
        <p:spPr>
          <a:xfrm>
            <a:off x="619996" y="374369"/>
            <a:ext cx="9385894" cy="54534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2500" b="1" dirty="0">
                <a:solidFill>
                  <a:srgbClr val="ED12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ere do African Philanthropists Put Their Money?</a:t>
            </a:r>
          </a:p>
        </p:txBody>
      </p:sp>
      <p:grpSp>
        <p:nvGrpSpPr>
          <p:cNvPr id="87" name="Group 86">
            <a:extLst>
              <a:ext uri="{FF2B5EF4-FFF2-40B4-BE49-F238E27FC236}">
                <a16:creationId xmlns:a16="http://schemas.microsoft.com/office/drawing/2014/main" id="{28ECB0A0-02B5-490D-8084-88DEA466DB4B}"/>
              </a:ext>
            </a:extLst>
          </p:cNvPr>
          <p:cNvGrpSpPr/>
          <p:nvPr/>
        </p:nvGrpSpPr>
        <p:grpSpPr>
          <a:xfrm>
            <a:off x="-30629" y="992219"/>
            <a:ext cx="12253258" cy="5433432"/>
            <a:chOff x="-61258" y="1424567"/>
            <a:chExt cx="12253258" cy="5433432"/>
          </a:xfrm>
        </p:grpSpPr>
        <p:sp>
          <p:nvSpPr>
            <p:cNvPr id="92" name="Rectangle 91">
              <a:extLst>
                <a:ext uri="{FF2B5EF4-FFF2-40B4-BE49-F238E27FC236}">
                  <a16:creationId xmlns:a16="http://schemas.microsoft.com/office/drawing/2014/main" id="{9E6C346A-7A32-4BBE-9CB3-488C693E25D2}"/>
                </a:ext>
              </a:extLst>
            </p:cNvPr>
            <p:cNvSpPr/>
            <p:nvPr/>
          </p:nvSpPr>
          <p:spPr>
            <a:xfrm>
              <a:off x="-61258" y="2391708"/>
              <a:ext cx="12253258" cy="1156425"/>
            </a:xfrm>
            <a:prstGeom prst="rect">
              <a:avLst/>
            </a:prstGeom>
            <a:solidFill>
              <a:schemeClr val="bg1">
                <a:lumMod val="85000"/>
                <a:alpha val="39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3" name="Picture 92">
              <a:extLst>
                <a:ext uri="{FF2B5EF4-FFF2-40B4-BE49-F238E27FC236}">
                  <a16:creationId xmlns:a16="http://schemas.microsoft.com/office/drawing/2014/main" id="{2362C630-52E4-492D-91F0-1A6EE9E038F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101" t="17642" r="6962" b="1311"/>
            <a:stretch/>
          </p:blipFill>
          <p:spPr>
            <a:xfrm>
              <a:off x="0" y="3596317"/>
              <a:ext cx="12192000" cy="3261682"/>
            </a:xfrm>
            <a:prstGeom prst="rect">
              <a:avLst/>
            </a:prstGeom>
          </p:spPr>
        </p:pic>
        <p:sp>
          <p:nvSpPr>
            <p:cNvPr id="94" name="Rectangle 93">
              <a:extLst>
                <a:ext uri="{FF2B5EF4-FFF2-40B4-BE49-F238E27FC236}">
                  <a16:creationId xmlns:a16="http://schemas.microsoft.com/office/drawing/2014/main" id="{848053CD-805B-474E-8B56-0389A5367818}"/>
                </a:ext>
              </a:extLst>
            </p:cNvPr>
            <p:cNvSpPr/>
            <p:nvPr/>
          </p:nvSpPr>
          <p:spPr>
            <a:xfrm>
              <a:off x="0" y="3554784"/>
              <a:ext cx="12192000" cy="1785103"/>
            </a:xfrm>
            <a:prstGeom prst="rect">
              <a:avLst/>
            </a:prstGeom>
            <a:solidFill>
              <a:srgbClr val="4ABBB1">
                <a:alpha val="8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95" name="Picture 94">
              <a:extLst>
                <a:ext uri="{FF2B5EF4-FFF2-40B4-BE49-F238E27FC236}">
                  <a16:creationId xmlns:a16="http://schemas.microsoft.com/office/drawing/2014/main" id="{061A4EE4-2B62-40FD-BEC7-2883B2DCC5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6174" r="3039"/>
            <a:stretch/>
          </p:blipFill>
          <p:spPr>
            <a:xfrm>
              <a:off x="9200561" y="2352260"/>
              <a:ext cx="1549400" cy="972609"/>
            </a:xfrm>
            <a:prstGeom prst="rect">
              <a:avLst/>
            </a:prstGeom>
          </p:spPr>
        </p:pic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1E74F61-35A7-4963-8647-1F9CE166F03B}"/>
                </a:ext>
              </a:extLst>
            </p:cNvPr>
            <p:cNvSpPr txBox="1"/>
            <p:nvPr/>
          </p:nvSpPr>
          <p:spPr>
            <a:xfrm>
              <a:off x="1244372" y="3209153"/>
              <a:ext cx="88998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49476E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lth</a:t>
              </a:r>
              <a:endParaRPr lang="en-GB" b="1" dirty="0">
                <a:solidFill>
                  <a:srgbClr val="49476E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A43B7FF0-B1CE-4CC7-BC54-99C13659A6E2}"/>
                </a:ext>
              </a:extLst>
            </p:cNvPr>
            <p:cNvSpPr txBox="1"/>
            <p:nvPr/>
          </p:nvSpPr>
          <p:spPr>
            <a:xfrm>
              <a:off x="5206970" y="3185451"/>
              <a:ext cx="1300356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5DC2D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ducation</a:t>
              </a:r>
              <a:endParaRPr lang="en-GB" b="1" dirty="0">
                <a:solidFill>
                  <a:srgbClr val="5DC2D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E85CD8C5-7E8E-4DDF-A94B-7D19A1318A65}"/>
                </a:ext>
              </a:extLst>
            </p:cNvPr>
            <p:cNvSpPr txBox="1"/>
            <p:nvPr/>
          </p:nvSpPr>
          <p:spPr>
            <a:xfrm>
              <a:off x="8743416" y="3209153"/>
              <a:ext cx="3074768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ZA" b="1" dirty="0">
                  <a:solidFill>
                    <a:srgbClr val="E64864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conomic Empowerment</a:t>
              </a:r>
              <a:endParaRPr lang="en-GB" b="1" dirty="0">
                <a:solidFill>
                  <a:srgbClr val="E64864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6B2D7929-B814-422A-A41A-6C302CD5FFCE}"/>
                </a:ext>
              </a:extLst>
            </p:cNvPr>
            <p:cNvSpPr txBox="1"/>
            <p:nvPr/>
          </p:nvSpPr>
          <p:spPr>
            <a:xfrm>
              <a:off x="641987" y="3596317"/>
              <a:ext cx="2733372" cy="1785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ealth infrastructure, e.g. hospitals, clinic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lnutrition &amp; Stunti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IV/AID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imary healthcare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mergency health relief </a:t>
              </a:r>
              <a:b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– Ebola, COVID-19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ternal &amp; baby health </a:t>
              </a:r>
            </a:p>
            <a:p>
              <a:endParaRPr lang="en-ZA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endParaRPr lang="en-GB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2334B90C-A1CB-4653-846F-39C2673717E0}"/>
                </a:ext>
              </a:extLst>
            </p:cNvPr>
            <p:cNvSpPr txBox="1"/>
            <p:nvPr/>
          </p:nvSpPr>
          <p:spPr>
            <a:xfrm>
              <a:off x="7238703" y="3554784"/>
              <a:ext cx="4892039" cy="1785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ulti-sector: agribusiness, manufacturing, health, financial services, energy – focus is on improved incomes and livelihoods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ntrepreneurship programs focused on empowering and equipping entrepreneurs with well-rounded skills including access to finance, mentoring, coaching, life-skills traini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aining: Employability &amp; digital skills training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upplier development programmes to support increased access for marginalised groups </a:t>
              </a:r>
            </a:p>
            <a:p>
              <a:pPr marL="171450" indent="-171450">
                <a:buFont typeface="Wingdings" panose="05000000000000000000" pitchFamily="2" charset="2"/>
                <a:buChar char="§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ccess to finance for micro, small and medium enterprises including start ups</a:t>
              </a:r>
              <a:endParaRPr lang="en-GB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3F4D3394-B4AB-4B82-9057-DA1478741E67}"/>
                </a:ext>
              </a:extLst>
            </p:cNvPr>
            <p:cNvSpPr txBox="1"/>
            <p:nvPr/>
          </p:nvSpPr>
          <p:spPr>
            <a:xfrm>
              <a:off x="3863344" y="3585135"/>
              <a:ext cx="3286462" cy="195438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larships for high school &amp; tertiary education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uilding of secondary schools</a:t>
              </a:r>
              <a:endParaRPr lang="en-GB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nstruction &amp; equipping of librari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cholarships to TVETs and other tertiary institution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n-the-job education through internship, attachment and fellowship programme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oaching and Mentoring</a:t>
              </a:r>
            </a:p>
            <a:p>
              <a:r>
                <a:rPr lang="en-ZA" sz="110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endParaRPr lang="en-GB" sz="11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FA435C8A-B3AB-4382-BE1A-8FDF45755476}"/>
                </a:ext>
              </a:extLst>
            </p:cNvPr>
            <p:cNvCxnSpPr/>
            <p:nvPr/>
          </p:nvCxnSpPr>
          <p:spPr>
            <a:xfrm>
              <a:off x="3568700" y="3238500"/>
              <a:ext cx="0" cy="155892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3" name="Straight Connector 102">
              <a:extLst>
                <a:ext uri="{FF2B5EF4-FFF2-40B4-BE49-F238E27FC236}">
                  <a16:creationId xmlns:a16="http://schemas.microsoft.com/office/drawing/2014/main" id="{2AEBC971-A113-48D7-94D3-DAFA609FB40B}"/>
                </a:ext>
              </a:extLst>
            </p:cNvPr>
            <p:cNvCxnSpPr/>
            <p:nvPr/>
          </p:nvCxnSpPr>
          <p:spPr>
            <a:xfrm>
              <a:off x="7022806" y="3238500"/>
              <a:ext cx="0" cy="1558925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4" name="Straight Connector 103">
              <a:extLst>
                <a:ext uri="{FF2B5EF4-FFF2-40B4-BE49-F238E27FC236}">
                  <a16:creationId xmlns:a16="http://schemas.microsoft.com/office/drawing/2014/main" id="{137ACDDF-3E81-4282-BA1A-A95E58071B77}"/>
                </a:ext>
              </a:extLst>
            </p:cNvPr>
            <p:cNvCxnSpPr/>
            <p:nvPr/>
          </p:nvCxnSpPr>
          <p:spPr>
            <a:xfrm>
              <a:off x="0" y="2364292"/>
              <a:ext cx="12192000" cy="0"/>
            </a:xfrm>
            <a:prstGeom prst="line">
              <a:avLst/>
            </a:prstGeom>
            <a:ln>
              <a:solidFill>
                <a:srgbClr val="ED1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pic>
          <p:nvPicPr>
            <p:cNvPr id="105" name="Picture 104">
              <a:extLst>
                <a:ext uri="{FF2B5EF4-FFF2-40B4-BE49-F238E27FC236}">
                  <a16:creationId xmlns:a16="http://schemas.microsoft.com/office/drawing/2014/main" id="{F242D009-EA70-4535-8EC8-5882783E170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947" r="69228"/>
            <a:stretch/>
          </p:blipFill>
          <p:spPr>
            <a:xfrm>
              <a:off x="1102687" y="2391710"/>
              <a:ext cx="1300356" cy="973102"/>
            </a:xfrm>
            <a:prstGeom prst="rect">
              <a:avLst/>
            </a:prstGeom>
          </p:spPr>
        </p:pic>
        <p:pic>
          <p:nvPicPr>
            <p:cNvPr id="106" name="Picture 105">
              <a:extLst>
                <a:ext uri="{FF2B5EF4-FFF2-40B4-BE49-F238E27FC236}">
                  <a16:creationId xmlns:a16="http://schemas.microsoft.com/office/drawing/2014/main" id="{17BE239C-A304-4270-917E-06C2EC3DDCD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6958" r="37540"/>
            <a:stretch/>
          </p:blipFill>
          <p:spPr>
            <a:xfrm>
              <a:off x="5126399" y="2313880"/>
              <a:ext cx="1284110" cy="973102"/>
            </a:xfrm>
            <a:prstGeom prst="rect">
              <a:avLst/>
            </a:prstGeom>
          </p:spPr>
        </p:pic>
        <p:sp>
          <p:nvSpPr>
            <p:cNvPr id="107" name="Rectangle: Rounded Corners 106">
              <a:extLst>
                <a:ext uri="{FF2B5EF4-FFF2-40B4-BE49-F238E27FC236}">
                  <a16:creationId xmlns:a16="http://schemas.microsoft.com/office/drawing/2014/main" id="{4E03E5AA-F35B-4E0C-B4B2-D508C859251A}"/>
                </a:ext>
              </a:extLst>
            </p:cNvPr>
            <p:cNvSpPr/>
            <p:nvPr/>
          </p:nvSpPr>
          <p:spPr>
            <a:xfrm>
              <a:off x="2388753" y="1520555"/>
              <a:ext cx="7391400" cy="634513"/>
            </a:xfrm>
            <a:prstGeom prst="roundRect">
              <a:avLst/>
            </a:prstGeom>
            <a:solidFill>
              <a:srgbClr val="444B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08" name="TextBox 107">
              <a:extLst>
                <a:ext uri="{FF2B5EF4-FFF2-40B4-BE49-F238E27FC236}">
                  <a16:creationId xmlns:a16="http://schemas.microsoft.com/office/drawing/2014/main" id="{E91CE06F-DBEA-4D2D-8556-16C1DC0BF602}"/>
                </a:ext>
              </a:extLst>
            </p:cNvPr>
            <p:cNvSpPr txBox="1"/>
            <p:nvPr/>
          </p:nvSpPr>
          <p:spPr>
            <a:xfrm>
              <a:off x="3080184" y="1552929"/>
              <a:ext cx="1307937" cy="5278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3800"/>
                </a:lnSpc>
              </a:pPr>
              <a:r>
                <a:rPr lang="en-US" sz="2000" b="1" dirty="0">
                  <a:solidFill>
                    <a:srgbClr val="FFCF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Gender</a:t>
              </a:r>
            </a:p>
          </p:txBody>
        </p:sp>
        <p:sp>
          <p:nvSpPr>
            <p:cNvPr id="109" name="TextBox 108">
              <a:extLst>
                <a:ext uri="{FF2B5EF4-FFF2-40B4-BE49-F238E27FC236}">
                  <a16:creationId xmlns:a16="http://schemas.microsoft.com/office/drawing/2014/main" id="{2643E691-83B2-4762-BA05-793363E13D6B}"/>
                </a:ext>
              </a:extLst>
            </p:cNvPr>
            <p:cNvSpPr txBox="1"/>
            <p:nvPr/>
          </p:nvSpPr>
          <p:spPr>
            <a:xfrm>
              <a:off x="8165266" y="1552929"/>
              <a:ext cx="1307937" cy="5278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3800"/>
                </a:lnSpc>
              </a:pPr>
              <a:r>
                <a:rPr lang="en-US" sz="2000" b="1" dirty="0">
                  <a:solidFill>
                    <a:srgbClr val="FFCF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th</a:t>
              </a:r>
            </a:p>
          </p:txBody>
        </p:sp>
        <p:sp>
          <p:nvSpPr>
            <p:cNvPr id="110" name="Oval 109">
              <a:extLst>
                <a:ext uri="{FF2B5EF4-FFF2-40B4-BE49-F238E27FC236}">
                  <a16:creationId xmlns:a16="http://schemas.microsoft.com/office/drawing/2014/main" id="{593BF973-0700-4BC2-AFE0-E2BDE02CBCB3}"/>
                </a:ext>
              </a:extLst>
            </p:cNvPr>
            <p:cNvSpPr/>
            <p:nvPr/>
          </p:nvSpPr>
          <p:spPr>
            <a:xfrm>
              <a:off x="2176841" y="1424567"/>
              <a:ext cx="784559" cy="784559"/>
            </a:xfrm>
            <a:prstGeom prst="ellipse">
              <a:avLst/>
            </a:prstGeom>
            <a:solidFill>
              <a:srgbClr val="E6486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1" name="Oval 110">
              <a:extLst>
                <a:ext uri="{FF2B5EF4-FFF2-40B4-BE49-F238E27FC236}">
                  <a16:creationId xmlns:a16="http://schemas.microsoft.com/office/drawing/2014/main" id="{8E6D837E-BA3A-46CA-9552-565D6197DBC6}"/>
                </a:ext>
              </a:extLst>
            </p:cNvPr>
            <p:cNvSpPr/>
            <p:nvPr/>
          </p:nvSpPr>
          <p:spPr>
            <a:xfrm>
              <a:off x="9292442" y="1424567"/>
              <a:ext cx="784559" cy="784559"/>
            </a:xfrm>
            <a:prstGeom prst="ellipse">
              <a:avLst/>
            </a:prstGeom>
            <a:solidFill>
              <a:srgbClr val="E64864"/>
            </a:solidFill>
            <a:ln w="2857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2" name="Isosceles Triangle 111">
              <a:extLst>
                <a:ext uri="{FF2B5EF4-FFF2-40B4-BE49-F238E27FC236}">
                  <a16:creationId xmlns:a16="http://schemas.microsoft.com/office/drawing/2014/main" id="{C3EBAD4F-52CC-42BF-9834-2A8427496780}"/>
                </a:ext>
              </a:extLst>
            </p:cNvPr>
            <p:cNvSpPr/>
            <p:nvPr/>
          </p:nvSpPr>
          <p:spPr>
            <a:xfrm rot="5400000">
              <a:off x="7274588" y="1676576"/>
              <a:ext cx="304800" cy="34534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sp>
          <p:nvSpPr>
            <p:cNvPr id="113" name="Isosceles Triangle 112">
              <a:extLst>
                <a:ext uri="{FF2B5EF4-FFF2-40B4-BE49-F238E27FC236}">
                  <a16:creationId xmlns:a16="http://schemas.microsoft.com/office/drawing/2014/main" id="{52960648-4B42-4E60-AE96-B02945FB8227}"/>
                </a:ext>
              </a:extLst>
            </p:cNvPr>
            <p:cNvSpPr/>
            <p:nvPr/>
          </p:nvSpPr>
          <p:spPr>
            <a:xfrm rot="16200000" flipH="1">
              <a:off x="4801326" y="1676577"/>
              <a:ext cx="304800" cy="345345"/>
            </a:xfrm>
            <a:prstGeom prst="triangl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cxnSp>
          <p:nvCxnSpPr>
            <p:cNvPr id="114" name="Connector: Elbow 113">
              <a:extLst>
                <a:ext uri="{FF2B5EF4-FFF2-40B4-BE49-F238E27FC236}">
                  <a16:creationId xmlns:a16="http://schemas.microsoft.com/office/drawing/2014/main" id="{72DE7D52-113F-4DAA-92E9-4BF3F7A4A956}"/>
                </a:ext>
              </a:extLst>
            </p:cNvPr>
            <p:cNvCxnSpPr>
              <a:cxnSpLocks/>
            </p:cNvCxnSpPr>
            <p:nvPr/>
          </p:nvCxnSpPr>
          <p:spPr>
            <a:xfrm rot="10800000" flipV="1">
              <a:off x="376167" y="1840910"/>
              <a:ext cx="1800674" cy="535413"/>
            </a:xfrm>
            <a:prstGeom prst="bentConnector3">
              <a:avLst/>
            </a:prstGeom>
            <a:ln>
              <a:solidFill>
                <a:srgbClr val="ED1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Connector: Elbow 114">
              <a:extLst>
                <a:ext uri="{FF2B5EF4-FFF2-40B4-BE49-F238E27FC236}">
                  <a16:creationId xmlns:a16="http://schemas.microsoft.com/office/drawing/2014/main" id="{54C9BB8B-F091-4B45-8DD3-5B7E69313C0A}"/>
                </a:ext>
              </a:extLst>
            </p:cNvPr>
            <p:cNvCxnSpPr>
              <a:stCxn id="111" idx="6"/>
            </p:cNvCxnSpPr>
            <p:nvPr/>
          </p:nvCxnSpPr>
          <p:spPr>
            <a:xfrm>
              <a:off x="10077001" y="1816847"/>
              <a:ext cx="1741183" cy="535412"/>
            </a:xfrm>
            <a:prstGeom prst="bentConnector3">
              <a:avLst/>
            </a:prstGeom>
            <a:ln>
              <a:solidFill>
                <a:srgbClr val="ED1267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116" name="Group 115">
              <a:extLst>
                <a:ext uri="{FF2B5EF4-FFF2-40B4-BE49-F238E27FC236}">
                  <a16:creationId xmlns:a16="http://schemas.microsoft.com/office/drawing/2014/main" id="{DD588C7F-506B-487D-95EA-3947F0A9FFA4}"/>
                </a:ext>
              </a:extLst>
            </p:cNvPr>
            <p:cNvGrpSpPr/>
            <p:nvPr/>
          </p:nvGrpSpPr>
          <p:grpSpPr>
            <a:xfrm>
              <a:off x="2378669" y="1635020"/>
              <a:ext cx="397039" cy="424913"/>
              <a:chOff x="2733676" y="-1423988"/>
              <a:chExt cx="927100" cy="992188"/>
            </a:xfrm>
            <a:solidFill>
              <a:schemeClr val="bg1"/>
            </a:solidFill>
          </p:grpSpPr>
          <p:sp>
            <p:nvSpPr>
              <p:cNvPr id="122" name="Freeform 6">
                <a:extLst>
                  <a:ext uri="{FF2B5EF4-FFF2-40B4-BE49-F238E27FC236}">
                    <a16:creationId xmlns:a16="http://schemas.microsoft.com/office/drawing/2014/main" id="{EE31C799-E661-4F0C-9E75-8C9A3BE5AF3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3676" y="-1222375"/>
                <a:ext cx="587375" cy="790575"/>
              </a:xfrm>
              <a:custGeom>
                <a:avLst/>
                <a:gdLst>
                  <a:gd name="T0" fmla="*/ 304 w 304"/>
                  <a:gd name="T1" fmla="*/ 152 h 408"/>
                  <a:gd name="T2" fmla="*/ 230 w 304"/>
                  <a:gd name="T3" fmla="*/ 22 h 408"/>
                  <a:gd name="T4" fmla="*/ 204 w 304"/>
                  <a:gd name="T5" fmla="*/ 62 h 408"/>
                  <a:gd name="T6" fmla="*/ 256 w 304"/>
                  <a:gd name="T7" fmla="*/ 152 h 408"/>
                  <a:gd name="T8" fmla="*/ 152 w 304"/>
                  <a:gd name="T9" fmla="*/ 256 h 408"/>
                  <a:gd name="T10" fmla="*/ 48 w 304"/>
                  <a:gd name="T11" fmla="*/ 152 h 408"/>
                  <a:gd name="T12" fmla="*/ 124 w 304"/>
                  <a:gd name="T13" fmla="*/ 52 h 408"/>
                  <a:gd name="T14" fmla="*/ 145 w 304"/>
                  <a:gd name="T15" fmla="*/ 0 h 408"/>
                  <a:gd name="T16" fmla="*/ 0 w 304"/>
                  <a:gd name="T17" fmla="*/ 152 h 408"/>
                  <a:gd name="T18" fmla="*/ 128 w 304"/>
                  <a:gd name="T19" fmla="*/ 302 h 408"/>
                  <a:gd name="T20" fmla="*/ 128 w 304"/>
                  <a:gd name="T21" fmla="*/ 328 h 408"/>
                  <a:gd name="T22" fmla="*/ 104 w 304"/>
                  <a:gd name="T23" fmla="*/ 328 h 408"/>
                  <a:gd name="T24" fmla="*/ 96 w 304"/>
                  <a:gd name="T25" fmla="*/ 336 h 408"/>
                  <a:gd name="T26" fmla="*/ 96 w 304"/>
                  <a:gd name="T27" fmla="*/ 368 h 408"/>
                  <a:gd name="T28" fmla="*/ 104 w 304"/>
                  <a:gd name="T29" fmla="*/ 376 h 408"/>
                  <a:gd name="T30" fmla="*/ 128 w 304"/>
                  <a:gd name="T31" fmla="*/ 376 h 408"/>
                  <a:gd name="T32" fmla="*/ 128 w 304"/>
                  <a:gd name="T33" fmla="*/ 400 h 408"/>
                  <a:gd name="T34" fmla="*/ 136 w 304"/>
                  <a:gd name="T35" fmla="*/ 408 h 408"/>
                  <a:gd name="T36" fmla="*/ 168 w 304"/>
                  <a:gd name="T37" fmla="*/ 408 h 408"/>
                  <a:gd name="T38" fmla="*/ 176 w 304"/>
                  <a:gd name="T39" fmla="*/ 400 h 408"/>
                  <a:gd name="T40" fmla="*/ 176 w 304"/>
                  <a:gd name="T41" fmla="*/ 376 h 408"/>
                  <a:gd name="T42" fmla="*/ 200 w 304"/>
                  <a:gd name="T43" fmla="*/ 376 h 408"/>
                  <a:gd name="T44" fmla="*/ 208 w 304"/>
                  <a:gd name="T45" fmla="*/ 368 h 408"/>
                  <a:gd name="T46" fmla="*/ 208 w 304"/>
                  <a:gd name="T47" fmla="*/ 336 h 408"/>
                  <a:gd name="T48" fmla="*/ 200 w 304"/>
                  <a:gd name="T49" fmla="*/ 328 h 408"/>
                  <a:gd name="T50" fmla="*/ 176 w 304"/>
                  <a:gd name="T51" fmla="*/ 328 h 408"/>
                  <a:gd name="T52" fmla="*/ 176 w 304"/>
                  <a:gd name="T53" fmla="*/ 302 h 408"/>
                  <a:gd name="T54" fmla="*/ 304 w 304"/>
                  <a:gd name="T55" fmla="*/ 152 h 4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04" h="408">
                    <a:moveTo>
                      <a:pt x="304" y="152"/>
                    </a:moveTo>
                    <a:cubicBezTo>
                      <a:pt x="304" y="97"/>
                      <a:pt x="274" y="48"/>
                      <a:pt x="230" y="22"/>
                    </a:cubicBezTo>
                    <a:cubicBezTo>
                      <a:pt x="218" y="32"/>
                      <a:pt x="209" y="46"/>
                      <a:pt x="204" y="62"/>
                    </a:cubicBezTo>
                    <a:cubicBezTo>
                      <a:pt x="235" y="80"/>
                      <a:pt x="256" y="114"/>
                      <a:pt x="256" y="152"/>
                    </a:cubicBezTo>
                    <a:cubicBezTo>
                      <a:pt x="256" y="209"/>
                      <a:pt x="209" y="256"/>
                      <a:pt x="152" y="256"/>
                    </a:cubicBezTo>
                    <a:cubicBezTo>
                      <a:pt x="95" y="256"/>
                      <a:pt x="48" y="209"/>
                      <a:pt x="48" y="152"/>
                    </a:cubicBezTo>
                    <a:cubicBezTo>
                      <a:pt x="48" y="104"/>
                      <a:pt x="80" y="64"/>
                      <a:pt x="124" y="52"/>
                    </a:cubicBezTo>
                    <a:cubicBezTo>
                      <a:pt x="128" y="33"/>
                      <a:pt x="135" y="16"/>
                      <a:pt x="145" y="0"/>
                    </a:cubicBezTo>
                    <a:cubicBezTo>
                      <a:pt x="64" y="4"/>
                      <a:pt x="0" y="71"/>
                      <a:pt x="0" y="152"/>
                    </a:cubicBezTo>
                    <a:cubicBezTo>
                      <a:pt x="0" y="227"/>
                      <a:pt x="55" y="290"/>
                      <a:pt x="128" y="302"/>
                    </a:cubicBezTo>
                    <a:cubicBezTo>
                      <a:pt x="128" y="328"/>
                      <a:pt x="128" y="328"/>
                      <a:pt x="128" y="328"/>
                    </a:cubicBezTo>
                    <a:cubicBezTo>
                      <a:pt x="104" y="328"/>
                      <a:pt x="104" y="328"/>
                      <a:pt x="104" y="328"/>
                    </a:cubicBezTo>
                    <a:cubicBezTo>
                      <a:pt x="100" y="328"/>
                      <a:pt x="96" y="332"/>
                      <a:pt x="96" y="336"/>
                    </a:cubicBezTo>
                    <a:cubicBezTo>
                      <a:pt x="96" y="368"/>
                      <a:pt x="96" y="368"/>
                      <a:pt x="96" y="368"/>
                    </a:cubicBezTo>
                    <a:cubicBezTo>
                      <a:pt x="96" y="372"/>
                      <a:pt x="100" y="376"/>
                      <a:pt x="104" y="376"/>
                    </a:cubicBezTo>
                    <a:cubicBezTo>
                      <a:pt x="128" y="376"/>
                      <a:pt x="128" y="376"/>
                      <a:pt x="128" y="376"/>
                    </a:cubicBezTo>
                    <a:cubicBezTo>
                      <a:pt x="128" y="400"/>
                      <a:pt x="128" y="400"/>
                      <a:pt x="128" y="400"/>
                    </a:cubicBezTo>
                    <a:cubicBezTo>
                      <a:pt x="128" y="404"/>
                      <a:pt x="132" y="408"/>
                      <a:pt x="136" y="408"/>
                    </a:cubicBezTo>
                    <a:cubicBezTo>
                      <a:pt x="168" y="408"/>
                      <a:pt x="168" y="408"/>
                      <a:pt x="168" y="408"/>
                    </a:cubicBezTo>
                    <a:cubicBezTo>
                      <a:pt x="172" y="408"/>
                      <a:pt x="176" y="404"/>
                      <a:pt x="176" y="400"/>
                    </a:cubicBezTo>
                    <a:cubicBezTo>
                      <a:pt x="176" y="376"/>
                      <a:pt x="176" y="376"/>
                      <a:pt x="176" y="376"/>
                    </a:cubicBezTo>
                    <a:cubicBezTo>
                      <a:pt x="200" y="376"/>
                      <a:pt x="200" y="376"/>
                      <a:pt x="200" y="376"/>
                    </a:cubicBezTo>
                    <a:cubicBezTo>
                      <a:pt x="204" y="376"/>
                      <a:pt x="208" y="372"/>
                      <a:pt x="208" y="368"/>
                    </a:cubicBezTo>
                    <a:cubicBezTo>
                      <a:pt x="208" y="336"/>
                      <a:pt x="208" y="336"/>
                      <a:pt x="208" y="336"/>
                    </a:cubicBezTo>
                    <a:cubicBezTo>
                      <a:pt x="208" y="332"/>
                      <a:pt x="204" y="328"/>
                      <a:pt x="200" y="328"/>
                    </a:cubicBezTo>
                    <a:cubicBezTo>
                      <a:pt x="176" y="328"/>
                      <a:pt x="176" y="328"/>
                      <a:pt x="176" y="328"/>
                    </a:cubicBezTo>
                    <a:cubicBezTo>
                      <a:pt x="176" y="302"/>
                      <a:pt x="176" y="302"/>
                      <a:pt x="176" y="302"/>
                    </a:cubicBezTo>
                    <a:cubicBezTo>
                      <a:pt x="249" y="290"/>
                      <a:pt x="304" y="227"/>
                      <a:pt x="304" y="152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3" name="Freeform 7">
                <a:extLst>
                  <a:ext uri="{FF2B5EF4-FFF2-40B4-BE49-F238E27FC236}">
                    <a16:creationId xmlns:a16="http://schemas.microsoft.com/office/drawing/2014/main" id="{E7E3E801-D8B6-48EA-A237-8A078A95E68B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2995613" y="-1423988"/>
                <a:ext cx="665163" cy="666750"/>
              </a:xfrm>
              <a:custGeom>
                <a:avLst/>
                <a:gdLst>
                  <a:gd name="T0" fmla="*/ 336 w 344"/>
                  <a:gd name="T1" fmla="*/ 0 h 344"/>
                  <a:gd name="T2" fmla="*/ 248 w 344"/>
                  <a:gd name="T3" fmla="*/ 0 h 344"/>
                  <a:gd name="T4" fmla="*/ 240 w 344"/>
                  <a:gd name="T5" fmla="*/ 8 h 344"/>
                  <a:gd name="T6" fmla="*/ 240 w 344"/>
                  <a:gd name="T7" fmla="*/ 40 h 344"/>
                  <a:gd name="T8" fmla="*/ 248 w 344"/>
                  <a:gd name="T9" fmla="*/ 48 h 344"/>
                  <a:gd name="T10" fmla="*/ 262 w 344"/>
                  <a:gd name="T11" fmla="*/ 48 h 344"/>
                  <a:gd name="T12" fmla="*/ 241 w 344"/>
                  <a:gd name="T13" fmla="*/ 69 h 344"/>
                  <a:gd name="T14" fmla="*/ 152 w 344"/>
                  <a:gd name="T15" fmla="*/ 40 h 344"/>
                  <a:gd name="T16" fmla="*/ 0 w 344"/>
                  <a:gd name="T17" fmla="*/ 192 h 344"/>
                  <a:gd name="T18" fmla="*/ 74 w 344"/>
                  <a:gd name="T19" fmla="*/ 322 h 344"/>
                  <a:gd name="T20" fmla="*/ 100 w 344"/>
                  <a:gd name="T21" fmla="*/ 282 h 344"/>
                  <a:gd name="T22" fmla="*/ 48 w 344"/>
                  <a:gd name="T23" fmla="*/ 192 h 344"/>
                  <a:gd name="T24" fmla="*/ 152 w 344"/>
                  <a:gd name="T25" fmla="*/ 88 h 344"/>
                  <a:gd name="T26" fmla="*/ 256 w 344"/>
                  <a:gd name="T27" fmla="*/ 192 h 344"/>
                  <a:gd name="T28" fmla="*/ 180 w 344"/>
                  <a:gd name="T29" fmla="*/ 292 h 344"/>
                  <a:gd name="T30" fmla="*/ 159 w 344"/>
                  <a:gd name="T31" fmla="*/ 344 h 344"/>
                  <a:gd name="T32" fmla="*/ 304 w 344"/>
                  <a:gd name="T33" fmla="*/ 192 h 344"/>
                  <a:gd name="T34" fmla="*/ 275 w 344"/>
                  <a:gd name="T35" fmla="*/ 103 h 344"/>
                  <a:gd name="T36" fmla="*/ 296 w 344"/>
                  <a:gd name="T37" fmla="*/ 82 h 344"/>
                  <a:gd name="T38" fmla="*/ 296 w 344"/>
                  <a:gd name="T39" fmla="*/ 96 h 344"/>
                  <a:gd name="T40" fmla="*/ 304 w 344"/>
                  <a:gd name="T41" fmla="*/ 104 h 344"/>
                  <a:gd name="T42" fmla="*/ 336 w 344"/>
                  <a:gd name="T43" fmla="*/ 104 h 344"/>
                  <a:gd name="T44" fmla="*/ 344 w 344"/>
                  <a:gd name="T45" fmla="*/ 96 h 344"/>
                  <a:gd name="T46" fmla="*/ 344 w 344"/>
                  <a:gd name="T47" fmla="*/ 8 h 344"/>
                  <a:gd name="T48" fmla="*/ 336 w 344"/>
                  <a:gd name="T49" fmla="*/ 0 h 344"/>
                  <a:gd name="T50" fmla="*/ 312 w 344"/>
                  <a:gd name="T51" fmla="*/ 88 h 344"/>
                  <a:gd name="T52" fmla="*/ 312 w 344"/>
                  <a:gd name="T53" fmla="*/ 72 h 344"/>
                  <a:gd name="T54" fmla="*/ 312 w 344"/>
                  <a:gd name="T55" fmla="*/ 88 h 34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</a:cxnLst>
                <a:rect l="0" t="0" r="r" b="b"/>
                <a:pathLst>
                  <a:path w="344" h="344">
                    <a:moveTo>
                      <a:pt x="336" y="0"/>
                    </a:moveTo>
                    <a:cubicBezTo>
                      <a:pt x="248" y="0"/>
                      <a:pt x="248" y="0"/>
                      <a:pt x="248" y="0"/>
                    </a:cubicBezTo>
                    <a:cubicBezTo>
                      <a:pt x="244" y="0"/>
                      <a:pt x="240" y="4"/>
                      <a:pt x="240" y="8"/>
                    </a:cubicBezTo>
                    <a:cubicBezTo>
                      <a:pt x="240" y="40"/>
                      <a:pt x="240" y="40"/>
                      <a:pt x="240" y="40"/>
                    </a:cubicBezTo>
                    <a:cubicBezTo>
                      <a:pt x="240" y="44"/>
                      <a:pt x="244" y="48"/>
                      <a:pt x="248" y="48"/>
                    </a:cubicBezTo>
                    <a:cubicBezTo>
                      <a:pt x="262" y="48"/>
                      <a:pt x="262" y="48"/>
                      <a:pt x="262" y="48"/>
                    </a:cubicBezTo>
                    <a:cubicBezTo>
                      <a:pt x="241" y="69"/>
                      <a:pt x="241" y="69"/>
                      <a:pt x="241" y="69"/>
                    </a:cubicBezTo>
                    <a:cubicBezTo>
                      <a:pt x="215" y="50"/>
                      <a:pt x="184" y="40"/>
                      <a:pt x="152" y="40"/>
                    </a:cubicBezTo>
                    <a:cubicBezTo>
                      <a:pt x="68" y="40"/>
                      <a:pt x="0" y="108"/>
                      <a:pt x="0" y="192"/>
                    </a:cubicBezTo>
                    <a:cubicBezTo>
                      <a:pt x="0" y="247"/>
                      <a:pt x="30" y="296"/>
                      <a:pt x="74" y="322"/>
                    </a:cubicBezTo>
                    <a:cubicBezTo>
                      <a:pt x="86" y="312"/>
                      <a:pt x="95" y="298"/>
                      <a:pt x="100" y="282"/>
                    </a:cubicBezTo>
                    <a:cubicBezTo>
                      <a:pt x="69" y="264"/>
                      <a:pt x="48" y="230"/>
                      <a:pt x="48" y="192"/>
                    </a:cubicBezTo>
                    <a:cubicBezTo>
                      <a:pt x="48" y="135"/>
                      <a:pt x="95" y="88"/>
                      <a:pt x="152" y="88"/>
                    </a:cubicBezTo>
                    <a:cubicBezTo>
                      <a:pt x="209" y="88"/>
                      <a:pt x="256" y="135"/>
                      <a:pt x="256" y="192"/>
                    </a:cubicBezTo>
                    <a:cubicBezTo>
                      <a:pt x="256" y="240"/>
                      <a:pt x="224" y="280"/>
                      <a:pt x="180" y="292"/>
                    </a:cubicBezTo>
                    <a:cubicBezTo>
                      <a:pt x="176" y="310"/>
                      <a:pt x="169" y="328"/>
                      <a:pt x="159" y="344"/>
                    </a:cubicBezTo>
                    <a:cubicBezTo>
                      <a:pt x="240" y="340"/>
                      <a:pt x="304" y="273"/>
                      <a:pt x="304" y="192"/>
                    </a:cubicBezTo>
                    <a:cubicBezTo>
                      <a:pt x="304" y="160"/>
                      <a:pt x="294" y="129"/>
                      <a:pt x="275" y="103"/>
                    </a:cubicBezTo>
                    <a:cubicBezTo>
                      <a:pt x="296" y="82"/>
                      <a:pt x="296" y="82"/>
                      <a:pt x="296" y="82"/>
                    </a:cubicBezTo>
                    <a:cubicBezTo>
                      <a:pt x="296" y="96"/>
                      <a:pt x="296" y="96"/>
                      <a:pt x="296" y="96"/>
                    </a:cubicBezTo>
                    <a:cubicBezTo>
                      <a:pt x="296" y="100"/>
                      <a:pt x="300" y="104"/>
                      <a:pt x="304" y="104"/>
                    </a:cubicBezTo>
                    <a:cubicBezTo>
                      <a:pt x="336" y="104"/>
                      <a:pt x="336" y="104"/>
                      <a:pt x="336" y="104"/>
                    </a:cubicBezTo>
                    <a:cubicBezTo>
                      <a:pt x="340" y="104"/>
                      <a:pt x="344" y="100"/>
                      <a:pt x="344" y="96"/>
                    </a:cubicBezTo>
                    <a:cubicBezTo>
                      <a:pt x="344" y="8"/>
                      <a:pt x="344" y="8"/>
                      <a:pt x="344" y="8"/>
                    </a:cubicBezTo>
                    <a:cubicBezTo>
                      <a:pt x="344" y="4"/>
                      <a:pt x="340" y="0"/>
                      <a:pt x="336" y="0"/>
                    </a:cubicBezTo>
                    <a:close/>
                    <a:moveTo>
                      <a:pt x="312" y="88"/>
                    </a:moveTo>
                    <a:cubicBezTo>
                      <a:pt x="312" y="72"/>
                      <a:pt x="312" y="72"/>
                      <a:pt x="312" y="72"/>
                    </a:cubicBezTo>
                    <a:cubicBezTo>
                      <a:pt x="312" y="72"/>
                      <a:pt x="312" y="81"/>
                      <a:pt x="312" y="8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  <p:grpSp>
          <p:nvGrpSpPr>
            <p:cNvPr id="117" name="Group 116">
              <a:extLst>
                <a:ext uri="{FF2B5EF4-FFF2-40B4-BE49-F238E27FC236}">
                  <a16:creationId xmlns:a16="http://schemas.microsoft.com/office/drawing/2014/main" id="{4CAD0A3E-4BF1-44E8-8DE9-8A0954BFF8AB}"/>
                </a:ext>
              </a:extLst>
            </p:cNvPr>
            <p:cNvGrpSpPr/>
            <p:nvPr/>
          </p:nvGrpSpPr>
          <p:grpSpPr>
            <a:xfrm>
              <a:off x="9426622" y="1543745"/>
              <a:ext cx="465327" cy="520268"/>
              <a:chOff x="1501776" y="-1168400"/>
              <a:chExt cx="658813" cy="736600"/>
            </a:xfrm>
            <a:solidFill>
              <a:schemeClr val="bg1"/>
            </a:solidFill>
          </p:grpSpPr>
          <p:sp>
            <p:nvSpPr>
              <p:cNvPr id="118" name="Freeform 8">
                <a:extLst>
                  <a:ext uri="{FF2B5EF4-FFF2-40B4-BE49-F238E27FC236}">
                    <a16:creationId xmlns:a16="http://schemas.microsoft.com/office/drawing/2014/main" id="{84D16AD1-3EE2-408D-BDA6-2195520386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19238" y="-1100138"/>
                <a:ext cx="322263" cy="668338"/>
              </a:xfrm>
              <a:custGeom>
                <a:avLst/>
                <a:gdLst>
                  <a:gd name="T0" fmla="*/ 86 w 167"/>
                  <a:gd name="T1" fmla="*/ 0 h 345"/>
                  <a:gd name="T2" fmla="*/ 141 w 167"/>
                  <a:gd name="T3" fmla="*/ 229 h 345"/>
                  <a:gd name="T4" fmla="*/ 34 w 167"/>
                  <a:gd name="T5" fmla="*/ 345 h 345"/>
                  <a:gd name="T6" fmla="*/ 0 w 167"/>
                  <a:gd name="T7" fmla="*/ 147 h 345"/>
                  <a:gd name="T8" fmla="*/ 43 w 167"/>
                  <a:gd name="T9" fmla="*/ 150 h 345"/>
                  <a:gd name="T10" fmla="*/ 75 w 167"/>
                  <a:gd name="T11" fmla="*/ 160 h 345"/>
                  <a:gd name="T12" fmla="*/ 113 w 167"/>
                  <a:gd name="T13" fmla="*/ 134 h 345"/>
                  <a:gd name="T14" fmla="*/ 92 w 167"/>
                  <a:gd name="T15" fmla="*/ 13 h 345"/>
                  <a:gd name="T16" fmla="*/ 86 w 167"/>
                  <a:gd name="T17" fmla="*/ 0 h 34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167" h="345">
                    <a:moveTo>
                      <a:pt x="86" y="0"/>
                    </a:moveTo>
                    <a:cubicBezTo>
                      <a:pt x="144" y="66"/>
                      <a:pt x="167" y="142"/>
                      <a:pt x="141" y="229"/>
                    </a:cubicBezTo>
                    <a:cubicBezTo>
                      <a:pt x="124" y="283"/>
                      <a:pt x="90" y="324"/>
                      <a:pt x="34" y="345"/>
                    </a:cubicBezTo>
                    <a:cubicBezTo>
                      <a:pt x="75" y="270"/>
                      <a:pt x="89" y="201"/>
                      <a:pt x="0" y="147"/>
                    </a:cubicBezTo>
                    <a:cubicBezTo>
                      <a:pt x="14" y="148"/>
                      <a:pt x="29" y="148"/>
                      <a:pt x="43" y="150"/>
                    </a:cubicBezTo>
                    <a:cubicBezTo>
                      <a:pt x="54" y="152"/>
                      <a:pt x="64" y="157"/>
                      <a:pt x="75" y="160"/>
                    </a:cubicBezTo>
                    <a:cubicBezTo>
                      <a:pt x="99" y="167"/>
                      <a:pt x="110" y="159"/>
                      <a:pt x="113" y="134"/>
                    </a:cubicBezTo>
                    <a:cubicBezTo>
                      <a:pt x="118" y="92"/>
                      <a:pt x="110" y="52"/>
                      <a:pt x="92" y="13"/>
                    </a:cubicBezTo>
                    <a:cubicBezTo>
                      <a:pt x="90" y="9"/>
                      <a:pt x="88" y="4"/>
                      <a:pt x="8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19" name="Freeform 9">
                <a:extLst>
                  <a:ext uri="{FF2B5EF4-FFF2-40B4-BE49-F238E27FC236}">
                    <a16:creationId xmlns:a16="http://schemas.microsoft.com/office/drawing/2014/main" id="{CE3BDEA7-EB47-4B30-9B6D-E8E6CE98368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30388" y="-1168400"/>
                <a:ext cx="325438" cy="657225"/>
              </a:xfrm>
              <a:custGeom>
                <a:avLst/>
                <a:gdLst>
                  <a:gd name="T0" fmla="*/ 76 w 168"/>
                  <a:gd name="T1" fmla="*/ 0 h 339"/>
                  <a:gd name="T2" fmla="*/ 54 w 168"/>
                  <a:gd name="T3" fmla="*/ 85 h 339"/>
                  <a:gd name="T4" fmla="*/ 56 w 168"/>
                  <a:gd name="T5" fmla="*/ 140 h 339"/>
                  <a:gd name="T6" fmla="*/ 86 w 168"/>
                  <a:gd name="T7" fmla="*/ 157 h 339"/>
                  <a:gd name="T8" fmla="*/ 132 w 168"/>
                  <a:gd name="T9" fmla="*/ 144 h 339"/>
                  <a:gd name="T10" fmla="*/ 168 w 168"/>
                  <a:gd name="T11" fmla="*/ 146 h 339"/>
                  <a:gd name="T12" fmla="*/ 103 w 168"/>
                  <a:gd name="T13" fmla="*/ 233 h 339"/>
                  <a:gd name="T14" fmla="*/ 137 w 168"/>
                  <a:gd name="T15" fmla="*/ 339 h 339"/>
                  <a:gd name="T16" fmla="*/ 29 w 168"/>
                  <a:gd name="T17" fmla="*/ 232 h 339"/>
                  <a:gd name="T18" fmla="*/ 76 w 168"/>
                  <a:gd name="T19" fmla="*/ 0 h 33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168" h="339">
                    <a:moveTo>
                      <a:pt x="76" y="0"/>
                    </a:moveTo>
                    <a:cubicBezTo>
                      <a:pt x="69" y="27"/>
                      <a:pt x="59" y="55"/>
                      <a:pt x="54" y="85"/>
                    </a:cubicBezTo>
                    <a:cubicBezTo>
                      <a:pt x="51" y="102"/>
                      <a:pt x="54" y="122"/>
                      <a:pt x="56" y="140"/>
                    </a:cubicBezTo>
                    <a:cubicBezTo>
                      <a:pt x="59" y="155"/>
                      <a:pt x="71" y="161"/>
                      <a:pt x="86" y="157"/>
                    </a:cubicBezTo>
                    <a:cubicBezTo>
                      <a:pt x="102" y="153"/>
                      <a:pt x="117" y="147"/>
                      <a:pt x="132" y="144"/>
                    </a:cubicBezTo>
                    <a:cubicBezTo>
                      <a:pt x="143" y="142"/>
                      <a:pt x="155" y="144"/>
                      <a:pt x="168" y="146"/>
                    </a:cubicBezTo>
                    <a:cubicBezTo>
                      <a:pt x="128" y="162"/>
                      <a:pt x="108" y="192"/>
                      <a:pt x="103" y="233"/>
                    </a:cubicBezTo>
                    <a:cubicBezTo>
                      <a:pt x="99" y="273"/>
                      <a:pt x="115" y="306"/>
                      <a:pt x="137" y="339"/>
                    </a:cubicBezTo>
                    <a:cubicBezTo>
                      <a:pt x="99" y="338"/>
                      <a:pt x="49" y="287"/>
                      <a:pt x="29" y="232"/>
                    </a:cubicBezTo>
                    <a:cubicBezTo>
                      <a:pt x="0" y="155"/>
                      <a:pt x="23" y="46"/>
                      <a:pt x="76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0" name="Freeform 10">
                <a:extLst>
                  <a:ext uri="{FF2B5EF4-FFF2-40B4-BE49-F238E27FC236}">
                    <a16:creationId xmlns:a16="http://schemas.microsoft.com/office/drawing/2014/main" id="{F455432F-B136-47DE-879F-2A6002AC8F6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1776" y="-1074738"/>
                <a:ext cx="193675" cy="231775"/>
              </a:xfrm>
              <a:custGeom>
                <a:avLst/>
                <a:gdLst>
                  <a:gd name="T0" fmla="*/ 99 w 100"/>
                  <a:gd name="T1" fmla="*/ 68 h 120"/>
                  <a:gd name="T2" fmla="*/ 62 w 100"/>
                  <a:gd name="T3" fmla="*/ 115 h 120"/>
                  <a:gd name="T4" fmla="*/ 10 w 100"/>
                  <a:gd name="T5" fmla="*/ 89 h 120"/>
                  <a:gd name="T6" fmla="*/ 23 w 100"/>
                  <a:gd name="T7" fmla="*/ 32 h 120"/>
                  <a:gd name="T8" fmla="*/ 43 w 100"/>
                  <a:gd name="T9" fmla="*/ 12 h 120"/>
                  <a:gd name="T10" fmla="*/ 69 w 100"/>
                  <a:gd name="T11" fmla="*/ 10 h 120"/>
                  <a:gd name="T12" fmla="*/ 98 w 100"/>
                  <a:gd name="T13" fmla="*/ 58 h 120"/>
                  <a:gd name="T14" fmla="*/ 99 w 100"/>
                  <a:gd name="T15" fmla="*/ 68 h 12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</a:cxnLst>
                <a:rect l="0" t="0" r="r" b="b"/>
                <a:pathLst>
                  <a:path w="100" h="120">
                    <a:moveTo>
                      <a:pt x="99" y="68"/>
                    </a:moveTo>
                    <a:cubicBezTo>
                      <a:pt x="98" y="92"/>
                      <a:pt x="84" y="110"/>
                      <a:pt x="62" y="115"/>
                    </a:cubicBezTo>
                    <a:cubicBezTo>
                      <a:pt x="41" y="120"/>
                      <a:pt x="19" y="109"/>
                      <a:pt x="10" y="89"/>
                    </a:cubicBezTo>
                    <a:cubicBezTo>
                      <a:pt x="0" y="69"/>
                      <a:pt x="6" y="46"/>
                      <a:pt x="23" y="32"/>
                    </a:cubicBezTo>
                    <a:cubicBezTo>
                      <a:pt x="30" y="26"/>
                      <a:pt x="37" y="19"/>
                      <a:pt x="43" y="12"/>
                    </a:cubicBezTo>
                    <a:cubicBezTo>
                      <a:pt x="52" y="4"/>
                      <a:pt x="62" y="0"/>
                      <a:pt x="69" y="10"/>
                    </a:cubicBezTo>
                    <a:cubicBezTo>
                      <a:pt x="80" y="24"/>
                      <a:pt x="89" y="41"/>
                      <a:pt x="98" y="58"/>
                    </a:cubicBezTo>
                    <a:cubicBezTo>
                      <a:pt x="100" y="61"/>
                      <a:pt x="99" y="65"/>
                      <a:pt x="99" y="68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  <p:sp>
            <p:nvSpPr>
              <p:cNvPr id="121" name="Freeform 11">
                <a:extLst>
                  <a:ext uri="{FF2B5EF4-FFF2-40B4-BE49-F238E27FC236}">
                    <a16:creationId xmlns:a16="http://schemas.microsoft.com/office/drawing/2014/main" id="{BBFEBEAF-43B6-4002-81D5-8FEBB1D6CFB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78026" y="-1108075"/>
                <a:ext cx="182563" cy="182563"/>
              </a:xfrm>
              <a:custGeom>
                <a:avLst/>
                <a:gdLst>
                  <a:gd name="T0" fmla="*/ 48 w 95"/>
                  <a:gd name="T1" fmla="*/ 0 h 94"/>
                  <a:gd name="T2" fmla="*/ 95 w 95"/>
                  <a:gd name="T3" fmla="*/ 48 h 94"/>
                  <a:gd name="T4" fmla="*/ 48 w 95"/>
                  <a:gd name="T5" fmla="*/ 94 h 94"/>
                  <a:gd name="T6" fmla="*/ 0 w 95"/>
                  <a:gd name="T7" fmla="*/ 46 h 94"/>
                  <a:gd name="T8" fmla="*/ 48 w 95"/>
                  <a:gd name="T9" fmla="*/ 0 h 9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</a:cxnLst>
                <a:rect l="0" t="0" r="r" b="b"/>
                <a:pathLst>
                  <a:path w="95" h="94">
                    <a:moveTo>
                      <a:pt x="48" y="0"/>
                    </a:moveTo>
                    <a:cubicBezTo>
                      <a:pt x="75" y="0"/>
                      <a:pt x="95" y="21"/>
                      <a:pt x="95" y="48"/>
                    </a:cubicBezTo>
                    <a:cubicBezTo>
                      <a:pt x="95" y="74"/>
                      <a:pt x="74" y="93"/>
                      <a:pt x="48" y="94"/>
                    </a:cubicBezTo>
                    <a:cubicBezTo>
                      <a:pt x="22" y="94"/>
                      <a:pt x="0" y="72"/>
                      <a:pt x="0" y="46"/>
                    </a:cubicBezTo>
                    <a:cubicBezTo>
                      <a:pt x="1" y="21"/>
                      <a:pt x="22" y="0"/>
                      <a:pt x="48" y="0"/>
                    </a:cubicBez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GB" dirty="0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280083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2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DC8159-C429-4D71-BE25-79E4A0FB4D2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DC8159-C429-4D71-BE25-79E4A0FB4D2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7" name="TextBox 36">
            <a:extLst>
              <a:ext uri="{FF2B5EF4-FFF2-40B4-BE49-F238E27FC236}">
                <a16:creationId xmlns:a16="http://schemas.microsoft.com/office/drawing/2014/main" id="{60D53E79-61CD-404F-AE88-377DBE86CFD6}"/>
              </a:ext>
            </a:extLst>
          </p:cNvPr>
          <p:cNvSpPr txBox="1"/>
          <p:nvPr/>
        </p:nvSpPr>
        <p:spPr>
          <a:xfrm>
            <a:off x="477881" y="320979"/>
            <a:ext cx="10698606" cy="5308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800"/>
              </a:lnSpc>
            </a:pPr>
            <a:r>
              <a:rPr lang="en-US" sz="2500" b="1" dirty="0">
                <a:solidFill>
                  <a:srgbClr val="ED1267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frican Philanthropists Need to Pay More Attention to…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01349EC-32AA-4FD8-B3FE-29E443B58967}"/>
              </a:ext>
            </a:extLst>
          </p:cNvPr>
          <p:cNvGrpSpPr/>
          <p:nvPr/>
        </p:nvGrpSpPr>
        <p:grpSpPr>
          <a:xfrm>
            <a:off x="57150" y="1215190"/>
            <a:ext cx="12046622" cy="5051538"/>
            <a:chOff x="673900" y="1764092"/>
            <a:chExt cx="10844200" cy="4555313"/>
          </a:xfrm>
        </p:grpSpPr>
        <p:sp>
          <p:nvSpPr>
            <p:cNvPr id="39" name="Rectangle 38">
              <a:extLst>
                <a:ext uri="{FF2B5EF4-FFF2-40B4-BE49-F238E27FC236}">
                  <a16:creationId xmlns:a16="http://schemas.microsoft.com/office/drawing/2014/main" id="{03372705-9289-4287-8B99-F1E48D92EF36}"/>
                </a:ext>
              </a:extLst>
            </p:cNvPr>
            <p:cNvSpPr/>
            <p:nvPr/>
          </p:nvSpPr>
          <p:spPr>
            <a:xfrm>
              <a:off x="673900" y="4797425"/>
              <a:ext cx="10844200" cy="152198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/>
            </a:p>
          </p:txBody>
        </p:sp>
        <p:pic>
          <p:nvPicPr>
            <p:cNvPr id="40" name="Picture 39">
              <a:extLst>
                <a:ext uri="{FF2B5EF4-FFF2-40B4-BE49-F238E27FC236}">
                  <a16:creationId xmlns:a16="http://schemas.microsoft.com/office/drawing/2014/main" id="{B9EDA50C-9D8F-4688-A913-17CAB60C167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7303" r="2633" b="22888"/>
            <a:stretch/>
          </p:blipFill>
          <p:spPr>
            <a:xfrm>
              <a:off x="673900" y="1764092"/>
              <a:ext cx="10844200" cy="3127375"/>
            </a:xfrm>
            <a:prstGeom prst="rect">
              <a:avLst/>
            </a:prstGeom>
          </p:spPr>
        </p:pic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AE7A4842-DF1F-4452-9ADD-2FF1C832F5CA}"/>
                </a:ext>
              </a:extLst>
            </p:cNvPr>
            <p:cNvSpPr txBox="1"/>
            <p:nvPr/>
          </p:nvSpPr>
          <p:spPr>
            <a:xfrm>
              <a:off x="2003016" y="2252139"/>
              <a:ext cx="1082348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EB60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limate </a:t>
              </a:r>
            </a:p>
            <a:p>
              <a:r>
                <a:rPr lang="en-ZA" b="1" dirty="0">
                  <a:solidFill>
                    <a:srgbClr val="EB6039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hange</a:t>
              </a:r>
              <a:endParaRPr lang="en-GB" b="1" dirty="0">
                <a:solidFill>
                  <a:srgbClr val="EB6039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E02689F8-9311-4E97-9068-68D87DB39866}"/>
                </a:ext>
              </a:extLst>
            </p:cNvPr>
            <p:cNvSpPr txBox="1"/>
            <p:nvPr/>
          </p:nvSpPr>
          <p:spPr>
            <a:xfrm>
              <a:off x="4414480" y="2252139"/>
              <a:ext cx="1095172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F7B03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od</a:t>
              </a:r>
              <a:br>
                <a:rPr lang="en-ZA" b="1" dirty="0">
                  <a:solidFill>
                    <a:srgbClr val="F7B03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ZA" b="1" dirty="0">
                  <a:solidFill>
                    <a:srgbClr val="F7B03C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ecurity</a:t>
              </a:r>
              <a:endParaRPr lang="en-GB" b="1" dirty="0">
                <a:solidFill>
                  <a:srgbClr val="F7B03C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12A12466-8472-4869-B944-F0057FFE8E87}"/>
                </a:ext>
              </a:extLst>
            </p:cNvPr>
            <p:cNvSpPr txBox="1"/>
            <p:nvPr/>
          </p:nvSpPr>
          <p:spPr>
            <a:xfrm>
              <a:off x="7038920" y="2252139"/>
              <a:ext cx="1445780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8CBE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Youth and </a:t>
              </a:r>
              <a:br>
                <a:rPr lang="en-ZA" b="1" dirty="0">
                  <a:solidFill>
                    <a:srgbClr val="8CBE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ZA" b="1" dirty="0">
                  <a:solidFill>
                    <a:srgbClr val="8CBE2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ore Youth</a:t>
              </a:r>
              <a:endParaRPr lang="en-GB" b="1" dirty="0">
                <a:solidFill>
                  <a:srgbClr val="8CBE2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90CE0689-23D0-4450-9BBD-1DAF3D75C7D0}"/>
                </a:ext>
              </a:extLst>
            </p:cNvPr>
            <p:cNvSpPr txBox="1"/>
            <p:nvPr/>
          </p:nvSpPr>
          <p:spPr>
            <a:xfrm>
              <a:off x="9798002" y="2252139"/>
              <a:ext cx="1031051" cy="6463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ZA" b="1" dirty="0">
                  <a:solidFill>
                    <a:srgbClr val="13AF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uman </a:t>
              </a:r>
              <a:br>
                <a:rPr lang="en-ZA" b="1" dirty="0">
                  <a:solidFill>
                    <a:srgbClr val="13AF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ZA" b="1" dirty="0">
                  <a:solidFill>
                    <a:srgbClr val="13AF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ights</a:t>
              </a:r>
              <a:endParaRPr lang="en-GB" b="1" dirty="0">
                <a:solidFill>
                  <a:srgbClr val="13AF9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5" name="Picture 44">
              <a:extLst>
                <a:ext uri="{FF2B5EF4-FFF2-40B4-BE49-F238E27FC236}">
                  <a16:creationId xmlns:a16="http://schemas.microsoft.com/office/drawing/2014/main" id="{62A014C3-66DF-43F9-86EA-18C1CEAB5A9B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751" t="65324" r="52249" b="15000"/>
            <a:stretch/>
          </p:blipFill>
          <p:spPr>
            <a:xfrm>
              <a:off x="6630616" y="4831793"/>
              <a:ext cx="2194286" cy="1053649"/>
            </a:xfrm>
            <a:prstGeom prst="rect">
              <a:avLst/>
            </a:prstGeom>
          </p:spPr>
        </p:pic>
        <p:pic>
          <p:nvPicPr>
            <p:cNvPr id="46" name="Picture 45">
              <a:extLst>
                <a:ext uri="{FF2B5EF4-FFF2-40B4-BE49-F238E27FC236}">
                  <a16:creationId xmlns:a16="http://schemas.microsoft.com/office/drawing/2014/main" id="{6D1505E9-DB4A-4B50-979A-72FA4F2446F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827" t="65324" r="81253" b="15000"/>
            <a:stretch/>
          </p:blipFill>
          <p:spPr>
            <a:xfrm>
              <a:off x="1880791" y="3327779"/>
              <a:ext cx="1128925" cy="1053649"/>
            </a:xfrm>
            <a:prstGeom prst="rect">
              <a:avLst/>
            </a:prstGeom>
          </p:spPr>
        </p:pic>
        <p:pic>
          <p:nvPicPr>
            <p:cNvPr id="48" name="Picture 47">
              <a:extLst>
                <a:ext uri="{FF2B5EF4-FFF2-40B4-BE49-F238E27FC236}">
                  <a16:creationId xmlns:a16="http://schemas.microsoft.com/office/drawing/2014/main" id="{1FE27AB9-7BA6-4D6F-BEB9-24788F915F9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8747" t="23715" r="66098" b="56361"/>
            <a:stretch/>
          </p:blipFill>
          <p:spPr>
            <a:xfrm>
              <a:off x="3896655" y="3314469"/>
              <a:ext cx="1146678" cy="1066959"/>
            </a:xfrm>
            <a:prstGeom prst="rect">
              <a:avLst/>
            </a:prstGeom>
          </p:spPr>
        </p:pic>
        <p:pic>
          <p:nvPicPr>
            <p:cNvPr id="49" name="Picture 48">
              <a:extLst>
                <a:ext uri="{FF2B5EF4-FFF2-40B4-BE49-F238E27FC236}">
                  <a16:creationId xmlns:a16="http://schemas.microsoft.com/office/drawing/2014/main" id="{867B2109-A53A-4415-B193-E8F21C2F752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672" t="43639" r="6406" b="34954"/>
            <a:stretch/>
          </p:blipFill>
          <p:spPr>
            <a:xfrm>
              <a:off x="5043333" y="3274755"/>
              <a:ext cx="1128925" cy="1146385"/>
            </a:xfrm>
            <a:prstGeom prst="rect">
              <a:avLst/>
            </a:prstGeom>
          </p:spPr>
        </p:pic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11E4D9F7-933A-4CD9-ADD1-1E7299699FAD}"/>
                </a:ext>
              </a:extLst>
            </p:cNvPr>
            <p:cNvSpPr txBox="1"/>
            <p:nvPr/>
          </p:nvSpPr>
          <p:spPr>
            <a:xfrm>
              <a:off x="6630616" y="3116695"/>
              <a:ext cx="2463800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100" dirty="0">
                  <a:solidFill>
                    <a:srgbClr val="13AF9A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 focus on other SDGs that have potential to create job and self-employment opportunities for youth</a:t>
              </a:r>
              <a:endParaRPr lang="en-GB" sz="1100" dirty="0">
                <a:solidFill>
                  <a:srgbClr val="13AF9A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1" name="Picture 50">
              <a:extLst>
                <a:ext uri="{FF2B5EF4-FFF2-40B4-BE49-F238E27FC236}">
                  <a16:creationId xmlns:a16="http://schemas.microsoft.com/office/drawing/2014/main" id="{E6337962-4878-406F-8AD6-5C731CC455D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34076" t="43356" r="51004" b="34677"/>
            <a:stretch/>
          </p:blipFill>
          <p:spPr>
            <a:xfrm>
              <a:off x="6632885" y="3715995"/>
              <a:ext cx="1128925" cy="1176337"/>
            </a:xfrm>
            <a:prstGeom prst="rect">
              <a:avLst/>
            </a:prstGeom>
          </p:spPr>
        </p:pic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122283F4-80C4-42D8-BA16-A3738923D5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3497" t="42645" r="21229" b="35666"/>
            <a:stretch/>
          </p:blipFill>
          <p:spPr>
            <a:xfrm>
              <a:off x="7757655" y="3670353"/>
              <a:ext cx="1155700" cy="1161440"/>
            </a:xfrm>
            <a:prstGeom prst="rect">
              <a:avLst/>
            </a:prstGeom>
          </p:spPr>
        </p:pic>
        <p:pic>
          <p:nvPicPr>
            <p:cNvPr id="53" name="Picture 52">
              <a:extLst>
                <a:ext uri="{FF2B5EF4-FFF2-40B4-BE49-F238E27FC236}">
                  <a16:creationId xmlns:a16="http://schemas.microsoft.com/office/drawing/2014/main" id="{29479812-F272-4309-8E80-29AE97FBB6E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8425" t="65324" r="36469" b="15000"/>
            <a:stretch/>
          </p:blipFill>
          <p:spPr>
            <a:xfrm>
              <a:off x="9798002" y="3197425"/>
              <a:ext cx="1143000" cy="105364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5241540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2" id="{F9E749E8-EEAB-4A93-A0EB-7BA921924F66}" vid="{00AC6B79-249A-4FC8-B518-FABFEB22BEF8}"/>
    </a:ext>
  </a:extLst>
</a:theme>
</file>

<file path=ppt/theme/theme2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Office Theme">
  <a:themeElements>
    <a:clrScheme name="Gray-Pink">
      <a:dk1>
        <a:sysClr val="windowText" lastClr="000000"/>
      </a:dk1>
      <a:lt1>
        <a:sysClr val="window" lastClr="FFFFFF"/>
      </a:lt1>
      <a:dk2>
        <a:srgbClr val="394555"/>
      </a:dk2>
      <a:lt2>
        <a:srgbClr val="E7E6E6"/>
      </a:lt2>
      <a:accent1>
        <a:srgbClr val="FF6D6D"/>
      </a:accent1>
      <a:accent2>
        <a:srgbClr val="D8D8D8"/>
      </a:accent2>
      <a:accent3>
        <a:srgbClr val="BFBFBF"/>
      </a:accent3>
      <a:accent4>
        <a:srgbClr val="A5A5A5"/>
      </a:accent4>
      <a:accent5>
        <a:srgbClr val="7F7F7F"/>
      </a:accent5>
      <a:accent6>
        <a:srgbClr val="595959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A696304AEC5EC340A1131C82A1BEBF23" ma:contentTypeVersion="13" ma:contentTypeDescription="Create a new document." ma:contentTypeScope="" ma:versionID="3a44d25e7ee95692e348fee60bdb7bc0">
  <xsd:schema xmlns:xsd="http://www.w3.org/2001/XMLSchema" xmlns:xs="http://www.w3.org/2001/XMLSchema" xmlns:p="http://schemas.microsoft.com/office/2006/metadata/properties" xmlns:ns3="b42a5d19-5a1f-4338-ba01-9885039542b4" xmlns:ns4="fc03e441-108c-4902-92e2-6e259c709bba" targetNamespace="http://schemas.microsoft.com/office/2006/metadata/properties" ma:root="true" ma:fieldsID="cfc7a1dbc2009d77207f94020410f3b1" ns3:_="" ns4:_="">
    <xsd:import namespace="b42a5d19-5a1f-4338-ba01-9885039542b4"/>
    <xsd:import namespace="fc03e441-108c-4902-92e2-6e259c709bba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2a5d19-5a1f-4338-ba01-9885039542b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c03e441-108c-4902-92e2-6e259c709bb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90C5D6-06E5-4340-BCDD-80DD8EF74B0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3045BF2-D2A4-41F7-99EB-51BA30885BEF}">
  <ds:schemaRefs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b42a5d19-5a1f-4338-ba01-9885039542b4"/>
    <ds:schemaRef ds:uri="http://purl.org/dc/dcmitype/"/>
    <ds:schemaRef ds:uri="http://schemas.microsoft.com/office/infopath/2007/PartnerControls"/>
    <ds:schemaRef ds:uri="http://schemas.microsoft.com/office/2006/documentManagement/types"/>
    <ds:schemaRef ds:uri="fc03e441-108c-4902-92e2-6e259c709bba"/>
    <ds:schemaRef ds:uri="http://www.w3.org/XML/1998/namespace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9E002D86-0AA4-4BF8-98EC-A37885F9662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2a5d19-5a1f-4338-ba01-9885039542b4"/>
    <ds:schemaRef ds:uri="fc03e441-108c-4902-92e2-6e259c709bb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97</TotalTime>
  <Words>1669</Words>
  <Application>Microsoft Office PowerPoint</Application>
  <PresentationFormat>Widescreen</PresentationFormat>
  <Paragraphs>182</Paragraphs>
  <Slides>15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16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35" baseType="lpstr">
      <vt:lpstr>Aharoni</vt:lpstr>
      <vt:lpstr>Arial</vt:lpstr>
      <vt:lpstr>Arial Black</vt:lpstr>
      <vt:lpstr>Calibri</vt:lpstr>
      <vt:lpstr>Calibri Light</vt:lpstr>
      <vt:lpstr>Cordia New</vt:lpstr>
      <vt:lpstr>Gill Sans</vt:lpstr>
      <vt:lpstr>Lato</vt:lpstr>
      <vt:lpstr>Merriweather</vt:lpstr>
      <vt:lpstr>Montserrat SemiBold</vt:lpstr>
      <vt:lpstr>Nexa Bold</vt:lpstr>
      <vt:lpstr>Nexa Light</vt:lpstr>
      <vt:lpstr>Open Sans Semibold</vt:lpstr>
      <vt:lpstr>Segoe UI</vt:lpstr>
      <vt:lpstr>Segoe UI Light</vt:lpstr>
      <vt:lpstr>Wingdings</vt:lpstr>
      <vt:lpstr>Office Theme</vt:lpstr>
      <vt:lpstr>2_Office Theme</vt:lpstr>
      <vt:lpstr>3_Office Theme</vt:lpstr>
      <vt:lpstr>think-cell Slide</vt:lpstr>
      <vt:lpstr>For Africa by Africa Harnessing the power of African giving and African-led  institutions in championing Africa’s development agenda</vt:lpstr>
      <vt:lpstr>PowerPoint Presentation</vt:lpstr>
      <vt:lpstr>PowerPoint Presentation</vt:lpstr>
      <vt:lpstr>PowerPoint Presentation</vt:lpstr>
      <vt:lpstr>CIFF AFRICA – Strategy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Geographic focus 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bbi Knell</dc:creator>
  <cp:lastModifiedBy>Janice Njoroge</cp:lastModifiedBy>
  <cp:revision>55</cp:revision>
  <dcterms:created xsi:type="dcterms:W3CDTF">2020-04-20T09:51:22Z</dcterms:created>
  <dcterms:modified xsi:type="dcterms:W3CDTF">2021-04-06T11:16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696304AEC5EC340A1131C82A1BEBF23</vt:lpwstr>
  </property>
</Properties>
</file>